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3.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5.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7.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8.xml" ContentType="application/vnd.openxmlformats-officedocument.theme+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63" r:id="rId1"/>
    <p:sldMasterId id="2147484502" r:id="rId2"/>
    <p:sldMasterId id="2147484546" r:id="rId3"/>
    <p:sldMasterId id="2147484589" r:id="rId4"/>
    <p:sldMasterId id="2147484602" r:id="rId5"/>
    <p:sldMasterId id="2147484645" r:id="rId6"/>
    <p:sldMasterId id="2147484684" r:id="rId7"/>
    <p:sldMasterId id="2147484721" r:id="rId8"/>
    <p:sldMasterId id="2147484759" r:id="rId9"/>
  </p:sldMasterIdLst>
  <p:notesMasterIdLst>
    <p:notesMasterId r:id="rId48"/>
  </p:notesMasterIdLst>
  <p:sldIdLst>
    <p:sldId id="5799" r:id="rId10"/>
    <p:sldId id="2142533779" r:id="rId11"/>
    <p:sldId id="2142533773" r:id="rId12"/>
    <p:sldId id="2142533353" r:id="rId13"/>
    <p:sldId id="2142533478" r:id="rId14"/>
    <p:sldId id="5523" r:id="rId15"/>
    <p:sldId id="2142532100" r:id="rId16"/>
    <p:sldId id="2142533737" r:id="rId17"/>
    <p:sldId id="2142532101" r:id="rId18"/>
    <p:sldId id="10395" r:id="rId19"/>
    <p:sldId id="141168807" r:id="rId20"/>
    <p:sldId id="2142532086" r:id="rId21"/>
    <p:sldId id="5395" r:id="rId22"/>
    <p:sldId id="2142532097" r:id="rId23"/>
    <p:sldId id="141169150" r:id="rId24"/>
    <p:sldId id="5716" r:id="rId25"/>
    <p:sldId id="2142533735" r:id="rId26"/>
    <p:sldId id="5136" r:id="rId27"/>
    <p:sldId id="141169450" r:id="rId28"/>
    <p:sldId id="141169456" r:id="rId29"/>
    <p:sldId id="141169457" r:id="rId30"/>
    <p:sldId id="403" r:id="rId31"/>
    <p:sldId id="405" r:id="rId32"/>
    <p:sldId id="406" r:id="rId33"/>
    <p:sldId id="419" r:id="rId34"/>
    <p:sldId id="407" r:id="rId35"/>
    <p:sldId id="408" r:id="rId36"/>
    <p:sldId id="409" r:id="rId37"/>
    <p:sldId id="397" r:id="rId38"/>
    <p:sldId id="399" r:id="rId39"/>
    <p:sldId id="10488" r:id="rId40"/>
    <p:sldId id="10485" r:id="rId41"/>
    <p:sldId id="141168785" r:id="rId42"/>
    <p:sldId id="141168786" r:id="rId43"/>
    <p:sldId id="141168787" r:id="rId44"/>
    <p:sldId id="5317" r:id="rId45"/>
    <p:sldId id="141168748" r:id="rId46"/>
    <p:sldId id="141169833" r:id="rId47"/>
  </p:sldIdLst>
  <p:sldSz cx="9144000" cy="5143500" type="screen16x9"/>
  <p:notesSz cx="7315200" cy="96012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177D"/>
    <a:srgbClr val="F7F3F1"/>
    <a:srgbClr val="311A41"/>
    <a:srgbClr val="18669D"/>
    <a:srgbClr val="0096FF"/>
    <a:srgbClr val="BB8EFF"/>
    <a:srgbClr val="8C8C8C"/>
    <a:srgbClr val="3D3D3D"/>
    <a:srgbClr val="051B75"/>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7358" autoAdjust="0"/>
    <p:restoredTop sz="93767" autoAdjust="0"/>
  </p:normalViewPr>
  <p:slideViewPr>
    <p:cSldViewPr snapToGrid="0" snapToObjects="1" showGuides="1">
      <p:cViewPr varScale="1">
        <p:scale>
          <a:sx n="85" d="100"/>
          <a:sy n="85" d="100"/>
        </p:scale>
        <p:origin x="220" y="48"/>
      </p:cViewPr>
      <p:guideLst>
        <p:guide orient="horz" pos="1620"/>
        <p:guide pos="2880"/>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0" Type="http://schemas.openxmlformats.org/officeDocument/2006/relationships/slide" Target="slides/slide11.xml"/><Relationship Id="rId41" Type="http://schemas.openxmlformats.org/officeDocument/2006/relationships/slide" Target="slides/slide32.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26BE012A-D992-5D42-B86E-AA2BC0764EE1}" type="datetimeFigureOut">
              <a:rPr lang="en-US" smtClean="0"/>
              <a:t>6/24/2020</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18D02FFD-07D4-5C4F-BD77-921008177348}" type="slidenum">
              <a:rPr lang="en-US" smtClean="0"/>
              <a:t>‹#›</a:t>
            </a:fld>
            <a:endParaRPr lang="en-US"/>
          </a:p>
        </p:txBody>
      </p:sp>
    </p:spTree>
    <p:extLst>
      <p:ext uri="{BB962C8B-B14F-4D97-AF65-F5344CB8AC3E}">
        <p14:creationId xmlns:p14="http://schemas.microsoft.com/office/powerpoint/2010/main" val="153815357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213100" cy="18081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390926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CA2D21D1-52E2-420B-B491-CFF6D7BB79F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21459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a:xfrm>
            <a:off x="327025" y="698500"/>
            <a:ext cx="6207125" cy="3492500"/>
          </a:xfrm>
          <a:ln/>
        </p:spPr>
      </p:sp>
      <p:sp>
        <p:nvSpPr>
          <p:cNvPr id="79875" name="Text Box 3"/>
          <p:cNvSpPr>
            <a:spLocks noGrp="1" noChangeArrowheads="1"/>
          </p:cNvSpPr>
          <p:nvPr>
            <p:ph type="body" idx="1"/>
          </p:nvPr>
        </p:nvSpPr>
        <p:spPr>
          <a:xfrm>
            <a:off x="685800" y="4424363"/>
            <a:ext cx="5486400" cy="4191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endParaRPr lang="en-US" dirty="0">
              <a:latin typeface="Times New Roman" pitchFamily="18" charset="0"/>
              <a:cs typeface="Arial" pitchFamily="34" charset="0"/>
            </a:endParaRPr>
          </a:p>
        </p:txBody>
      </p:sp>
    </p:spTree>
    <p:extLst>
      <p:ext uri="{BB962C8B-B14F-4D97-AF65-F5344CB8AC3E}">
        <p14:creationId xmlns:p14="http://schemas.microsoft.com/office/powerpoint/2010/main" val="27551228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65386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690581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4710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14182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000009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451026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74119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pPr defTabSz="966612">
              <a:defRPr/>
            </a:pPr>
            <a:r>
              <a:rPr lang="en-CA" sz="2000">
                <a:solidFill>
                  <a:prstClr val="black"/>
                </a:solidFill>
                <a:latin typeface="IBM Plex Sans" charset="0"/>
                <a:ea typeface="IBM Plex Sans" charset="0"/>
                <a:cs typeface="IBM Plex Sans" charset="0"/>
              </a:rPr>
              <a:t>Provide capabilities to define an electronic inspection form:</a:t>
            </a:r>
          </a:p>
          <a:p>
            <a:pPr marL="203611" indent="-203611" defTabSz="966612">
              <a:buFont typeface="Arial" charset="0"/>
              <a:buChar char="•"/>
              <a:defRPr/>
            </a:pPr>
            <a:r>
              <a:rPr lang="en-CA" sz="1700">
                <a:solidFill>
                  <a:prstClr val="black"/>
                </a:solidFill>
                <a:latin typeface="IBM Plex Sans" charset="0"/>
                <a:ea typeface="IBM Plex Sans" charset="0"/>
                <a:cs typeface="IBM Plex Sans" charset="0"/>
              </a:rPr>
              <a:t>Ability to define Groups, questions and responses of several types, including meter readings, attachments, date, time, list of options as well as free text and numeric</a:t>
            </a:r>
          </a:p>
          <a:p>
            <a:pPr marL="203611" indent="-203611" defTabSz="966612">
              <a:buFont typeface="Arial" charset="0"/>
              <a:buChar char="•"/>
              <a:defRPr/>
            </a:pPr>
            <a:r>
              <a:rPr lang="en-CA" sz="1700">
                <a:solidFill>
                  <a:prstClr val="black"/>
                </a:solidFill>
                <a:latin typeface="IBM Plex Sans" charset="0"/>
                <a:ea typeface="IBM Plex Sans" charset="0"/>
                <a:cs typeface="IBM Plex Sans" charset="0"/>
              </a:rPr>
              <a:t>Each form, group of questions or individual questions can contain Instructions to guide the inspector to report the results</a:t>
            </a:r>
          </a:p>
          <a:p>
            <a:pPr marL="203611" indent="-203611" defTabSz="966612">
              <a:buFont typeface="Arial" charset="0"/>
              <a:buChar char="•"/>
              <a:defRPr/>
            </a:pPr>
            <a:r>
              <a:rPr lang="en-CA" sz="1700">
                <a:solidFill>
                  <a:prstClr val="black"/>
                </a:solidFill>
                <a:latin typeface="IBM Plex Sans" charset="0"/>
                <a:ea typeface="IBM Plex Sans" charset="0"/>
                <a:cs typeface="IBM Plex Sans" charset="0"/>
              </a:rPr>
              <a:t>All forms are revision controlled keeping track of its changes and results</a:t>
            </a:r>
          </a:p>
          <a:p>
            <a:pPr marL="203611" indent="-203611" defTabSz="966612">
              <a:buFont typeface="Arial" charset="0"/>
              <a:buChar char="•"/>
              <a:defRPr/>
            </a:pPr>
            <a:r>
              <a:rPr lang="en-CA" sz="1700">
                <a:solidFill>
                  <a:prstClr val="black"/>
                </a:solidFill>
                <a:latin typeface="IBM Plex Sans" charset="0"/>
                <a:ea typeface="IBM Plex Sans" charset="0"/>
                <a:cs typeface="IBM Plex Sans" charset="0"/>
              </a:rPr>
              <a:t>Form settings available to enable audio guided inspections and follow up action</a:t>
            </a:r>
            <a:endParaRPr lang="en-US"/>
          </a:p>
        </p:txBody>
      </p:sp>
      <p:sp>
        <p:nvSpPr>
          <p:cNvPr id="4" name="Slide Number Placeholder 3"/>
          <p:cNvSpPr>
            <a:spLocks noGrp="1"/>
          </p:cNvSpPr>
          <p:nvPr>
            <p:ph type="sldNum" sz="quarter" idx="10"/>
          </p:nvPr>
        </p:nvSpPr>
        <p:spPr/>
        <p:txBody>
          <a:bodyPr/>
          <a:lstStyle/>
          <a:p>
            <a:pPr marL="0" marR="0" lvl="0" indent="0" algn="r" defTabSz="483306" rtl="0" eaLnBrk="1" fontAlgn="auto" latinLnBrk="0" hangingPunct="1">
              <a:lnSpc>
                <a:spcPct val="100000"/>
              </a:lnSpc>
              <a:spcBef>
                <a:spcPts val="0"/>
              </a:spcBef>
              <a:spcAft>
                <a:spcPts val="0"/>
              </a:spcAft>
              <a:buClrTx/>
              <a:buSzTx/>
              <a:buFontTx/>
              <a:buNone/>
              <a:tabLst/>
              <a:defRPr/>
            </a:pPr>
            <a:fld id="{FE57C889-26C3-E240-89A9-023BCE6E6F6D}" type="slidenum">
              <a:rPr kumimoji="0" lang="en-US" sz="1300" b="0" i="0" u="none" strike="noStrike" kern="1200" cap="none" spc="0" normalizeH="0" baseline="0" noProof="0">
                <a:ln>
                  <a:noFill/>
                </a:ln>
                <a:solidFill>
                  <a:prstClr val="black"/>
                </a:solidFill>
                <a:effectLst/>
                <a:uLnTx/>
                <a:uFillTx/>
                <a:latin typeface="IBM Plex Sans Regular" charset="0"/>
                <a:ea typeface="+mn-ea"/>
                <a:cs typeface="+mn-cs"/>
              </a:rPr>
              <a:pPr marL="0" marR="0" lvl="0" indent="0" algn="r" defTabSz="483306" rtl="0" eaLnBrk="1" fontAlgn="auto" latinLnBrk="0" hangingPunct="1">
                <a:lnSpc>
                  <a:spcPct val="100000"/>
                </a:lnSpc>
                <a:spcBef>
                  <a:spcPts val="0"/>
                </a:spcBef>
                <a:spcAft>
                  <a:spcPts val="0"/>
                </a:spcAft>
                <a:buClrTx/>
                <a:buSzTx/>
                <a:buFontTx/>
                <a:buNone/>
                <a:tabLst/>
                <a:defRPr/>
              </a:pPr>
              <a:t>29</a:t>
            </a:fld>
            <a:endParaRPr kumimoji="0" lang="en-US" sz="1300" b="0" i="0" u="none" strike="noStrike" kern="1200" cap="none" spc="0" normalizeH="0" baseline="0" noProof="0">
              <a:ln>
                <a:noFill/>
              </a:ln>
              <a:solidFill>
                <a:prstClr val="black"/>
              </a:solidFill>
              <a:effectLst/>
              <a:uLnTx/>
              <a:uFillTx/>
              <a:latin typeface="IBM Plex Sans Regular" charset="0"/>
              <a:ea typeface="+mn-ea"/>
              <a:cs typeface="+mn-cs"/>
            </a:endParaRPr>
          </a:p>
        </p:txBody>
      </p:sp>
    </p:spTree>
    <p:extLst>
      <p:ext uri="{BB962C8B-B14F-4D97-AF65-F5344CB8AC3E}">
        <p14:creationId xmlns:p14="http://schemas.microsoft.com/office/powerpoint/2010/main" val="13956577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defTabSz="685783">
              <a:spcBef>
                <a:spcPts val="600"/>
              </a:spcBef>
              <a:spcAft>
                <a:spcPts val="1000"/>
              </a:spcAft>
              <a:defRPr/>
            </a:pPr>
            <a:r>
              <a:rPr lang="en-US" sz="900" b="1" dirty="0">
                <a:latin typeface="IBM Plex Sans" panose="020B0503050203000203" pitchFamily="34" charset="77"/>
              </a:rPr>
              <a:t>Built on the Red Hat OpenShift Container Platform: </a:t>
            </a:r>
            <a:r>
              <a:rPr lang="en-US" sz="900" dirty="0">
                <a:latin typeface="IBM Plex Sans" panose="020B0503050203000203" pitchFamily="34" charset="77"/>
              </a:rPr>
              <a:t>for optimized scale and availability on on-premises, private and public clouds, or hybrid environments</a:t>
            </a:r>
          </a:p>
          <a:p>
            <a:br>
              <a:rPr lang="en-US" sz="900" b="1" dirty="0"/>
            </a:br>
            <a:r>
              <a:rPr lang="en-US" sz="900" b="1" dirty="0"/>
              <a:t>Customer managed: </a:t>
            </a:r>
            <a:r>
              <a:rPr lang="en-US" sz="900" dirty="0"/>
              <a:t>Purchase MAS and deploy in the environment of your choice</a:t>
            </a:r>
          </a:p>
          <a:p>
            <a:endParaRPr lang="en-US" sz="900" dirty="0"/>
          </a:p>
          <a:p>
            <a:r>
              <a:rPr lang="en-US" sz="900" b="1" dirty="0"/>
              <a:t>IBM Managed:</a:t>
            </a:r>
            <a:r>
              <a:rPr lang="en-US" sz="900" b="1" dirty="0">
                <a:solidFill>
                  <a:schemeClr val="tx1"/>
                </a:solidFill>
                <a:latin typeface="+mn-lt"/>
                <a:ea typeface="+mn-ea"/>
                <a:cs typeface="+mn-cs"/>
              </a:rPr>
              <a:t> </a:t>
            </a:r>
            <a:r>
              <a:rPr lang="en-US" sz="900" dirty="0">
                <a:solidFill>
                  <a:srgbClr val="172934"/>
                </a:solidFill>
                <a:latin typeface="IBM Plex Sans" charset="0"/>
                <a:ea typeface="IBM Plex Sans" charset="0"/>
                <a:cs typeface="IBM Plex Sans" charset="0"/>
              </a:rPr>
              <a:t>Purchase MAS and hosting, and let IBM’s trusted team take care of everything for you </a:t>
            </a:r>
          </a:p>
          <a:p>
            <a:endParaRPr lang="en-US" sz="900" b="1" dirty="0"/>
          </a:p>
          <a:p>
            <a:pPr marL="187325" indent="-187325">
              <a:buFont typeface="Arial" panose="020B0604020202020204" pitchFamily="34" charset="0"/>
              <a:buChar char="•"/>
            </a:pPr>
            <a:br>
              <a:rPr lang="en-US" dirty="0"/>
            </a:br>
            <a:r>
              <a:rPr lang="en-US" dirty="0"/>
              <a:t>Easy to install</a:t>
            </a:r>
          </a:p>
          <a:p>
            <a:pPr marL="187325" indent="-187325">
              <a:buFont typeface="Arial" panose="020B0604020202020204" pitchFamily="34" charset="0"/>
              <a:buChar char="•"/>
            </a:pPr>
            <a:r>
              <a:rPr lang="en-US" dirty="0"/>
              <a:t>Point to RHOS, Cloud Pak slide in backup, make it meaningful to Maximo customers (Other benefits)</a:t>
            </a:r>
          </a:p>
          <a:p>
            <a:endParaRPr lang="en-US" dirty="0"/>
          </a:p>
          <a:p>
            <a:r>
              <a:rPr lang="en-US" sz="900" kern="1200" dirty="0">
                <a:solidFill>
                  <a:schemeClr val="tx1"/>
                </a:solidFill>
                <a:effectLst/>
                <a:latin typeface="+mn-lt"/>
                <a:ea typeface="+mn-ea"/>
                <a:cs typeface="+mn-cs"/>
              </a:rPr>
              <a:t>All of these solutions are being delivered together in what we are calling Maximo 8.0 run on the IBM cloud powered by OpenShift. It operates with your existing Maximo installation. </a:t>
            </a:r>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61949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r>
              <a:rPr lang="en-US"/>
              <a:t>The main thing here is the ease of performing various tasks from one list, where in Classic the user needs to call different actions.</a:t>
            </a:r>
          </a:p>
          <a:p>
            <a:r>
              <a:rPr lang="en-US"/>
              <a:t>It would be good to mention that all actions are controlled by </a:t>
            </a:r>
            <a:r>
              <a:rPr lang="en-US" err="1"/>
              <a:t>SigOptions</a:t>
            </a:r>
            <a:r>
              <a:rPr lang="en-US"/>
              <a:t> we added. Stakeholders asked about it from the start.</a:t>
            </a:r>
          </a:p>
          <a:p>
            <a:r>
              <a:rPr lang="en-US"/>
              <a:t>If you are asked, the storeroom/item list is showing data from both the Inventory and </a:t>
            </a:r>
            <a:r>
              <a:rPr lang="en-US" err="1"/>
              <a:t>Invbalance</a:t>
            </a:r>
            <a:r>
              <a:rPr lang="en-US"/>
              <a:t> objects. </a:t>
            </a:r>
          </a:p>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610840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r>
              <a:rPr lang="en-US"/>
              <a:t>Manage Inventory</a:t>
            </a:r>
          </a:p>
          <a:p>
            <a:pPr marL="181240" indent="-181240">
              <a:buFontTx/>
              <a:buChar char="-"/>
            </a:pPr>
            <a:r>
              <a:rPr lang="en-US"/>
              <a:t>Easier set up and faster transactions</a:t>
            </a:r>
          </a:p>
          <a:p>
            <a:pPr marL="181240" indent="-181240">
              <a:buFontTx/>
              <a:buChar char="-"/>
            </a:pPr>
            <a:r>
              <a:rPr lang="en-US"/>
              <a:t>users with authorization can create new </a:t>
            </a:r>
            <a:r>
              <a:rPr lang="en-US" err="1"/>
              <a:t>UoMs</a:t>
            </a:r>
            <a:r>
              <a:rPr lang="en-US"/>
              <a:t> and Conversions from the Detailed page.</a:t>
            </a:r>
          </a:p>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07005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171009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937001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918475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r>
              <a:rPr lang="en-US" dirty="0"/>
              <a:t>Building on existing Watson IOT/Maximo foundation, add Civil Infrastructure Configuration and address key gaps in the core products, then add Civil infrastructure specific applications and expand the model library</a:t>
            </a:r>
          </a:p>
          <a:p>
            <a:endParaRPr lang="en-US" dirty="0"/>
          </a:p>
          <a:p>
            <a:r>
              <a:rPr lang="en-US" dirty="0"/>
              <a:t>Start with Asset Management – improve the way inspections and work orders are done on linear assets in a corridor, synthesize the spatial, linear and BIM views, reduce time to onboard with models in the digital twin exchange and improvements to loaders, add health models and integration to visual analytics, introduce the drone platform to reduce cost of repeat inspections.</a:t>
            </a:r>
          </a:p>
          <a:p>
            <a:endParaRPr lang="en-US" dirty="0"/>
          </a:p>
          <a:p>
            <a:r>
              <a:rPr lang="en-US" dirty="0"/>
              <a:t>Mention weather and sensor examples</a:t>
            </a:r>
          </a:p>
        </p:txBody>
      </p:sp>
      <p:sp>
        <p:nvSpPr>
          <p:cNvPr id="4" name="Slide Number Placeholder 3"/>
          <p:cNvSpPr>
            <a:spLocks noGrp="1"/>
          </p:cNvSpPr>
          <p:nvPr>
            <p:ph type="sldNum" sz="quarter" idx="5"/>
          </p:nvPr>
        </p:nvSpPr>
        <p:spPr/>
        <p:txBody>
          <a:bodyPr/>
          <a:lstStyle/>
          <a:p>
            <a:pPr marL="0" marR="0" lvl="0" indent="0" algn="r" defTabSz="738733"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300" b="0" i="0" u="none" strike="noStrike" kern="1200" cap="none" spc="0" normalizeH="0" baseline="0" noProof="0">
                <a:ln>
                  <a:noFill/>
                </a:ln>
                <a:solidFill>
                  <a:prstClr val="black"/>
                </a:solidFill>
                <a:effectLst/>
                <a:uLnTx/>
                <a:uFillTx/>
                <a:latin typeface="Calibri"/>
                <a:ea typeface="+mn-ea"/>
                <a:cs typeface="+mn-cs"/>
              </a:rPr>
              <a:pPr marL="0" marR="0" lvl="0" indent="0" algn="r" defTabSz="738733" rtl="0" eaLnBrk="1" fontAlgn="auto" latinLnBrk="0" hangingPunct="1">
                <a:lnSpc>
                  <a:spcPct val="100000"/>
                </a:lnSpc>
                <a:spcBef>
                  <a:spcPts val="0"/>
                </a:spcBef>
                <a:spcAft>
                  <a:spcPts val="0"/>
                </a:spcAft>
                <a:buClrTx/>
                <a:buSzTx/>
                <a:buFontTx/>
                <a:buNone/>
                <a:tabLst/>
                <a:defRPr/>
              </a:pPr>
              <a:t>3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530649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5" name="Slide Image Placeholder 1"/>
          <p:cNvSpPr>
            <a:spLocks noGrp="1" noRot="1" noChangeAspect="1" noTextEdit="1"/>
          </p:cNvSpPr>
          <p:nvPr>
            <p:ph type="sldImg"/>
          </p:nvPr>
        </p:nvSpPr>
        <p:spPr bwMode="auto">
          <a:xfrm>
            <a:off x="457200" y="720725"/>
            <a:ext cx="6400800" cy="36004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4438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tLang="en-US" dirty="0">
              <a:latin typeface="Lucida Grande" charset="0"/>
              <a:ea typeface="ＭＳ Ｐゴシック" charset="-128"/>
            </a:endParaRPr>
          </a:p>
        </p:txBody>
      </p:sp>
    </p:spTree>
    <p:extLst>
      <p:ext uri="{BB962C8B-B14F-4D97-AF65-F5344CB8AC3E}">
        <p14:creationId xmlns:p14="http://schemas.microsoft.com/office/powerpoint/2010/main" val="25276869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0AED143-1506-434C-B47D-CBF33F177BEB}"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73502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83306" rtl="0" eaLnBrk="1" fontAlgn="auto" latinLnBrk="0" hangingPunct="1">
              <a:lnSpc>
                <a:spcPct val="100000"/>
              </a:lnSpc>
              <a:spcBef>
                <a:spcPts val="0"/>
              </a:spcBef>
              <a:spcAft>
                <a:spcPts val="0"/>
              </a:spcAft>
              <a:buClrTx/>
              <a:buSzTx/>
              <a:buFontTx/>
              <a:buNone/>
              <a:tabLst/>
              <a:defRPr/>
            </a:pPr>
            <a:fld id="{20AED143-1506-434C-B47D-CBF33F177BEB}" type="slidenum">
              <a:rPr kumimoji="0" lang="en-US" sz="1300" b="0" i="0" u="none" strike="noStrike" kern="1200" cap="none" spc="0" normalizeH="0" baseline="0" noProof="0">
                <a:ln>
                  <a:noFill/>
                </a:ln>
                <a:solidFill>
                  <a:prstClr val="black"/>
                </a:solidFill>
                <a:effectLst/>
                <a:uLnTx/>
                <a:uFillTx/>
                <a:latin typeface="IBM Plex Sans Regular" charset="0"/>
                <a:ea typeface="+mn-ea"/>
                <a:cs typeface="+mn-cs"/>
              </a:rPr>
              <a:pPr marL="0" marR="0" lvl="0" indent="0" algn="r" defTabSz="483306"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IBM Plex Sans Regular" charset="0"/>
              <a:ea typeface="+mn-ea"/>
              <a:cs typeface="+mn-cs"/>
            </a:endParaRPr>
          </a:p>
        </p:txBody>
      </p:sp>
    </p:spTree>
    <p:extLst>
      <p:ext uri="{BB962C8B-B14F-4D97-AF65-F5344CB8AC3E}">
        <p14:creationId xmlns:p14="http://schemas.microsoft.com/office/powerpoint/2010/main" val="38107427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pPr lvl="1"/>
            <a:r>
              <a:rPr lang="en-US" sz="900" kern="1200" dirty="0">
                <a:solidFill>
                  <a:schemeClr val="tx1"/>
                </a:solidFill>
                <a:effectLst/>
                <a:latin typeface="+mn-lt"/>
                <a:ea typeface="+mn-ea"/>
                <a:cs typeface="+mn-cs"/>
              </a:rPr>
              <a:t>Health is the first module in the IBM Maximo APM portfolio. </a:t>
            </a:r>
          </a:p>
          <a:p>
            <a:pPr lvl="1"/>
            <a:r>
              <a:rPr lang="en-US" sz="900" kern="1200" dirty="0">
                <a:solidFill>
                  <a:schemeClr val="tx1"/>
                </a:solidFill>
                <a:effectLst/>
                <a:latin typeface="+mn-lt"/>
                <a:ea typeface="+mn-ea"/>
                <a:cs typeface="+mn-cs"/>
              </a:rPr>
              <a:t>objective health scores </a:t>
            </a:r>
          </a:p>
          <a:p>
            <a:pPr lvl="1"/>
            <a:r>
              <a:rPr lang="en-US" sz="900" kern="1200" dirty="0">
                <a:solidFill>
                  <a:schemeClr val="tx1"/>
                </a:solidFill>
                <a:effectLst/>
                <a:latin typeface="+mn-lt"/>
                <a:ea typeface="+mn-ea"/>
                <a:cs typeface="+mn-cs"/>
              </a:rPr>
              <a:t>leverages EAM data, condition data from IoT platform </a:t>
            </a:r>
          </a:p>
          <a:p>
            <a:pPr lvl="1"/>
            <a:r>
              <a:rPr lang="en-US" sz="900" kern="1200" dirty="0">
                <a:solidFill>
                  <a:schemeClr val="tx1"/>
                </a:solidFill>
                <a:effectLst/>
                <a:latin typeface="+mn-lt"/>
                <a:ea typeface="+mn-ea"/>
                <a:cs typeface="+mn-cs"/>
              </a:rPr>
              <a:t>enabling customers to monitor across the fleet </a:t>
            </a:r>
          </a:p>
          <a:p>
            <a:pPr lvl="1"/>
            <a:r>
              <a:rPr lang="en-US" sz="900" kern="1200" dirty="0">
                <a:solidFill>
                  <a:schemeClr val="tx1"/>
                </a:solidFill>
                <a:effectLst/>
                <a:latin typeface="+mn-lt"/>
                <a:ea typeface="+mn-ea"/>
                <a:cs typeface="+mn-cs"/>
              </a:rPr>
              <a:t>equipment’s health and performance in near real-time, </a:t>
            </a:r>
          </a:p>
          <a:p>
            <a:pPr lvl="1"/>
            <a:r>
              <a:rPr lang="en-US" sz="900" kern="1200" dirty="0">
                <a:solidFill>
                  <a:schemeClr val="tx1"/>
                </a:solidFill>
                <a:effectLst/>
                <a:latin typeface="+mn-lt"/>
                <a:ea typeface="+mn-ea"/>
                <a:cs typeface="+mn-cs"/>
              </a:rPr>
              <a:t>Single source of truth</a:t>
            </a:r>
          </a:p>
          <a:p>
            <a:pPr lvl="1"/>
            <a:r>
              <a:rPr lang="en-US" sz="900" kern="1200" dirty="0">
                <a:solidFill>
                  <a:schemeClr val="tx1"/>
                </a:solidFill>
                <a:effectLst/>
                <a:latin typeface="+mn-lt"/>
                <a:ea typeface="+mn-ea"/>
                <a:cs typeface="+mn-cs"/>
              </a:rPr>
              <a:t>automate actions based on health</a:t>
            </a:r>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395246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pPr lvl="1"/>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44927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pPr lvl="1"/>
            <a:r>
              <a:rPr lang="en-US" sz="900" kern="1200" dirty="0">
                <a:solidFill>
                  <a:schemeClr val="tx1"/>
                </a:solidFill>
                <a:effectLst/>
                <a:latin typeface="+mn-lt"/>
                <a:ea typeface="+mn-ea"/>
                <a:cs typeface="+mn-cs"/>
              </a:rPr>
              <a:t>Health is the first module in the IBM Maximo APM portfolio. </a:t>
            </a:r>
          </a:p>
          <a:p>
            <a:pPr lvl="1"/>
            <a:r>
              <a:rPr lang="en-US" sz="900" kern="1200" dirty="0">
                <a:solidFill>
                  <a:schemeClr val="tx1"/>
                </a:solidFill>
                <a:effectLst/>
                <a:latin typeface="+mn-lt"/>
                <a:ea typeface="+mn-ea"/>
                <a:cs typeface="+mn-cs"/>
              </a:rPr>
              <a:t>objective health scores </a:t>
            </a:r>
          </a:p>
          <a:p>
            <a:pPr lvl="1"/>
            <a:r>
              <a:rPr lang="en-US" sz="900" kern="1200" dirty="0">
                <a:solidFill>
                  <a:schemeClr val="tx1"/>
                </a:solidFill>
                <a:effectLst/>
                <a:latin typeface="+mn-lt"/>
                <a:ea typeface="+mn-ea"/>
                <a:cs typeface="+mn-cs"/>
              </a:rPr>
              <a:t>leverages EAM data, condition data from IoT platform </a:t>
            </a:r>
          </a:p>
          <a:p>
            <a:pPr lvl="1"/>
            <a:r>
              <a:rPr lang="en-US" sz="900" kern="1200" dirty="0">
                <a:solidFill>
                  <a:schemeClr val="tx1"/>
                </a:solidFill>
                <a:effectLst/>
                <a:latin typeface="+mn-lt"/>
                <a:ea typeface="+mn-ea"/>
                <a:cs typeface="+mn-cs"/>
              </a:rPr>
              <a:t>enabling customers to monitor across the fleet </a:t>
            </a:r>
          </a:p>
          <a:p>
            <a:pPr lvl="1"/>
            <a:r>
              <a:rPr lang="en-US" sz="900" kern="1200" dirty="0">
                <a:solidFill>
                  <a:schemeClr val="tx1"/>
                </a:solidFill>
                <a:effectLst/>
                <a:latin typeface="+mn-lt"/>
                <a:ea typeface="+mn-ea"/>
                <a:cs typeface="+mn-cs"/>
              </a:rPr>
              <a:t>equipment’s health and performance in near real-time, </a:t>
            </a:r>
          </a:p>
          <a:p>
            <a:pPr lvl="1"/>
            <a:r>
              <a:rPr lang="en-US" sz="900" kern="1200" dirty="0">
                <a:solidFill>
                  <a:schemeClr val="tx1"/>
                </a:solidFill>
                <a:effectLst/>
                <a:latin typeface="+mn-lt"/>
                <a:ea typeface="+mn-ea"/>
                <a:cs typeface="+mn-cs"/>
              </a:rPr>
              <a:t>Single source of truth</a:t>
            </a:r>
          </a:p>
          <a:p>
            <a:pPr lvl="1"/>
            <a:r>
              <a:rPr lang="en-US" sz="900" kern="1200" dirty="0">
                <a:solidFill>
                  <a:schemeClr val="tx1"/>
                </a:solidFill>
                <a:effectLst/>
                <a:latin typeface="+mn-lt"/>
                <a:ea typeface="+mn-ea"/>
                <a:cs typeface="+mn-cs"/>
              </a:rPr>
              <a:t>automate actions based on health</a:t>
            </a:r>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84119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pPr lvl="1"/>
            <a:r>
              <a:rPr lang="en-US" sz="900" kern="1200" dirty="0">
                <a:solidFill>
                  <a:schemeClr val="tx1"/>
                </a:solidFill>
                <a:effectLst/>
                <a:latin typeface="+mn-lt"/>
                <a:ea typeface="+mn-ea"/>
                <a:cs typeface="+mn-cs"/>
              </a:rPr>
              <a:t>Health is the first module in the IBM Maximo APM portfolio. </a:t>
            </a:r>
          </a:p>
          <a:p>
            <a:pPr lvl="1"/>
            <a:r>
              <a:rPr lang="en-US" sz="900" kern="1200" dirty="0">
                <a:solidFill>
                  <a:schemeClr val="tx1"/>
                </a:solidFill>
                <a:effectLst/>
                <a:latin typeface="+mn-lt"/>
                <a:ea typeface="+mn-ea"/>
                <a:cs typeface="+mn-cs"/>
              </a:rPr>
              <a:t>objective health scores </a:t>
            </a:r>
          </a:p>
          <a:p>
            <a:pPr lvl="1"/>
            <a:r>
              <a:rPr lang="en-US" sz="900" kern="1200" dirty="0">
                <a:solidFill>
                  <a:schemeClr val="tx1"/>
                </a:solidFill>
                <a:effectLst/>
                <a:latin typeface="+mn-lt"/>
                <a:ea typeface="+mn-ea"/>
                <a:cs typeface="+mn-cs"/>
              </a:rPr>
              <a:t>leverages EAM data, condition data from IoT platform </a:t>
            </a:r>
          </a:p>
          <a:p>
            <a:pPr lvl="1"/>
            <a:r>
              <a:rPr lang="en-US" sz="900" kern="1200" dirty="0">
                <a:solidFill>
                  <a:schemeClr val="tx1"/>
                </a:solidFill>
                <a:effectLst/>
                <a:latin typeface="+mn-lt"/>
                <a:ea typeface="+mn-ea"/>
                <a:cs typeface="+mn-cs"/>
              </a:rPr>
              <a:t>enabling customers to monitor across the fleet </a:t>
            </a:r>
          </a:p>
          <a:p>
            <a:pPr lvl="1"/>
            <a:r>
              <a:rPr lang="en-US" sz="900" kern="1200" dirty="0">
                <a:solidFill>
                  <a:schemeClr val="tx1"/>
                </a:solidFill>
                <a:effectLst/>
                <a:latin typeface="+mn-lt"/>
                <a:ea typeface="+mn-ea"/>
                <a:cs typeface="+mn-cs"/>
              </a:rPr>
              <a:t>equipment’s health and performance in near real-time, </a:t>
            </a:r>
          </a:p>
          <a:p>
            <a:pPr lvl="1"/>
            <a:r>
              <a:rPr lang="en-US" sz="900" kern="1200" dirty="0">
                <a:solidFill>
                  <a:schemeClr val="tx1"/>
                </a:solidFill>
                <a:effectLst/>
                <a:latin typeface="+mn-lt"/>
                <a:ea typeface="+mn-ea"/>
                <a:cs typeface="+mn-cs"/>
              </a:rPr>
              <a:t>Single source of truth</a:t>
            </a:r>
          </a:p>
          <a:p>
            <a:pPr lvl="1"/>
            <a:r>
              <a:rPr lang="en-US" sz="900" kern="1200" dirty="0">
                <a:solidFill>
                  <a:schemeClr val="tx1"/>
                </a:solidFill>
                <a:effectLst/>
                <a:latin typeface="+mn-lt"/>
                <a:ea typeface="+mn-ea"/>
                <a:cs typeface="+mn-cs"/>
              </a:rPr>
              <a:t>automate actions based on health</a:t>
            </a:r>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8D02FFD-07D4-5C4F-BD77-9210081773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94367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nl-NL" altLang="en-US" sz="800" dirty="0"/>
              <a:t>Industry Challenges and Pain points in Life Sciences companies </a:t>
            </a:r>
          </a:p>
          <a:p>
            <a:pPr eaLnBrk="1" hangingPunct="1"/>
            <a:endParaRPr lang="nl-NL" altLang="en-US" sz="800" dirty="0"/>
          </a:p>
          <a:p>
            <a:pPr eaLnBrk="1" hangingPunct="1"/>
            <a:r>
              <a:rPr lang="nl-NL" altLang="en-US" sz="800" dirty="0"/>
              <a:t>Trends are:</a:t>
            </a:r>
          </a:p>
          <a:p>
            <a:pPr eaLnBrk="1" hangingPunct="1"/>
            <a:r>
              <a:rPr lang="nl-NL" altLang="en-US" sz="800" dirty="0"/>
              <a:t>* </a:t>
            </a:r>
            <a:r>
              <a:rPr lang="nl-NL" altLang="en-US" sz="800" dirty="0" err="1"/>
              <a:t>Continued</a:t>
            </a:r>
            <a:r>
              <a:rPr lang="nl-NL" altLang="en-US" sz="800" dirty="0"/>
              <a:t> </a:t>
            </a:r>
            <a:r>
              <a:rPr lang="nl-NL" altLang="en-US" sz="800" dirty="0" err="1"/>
              <a:t>emphasis</a:t>
            </a:r>
            <a:r>
              <a:rPr lang="nl-NL" altLang="en-US" sz="800" dirty="0"/>
              <a:t> on </a:t>
            </a:r>
            <a:r>
              <a:rPr lang="nl-NL" altLang="en-US" sz="800" dirty="0" err="1"/>
              <a:t>cost</a:t>
            </a:r>
            <a:r>
              <a:rPr lang="nl-NL" altLang="en-US" sz="800" dirty="0"/>
              <a:t> </a:t>
            </a:r>
            <a:r>
              <a:rPr lang="nl-NL" altLang="en-US" sz="800" dirty="0" err="1"/>
              <a:t>containment</a:t>
            </a:r>
            <a:endParaRPr lang="nl-NL" altLang="en-US" sz="800" dirty="0"/>
          </a:p>
          <a:p>
            <a:pPr eaLnBrk="1" hangingPunct="1">
              <a:buFontTx/>
              <a:buChar char="•"/>
            </a:pPr>
            <a:r>
              <a:rPr lang="nl-NL" altLang="en-US" sz="800" dirty="0"/>
              <a:t>Information-</a:t>
            </a:r>
            <a:r>
              <a:rPr lang="nl-NL" altLang="en-US" sz="800" dirty="0" err="1"/>
              <a:t>based</a:t>
            </a:r>
            <a:r>
              <a:rPr lang="nl-NL" altLang="en-US" sz="800" dirty="0"/>
              <a:t> </a:t>
            </a:r>
            <a:r>
              <a:rPr lang="nl-NL" altLang="en-US" sz="800" dirty="0" err="1"/>
              <a:t>medicine</a:t>
            </a:r>
            <a:r>
              <a:rPr lang="nl-NL" altLang="en-US" sz="800" dirty="0"/>
              <a:t> is </a:t>
            </a:r>
            <a:r>
              <a:rPr lang="nl-NL" altLang="en-US" sz="800" dirty="0" err="1"/>
              <a:t>becoming</a:t>
            </a:r>
            <a:r>
              <a:rPr lang="nl-NL" altLang="en-US" sz="800" dirty="0"/>
              <a:t> more and more a </a:t>
            </a:r>
            <a:r>
              <a:rPr lang="nl-NL" altLang="en-US" sz="800" dirty="0" err="1"/>
              <a:t>reality</a:t>
            </a:r>
            <a:r>
              <a:rPr lang="nl-NL" altLang="en-US" sz="800" dirty="0"/>
              <a:t> and </a:t>
            </a:r>
            <a:r>
              <a:rPr lang="nl-NL" altLang="en-US" sz="800" dirty="0" err="1"/>
              <a:t>requires</a:t>
            </a:r>
            <a:r>
              <a:rPr lang="nl-NL" altLang="en-US" sz="800" dirty="0"/>
              <a:t> </a:t>
            </a:r>
            <a:r>
              <a:rPr lang="nl-NL" altLang="en-US" sz="800" dirty="0" err="1"/>
              <a:t>specialized</a:t>
            </a:r>
            <a:r>
              <a:rPr lang="nl-NL" altLang="en-US" sz="800" dirty="0"/>
              <a:t> computing and data-intensive </a:t>
            </a:r>
            <a:r>
              <a:rPr lang="nl-NL" altLang="en-US" sz="800" dirty="0" err="1"/>
              <a:t>applications</a:t>
            </a:r>
            <a:r>
              <a:rPr lang="nl-NL" altLang="en-US" sz="800" dirty="0"/>
              <a:t>.</a:t>
            </a:r>
          </a:p>
          <a:p>
            <a:pPr eaLnBrk="1" hangingPunct="1">
              <a:buFontTx/>
              <a:buChar char="•"/>
            </a:pPr>
            <a:r>
              <a:rPr lang="nl-NL" altLang="en-US" sz="800" dirty="0" err="1"/>
              <a:t>Emerging</a:t>
            </a:r>
            <a:r>
              <a:rPr lang="nl-NL" altLang="en-US" sz="800" dirty="0"/>
              <a:t> Markets (India &amp; China)  / </a:t>
            </a:r>
            <a:r>
              <a:rPr lang="nl-NL" altLang="en-US" sz="800" dirty="0" err="1"/>
              <a:t>Globalization</a:t>
            </a:r>
            <a:endParaRPr lang="nl-NL" altLang="en-US" sz="800" dirty="0"/>
          </a:p>
          <a:p>
            <a:pPr eaLnBrk="1" hangingPunct="1">
              <a:buFontTx/>
              <a:buChar char="•"/>
            </a:pPr>
            <a:endParaRPr lang="nl-NL" altLang="en-US" sz="800" dirty="0"/>
          </a:p>
          <a:p>
            <a:pPr eaLnBrk="1" hangingPunct="1">
              <a:buFontTx/>
              <a:buChar char="•"/>
            </a:pPr>
            <a:r>
              <a:rPr lang="nl-NL" altLang="en-US" sz="800" dirty="0"/>
              <a:t>Customer </a:t>
            </a:r>
            <a:r>
              <a:rPr lang="nl-NL" altLang="en-US" sz="800" dirty="0" err="1"/>
              <a:t>pain</a:t>
            </a:r>
            <a:r>
              <a:rPr lang="nl-NL" altLang="en-US" sz="800" dirty="0"/>
              <a:t> points are </a:t>
            </a:r>
            <a:r>
              <a:rPr lang="nl-NL" altLang="en-US" sz="800" dirty="0" err="1"/>
              <a:t>really</a:t>
            </a:r>
            <a:r>
              <a:rPr lang="nl-NL" altLang="en-US" sz="800" dirty="0"/>
              <a:t> in line </a:t>
            </a:r>
            <a:r>
              <a:rPr lang="nl-NL" altLang="en-US" sz="800" dirty="0" err="1"/>
              <a:t>with</a:t>
            </a:r>
            <a:r>
              <a:rPr lang="nl-NL" altLang="en-US" sz="800" dirty="0"/>
              <a:t> </a:t>
            </a:r>
            <a:r>
              <a:rPr lang="nl-NL" altLang="en-US" sz="800" dirty="0" err="1"/>
              <a:t>the</a:t>
            </a:r>
            <a:r>
              <a:rPr lang="nl-NL" altLang="en-US" sz="800" dirty="0"/>
              <a:t> </a:t>
            </a:r>
            <a:r>
              <a:rPr lang="nl-NL" altLang="en-US" sz="800" dirty="0" err="1"/>
              <a:t>industry</a:t>
            </a:r>
            <a:r>
              <a:rPr lang="nl-NL" altLang="en-US" sz="800" dirty="0"/>
              <a:t> trends... But </a:t>
            </a:r>
            <a:r>
              <a:rPr lang="nl-NL" altLang="en-US" sz="800" dirty="0" err="1"/>
              <a:t>also</a:t>
            </a:r>
            <a:r>
              <a:rPr lang="nl-NL" altLang="en-US" sz="800" dirty="0"/>
              <a:t>:</a:t>
            </a:r>
          </a:p>
          <a:p>
            <a:pPr eaLnBrk="1" hangingPunct="1">
              <a:buFontTx/>
              <a:buChar char="•"/>
            </a:pPr>
            <a:r>
              <a:rPr lang="nl-NL" altLang="en-US" sz="800" dirty="0"/>
              <a:t>Pipeline output is </a:t>
            </a:r>
            <a:r>
              <a:rPr lang="nl-NL" altLang="en-US" sz="800" dirty="0" err="1"/>
              <a:t>declining</a:t>
            </a:r>
            <a:r>
              <a:rPr lang="nl-NL" altLang="en-US" sz="800" dirty="0"/>
              <a:t> and </a:t>
            </a:r>
            <a:r>
              <a:rPr lang="nl-NL" altLang="en-US" sz="800" dirty="0" err="1"/>
              <a:t>paradoxically</a:t>
            </a:r>
            <a:r>
              <a:rPr lang="nl-NL" altLang="en-US" sz="800" dirty="0"/>
              <a:t> </a:t>
            </a:r>
            <a:r>
              <a:rPr lang="nl-NL" altLang="en-US" sz="800" dirty="0" err="1"/>
              <a:t>there</a:t>
            </a:r>
            <a:r>
              <a:rPr lang="nl-NL" altLang="en-US" sz="800" dirty="0"/>
              <a:t> is </a:t>
            </a:r>
            <a:r>
              <a:rPr lang="nl-NL" altLang="en-US" sz="800" dirty="0" err="1"/>
              <a:t>increased</a:t>
            </a:r>
            <a:r>
              <a:rPr lang="nl-NL" altLang="en-US" sz="800" dirty="0"/>
              <a:t> </a:t>
            </a:r>
            <a:r>
              <a:rPr lang="nl-NL" altLang="en-US" sz="800" dirty="0" err="1"/>
              <a:t>spending</a:t>
            </a:r>
            <a:r>
              <a:rPr lang="nl-NL" altLang="en-US" sz="800" dirty="0"/>
              <a:t> but </a:t>
            </a:r>
            <a:r>
              <a:rPr lang="nl-NL" altLang="en-US" sz="800" dirty="0" err="1"/>
              <a:t>decreased</a:t>
            </a:r>
            <a:r>
              <a:rPr lang="nl-NL" altLang="en-US" sz="800" dirty="0"/>
              <a:t> </a:t>
            </a:r>
            <a:r>
              <a:rPr lang="nl-NL" altLang="en-US" sz="800" dirty="0" err="1"/>
              <a:t>productivity</a:t>
            </a:r>
            <a:r>
              <a:rPr lang="nl-NL" altLang="en-US" sz="800" dirty="0"/>
              <a:t>.. </a:t>
            </a:r>
            <a:r>
              <a:rPr lang="nl-NL" altLang="en-US" sz="800" dirty="0" err="1"/>
              <a:t>Clinical</a:t>
            </a:r>
            <a:r>
              <a:rPr lang="nl-NL" altLang="en-US" sz="800" dirty="0"/>
              <a:t> Trial management is a </a:t>
            </a:r>
            <a:r>
              <a:rPr lang="nl-NL" altLang="en-US" sz="800" dirty="0" err="1"/>
              <a:t>core</a:t>
            </a:r>
            <a:r>
              <a:rPr lang="nl-NL" altLang="en-US" sz="800" dirty="0"/>
              <a:t> topic in drug </a:t>
            </a:r>
            <a:r>
              <a:rPr lang="nl-NL" altLang="en-US" sz="800" dirty="0" err="1"/>
              <a:t>manaufacturing</a:t>
            </a:r>
            <a:r>
              <a:rPr lang="nl-NL" altLang="en-US" sz="800" dirty="0"/>
              <a:t> </a:t>
            </a:r>
            <a:r>
              <a:rPr lang="nl-NL" altLang="en-US" sz="800" dirty="0" err="1"/>
              <a:t>balancing</a:t>
            </a:r>
            <a:r>
              <a:rPr lang="nl-NL" altLang="en-US" sz="800" dirty="0"/>
              <a:t> </a:t>
            </a:r>
            <a:r>
              <a:rPr lang="nl-NL" altLang="en-US" sz="800" dirty="0" err="1"/>
              <a:t>the</a:t>
            </a:r>
            <a:r>
              <a:rPr lang="nl-NL" altLang="en-US" sz="800" dirty="0"/>
              <a:t> business goals in making </a:t>
            </a:r>
            <a:r>
              <a:rPr lang="nl-NL" altLang="en-US" sz="800" dirty="0" err="1"/>
              <a:t>profit</a:t>
            </a:r>
            <a:r>
              <a:rPr lang="nl-NL" altLang="en-US" sz="800" dirty="0"/>
              <a:t> and on </a:t>
            </a:r>
            <a:r>
              <a:rPr lang="nl-NL" altLang="en-US" sz="800" dirty="0" err="1"/>
              <a:t>the</a:t>
            </a:r>
            <a:r>
              <a:rPr lang="nl-NL" altLang="en-US" sz="800" dirty="0"/>
              <a:t> </a:t>
            </a:r>
            <a:r>
              <a:rPr lang="nl-NL" altLang="en-US" sz="800" dirty="0" err="1"/>
              <a:t>other</a:t>
            </a:r>
            <a:r>
              <a:rPr lang="nl-NL" altLang="en-US" sz="800" dirty="0"/>
              <a:t> hand produce </a:t>
            </a:r>
            <a:r>
              <a:rPr lang="nl-NL" altLang="en-US" sz="800" dirty="0" err="1"/>
              <a:t>good</a:t>
            </a:r>
            <a:r>
              <a:rPr lang="nl-NL" altLang="en-US" sz="800" dirty="0"/>
              <a:t> </a:t>
            </a:r>
            <a:r>
              <a:rPr lang="nl-NL" altLang="en-US" sz="800" dirty="0" err="1"/>
              <a:t>quality</a:t>
            </a:r>
            <a:r>
              <a:rPr lang="nl-NL" altLang="en-US" sz="800" dirty="0"/>
              <a:t> drugs.. </a:t>
            </a:r>
            <a:r>
              <a:rPr lang="nl-NL" altLang="en-US" sz="800" dirty="0" err="1"/>
              <a:t>This</a:t>
            </a:r>
            <a:r>
              <a:rPr lang="nl-NL" altLang="en-US" sz="800" dirty="0"/>
              <a:t> </a:t>
            </a:r>
            <a:r>
              <a:rPr lang="nl-NL" altLang="en-US" sz="800" dirty="0" err="1"/>
              <a:t>process</a:t>
            </a:r>
            <a:r>
              <a:rPr lang="nl-NL" altLang="en-US" sz="800" dirty="0"/>
              <a:t> is time-</a:t>
            </a:r>
            <a:r>
              <a:rPr lang="nl-NL" altLang="en-US" sz="800" dirty="0" err="1"/>
              <a:t>consuming</a:t>
            </a:r>
            <a:r>
              <a:rPr lang="nl-NL" altLang="en-US" sz="800" dirty="0"/>
              <a:t> and </a:t>
            </a:r>
            <a:r>
              <a:rPr lang="nl-NL" altLang="en-US" sz="800" dirty="0" err="1"/>
              <a:t>very</a:t>
            </a:r>
            <a:r>
              <a:rPr lang="nl-NL" altLang="en-US" sz="800" dirty="0"/>
              <a:t> </a:t>
            </a:r>
            <a:r>
              <a:rPr lang="nl-NL" altLang="en-US" sz="800" dirty="0" err="1"/>
              <a:t>costly</a:t>
            </a:r>
            <a:r>
              <a:rPr lang="nl-NL" altLang="en-US" sz="800" dirty="0"/>
              <a:t>.</a:t>
            </a:r>
          </a:p>
          <a:p>
            <a:pPr eaLnBrk="1" hangingPunct="1">
              <a:buFontTx/>
              <a:buChar char="•"/>
            </a:pPr>
            <a:r>
              <a:rPr lang="nl-NL" altLang="en-US" sz="800" dirty="0" err="1"/>
              <a:t>Increased</a:t>
            </a:r>
            <a:r>
              <a:rPr lang="nl-NL" altLang="en-US" sz="800" dirty="0"/>
              <a:t> </a:t>
            </a:r>
            <a:r>
              <a:rPr lang="nl-NL" altLang="en-US" sz="800" dirty="0" err="1"/>
              <a:t>regulatory</a:t>
            </a:r>
            <a:r>
              <a:rPr lang="nl-NL" altLang="en-US" sz="800" dirty="0"/>
              <a:t> compliance </a:t>
            </a:r>
            <a:r>
              <a:rPr lang="nl-NL" altLang="en-US" sz="800" dirty="0" err="1"/>
              <a:t>pressures</a:t>
            </a:r>
            <a:r>
              <a:rPr lang="nl-NL" altLang="en-US" sz="800" dirty="0"/>
              <a:t> </a:t>
            </a:r>
            <a:r>
              <a:rPr lang="nl-NL" altLang="en-US" sz="800" dirty="0" err="1"/>
              <a:t>from</a:t>
            </a:r>
            <a:r>
              <a:rPr lang="nl-NL" altLang="en-US" sz="800" dirty="0"/>
              <a:t> FDA </a:t>
            </a:r>
            <a:r>
              <a:rPr lang="nl-NL" altLang="en-US" sz="800" dirty="0" err="1"/>
              <a:t>can</a:t>
            </a:r>
            <a:r>
              <a:rPr lang="nl-NL" altLang="en-US" sz="800" dirty="0"/>
              <a:t> delay development and </a:t>
            </a:r>
            <a:r>
              <a:rPr lang="nl-NL" altLang="en-US" sz="800" dirty="0" err="1"/>
              <a:t>production</a:t>
            </a:r>
            <a:r>
              <a:rPr lang="nl-NL" altLang="en-US" sz="800" dirty="0"/>
              <a:t> of new drugs as well as </a:t>
            </a:r>
            <a:r>
              <a:rPr lang="nl-NL" altLang="en-US" sz="800" dirty="0" err="1"/>
              <a:t>increased</a:t>
            </a:r>
            <a:r>
              <a:rPr lang="nl-NL" altLang="en-US" sz="800" dirty="0"/>
              <a:t> focus on Post Market Surveillance (i.e. </a:t>
            </a:r>
            <a:r>
              <a:rPr lang="nl-NL" altLang="en-US" sz="800" dirty="0" err="1"/>
              <a:t>Phase</a:t>
            </a:r>
            <a:r>
              <a:rPr lang="nl-NL" altLang="en-US" sz="800" dirty="0"/>
              <a:t> 4 trials)</a:t>
            </a:r>
          </a:p>
          <a:p>
            <a:pPr eaLnBrk="1" hangingPunct="1">
              <a:buFontTx/>
              <a:buChar char="•"/>
            </a:pPr>
            <a:r>
              <a:rPr lang="nl-NL" altLang="en-US" sz="800" dirty="0" err="1"/>
              <a:t>Increased</a:t>
            </a:r>
            <a:r>
              <a:rPr lang="nl-NL" altLang="en-US" sz="800" dirty="0"/>
              <a:t> focus on </a:t>
            </a:r>
            <a:r>
              <a:rPr lang="nl-NL" altLang="en-US" sz="800" dirty="0" err="1"/>
              <a:t>streamlining</a:t>
            </a:r>
            <a:r>
              <a:rPr lang="nl-NL" altLang="en-US" sz="800" dirty="0"/>
              <a:t> </a:t>
            </a:r>
            <a:r>
              <a:rPr lang="nl-NL" altLang="en-US" sz="800" dirty="0" err="1"/>
              <a:t>the</a:t>
            </a:r>
            <a:r>
              <a:rPr lang="nl-NL" altLang="en-US" sz="800" dirty="0"/>
              <a:t> </a:t>
            </a:r>
            <a:r>
              <a:rPr lang="nl-NL" altLang="en-US" sz="800" dirty="0" err="1"/>
              <a:t>supply</a:t>
            </a:r>
            <a:r>
              <a:rPr lang="nl-NL" altLang="en-US" sz="800" dirty="0"/>
              <a:t> chain </a:t>
            </a:r>
            <a:r>
              <a:rPr lang="nl-NL" altLang="en-US" sz="800" dirty="0" err="1"/>
              <a:t>within</a:t>
            </a:r>
            <a:r>
              <a:rPr lang="nl-NL" altLang="en-US" sz="800" dirty="0"/>
              <a:t> </a:t>
            </a:r>
            <a:r>
              <a:rPr lang="nl-NL" altLang="en-US" sz="800" dirty="0" err="1"/>
              <a:t>the</a:t>
            </a:r>
            <a:r>
              <a:rPr lang="nl-NL" altLang="en-US" sz="800" dirty="0"/>
              <a:t> </a:t>
            </a:r>
            <a:r>
              <a:rPr lang="nl-NL" altLang="en-US" sz="800" dirty="0" err="1"/>
              <a:t>total</a:t>
            </a:r>
            <a:r>
              <a:rPr lang="nl-NL" altLang="en-US" sz="800" dirty="0"/>
              <a:t> </a:t>
            </a:r>
            <a:r>
              <a:rPr lang="nl-NL" altLang="en-US" sz="800" dirty="0" err="1"/>
              <a:t>enterprise</a:t>
            </a:r>
            <a:endParaRPr lang="nl-NL" altLang="en-US" sz="8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0AED143-1506-434C-B47D-CBF33F177BEB}" type="slidenum">
              <a:rPr kumimoji="0" lang="en-US" sz="1200" b="0" i="0" u="none" strike="noStrike" kern="1200" cap="none" spc="0" normalizeH="0" baseline="0" noProof="0" smtClean="0">
                <a:ln>
                  <a:noFill/>
                </a:ln>
                <a:solidFill>
                  <a:prstClr val="black"/>
                </a:solidFill>
                <a:effectLst/>
                <a:uLnTx/>
                <a:uFillTx/>
                <a:latin typeface="IBM Plex Sans Regular"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IBM Plex Sans Regular" charset="0"/>
              <a:ea typeface="+mn-ea"/>
              <a:cs typeface="+mn-cs"/>
            </a:endParaRPr>
          </a:p>
        </p:txBody>
      </p:sp>
    </p:spTree>
    <p:extLst>
      <p:ext uri="{BB962C8B-B14F-4D97-AF65-F5344CB8AC3E}">
        <p14:creationId xmlns:p14="http://schemas.microsoft.com/office/powerpoint/2010/main" val="8841821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tx1"/>
                </a:solidFill>
              </a:defRPr>
            </a:lvl1pPr>
          </a:lstStyle>
          <a:p>
            <a:r>
              <a:rPr lang="en-US"/>
              <a:t>Click to edit Master title style</a:t>
            </a:r>
            <a:endParaRPr lang="en-US" dirty="0"/>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5250161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9594374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414542021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1532261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356546600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92026"/>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173198970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365760702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543745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166480456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53107" y="1573759"/>
            <a:ext cx="1636776" cy="1516746"/>
          </a:xfrm>
          <a:prstGeom prst="rect">
            <a:avLst/>
          </a:prstGeom>
        </p:spPr>
      </p:pic>
    </p:spTree>
    <p:extLst>
      <p:ext uri="{BB962C8B-B14F-4D97-AF65-F5344CB8AC3E}">
        <p14:creationId xmlns:p14="http://schemas.microsoft.com/office/powerpoint/2010/main" val="238326128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2" y="1095310"/>
            <a:ext cx="8541385" cy="324199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endParaRPr lang="en-US" noProof="0" dirty="0"/>
          </a:p>
        </p:txBody>
      </p:sp>
      <p:sp>
        <p:nvSpPr>
          <p:cNvPr id="7" name="Title 6"/>
          <p:cNvSpPr>
            <a:spLocks noGrp="1"/>
          </p:cNvSpPr>
          <p:nvPr>
            <p:ph type="title"/>
          </p:nvPr>
        </p:nvSpPr>
        <p:spPr>
          <a:xfrm>
            <a:off x="228602" y="173736"/>
            <a:ext cx="4474777" cy="914400"/>
          </a:xfrm>
        </p:spPr>
        <p:txBody>
          <a:bodyPr/>
          <a:lstStyle/>
          <a:p>
            <a:r>
              <a:rPr lang="en-US" noProof="0"/>
              <a:t>Click to edit Master title style</a:t>
            </a:r>
          </a:p>
        </p:txBody>
      </p:sp>
      <p:sp>
        <p:nvSpPr>
          <p:cNvPr id="8" name="Slide Number Placeholder 2">
            <a:extLst>
              <a:ext uri="{FF2B5EF4-FFF2-40B4-BE49-F238E27FC236}">
                <a16:creationId xmlns:a16="http://schemas.microsoft.com/office/drawing/2014/main" id="{5B12F7A9-8431-4FFB-AC4D-9A88858C26DF}"/>
              </a:ext>
            </a:extLst>
          </p:cNvPr>
          <p:cNvSpPr>
            <a:spLocks noGrp="1"/>
          </p:cNvSpPr>
          <p:nvPr>
            <p:ph type="sldNum" sz="quarter" idx="11"/>
          </p:nvPr>
        </p:nvSpPr>
        <p:spPr>
          <a:xfrm>
            <a:off x="6858000" y="4826480"/>
            <a:ext cx="2057400" cy="137160"/>
          </a:xfrm>
        </p:spPr>
        <p:txBody>
          <a:bodyPr/>
          <a:lstStyle/>
          <a:p>
            <a:fld id="{D0BE6F14-FF48-0F4F-A8AA-2E3F25371E4A}" type="slidenum">
              <a:rPr lang="en-US" smtClean="0"/>
              <a:pPr/>
              <a:t>‹#›</a:t>
            </a:fld>
            <a:endParaRPr lang="en-US"/>
          </a:p>
        </p:txBody>
      </p:sp>
      <p:sp>
        <p:nvSpPr>
          <p:cNvPr id="9" name="Footer Placeholder 8">
            <a:extLst>
              <a:ext uri="{FF2B5EF4-FFF2-40B4-BE49-F238E27FC236}">
                <a16:creationId xmlns:a16="http://schemas.microsoft.com/office/drawing/2014/main" id="{24FE048F-B5DB-42A8-9C3B-ACA0FA5F35BC}"/>
              </a:ext>
            </a:extLst>
          </p:cNvPr>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dirty="0"/>
              <a:t>IBM Watson IoT / © 2020 IBM Corporation</a:t>
            </a:r>
            <a:endParaRPr lang="en-US" dirty="0"/>
          </a:p>
        </p:txBody>
      </p:sp>
    </p:spTree>
    <p:extLst>
      <p:ext uri="{BB962C8B-B14F-4D97-AF65-F5344CB8AC3E}">
        <p14:creationId xmlns:p14="http://schemas.microsoft.com/office/powerpoint/2010/main" val="1379163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03 Title and Content (above)">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097280"/>
            <a:ext cx="8595360" cy="3429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227013" y="179388"/>
            <a:ext cx="5684188" cy="914400"/>
          </a:xfrm>
          <a:solidFill>
            <a:srgbClr val="FFFFFF"/>
          </a:solidFill>
        </p:spPr>
        <p:txBody>
          <a:bodyPr/>
          <a:lstStyle/>
          <a:p>
            <a:r>
              <a:rPr lang="en-US"/>
              <a:t>Click to edit Master title style</a:t>
            </a:r>
            <a:endParaRPr lang="en-US" dirty="0"/>
          </a:p>
        </p:txBody>
      </p:sp>
    </p:spTree>
    <p:extLst>
      <p:ext uri="{BB962C8B-B14F-4D97-AF65-F5344CB8AC3E}">
        <p14:creationId xmlns:p14="http://schemas.microsoft.com/office/powerpoint/2010/main" val="25677995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6858000" y="4832418"/>
            <a:ext cx="2057400" cy="137160"/>
          </a:xfrm>
        </p:spPr>
        <p:txBody>
          <a:bodyPr/>
          <a:lstStyle>
            <a:lvl1pPr>
              <a:defRPr>
                <a:solidFill>
                  <a:schemeClr val="bg2"/>
                </a:solidFill>
              </a:defRPr>
            </a:lvl1pPr>
          </a:lstStyle>
          <a:p>
            <a:fld id="{D0BE6F14-FF48-0F4F-A8AA-2E3F25371E4A}" type="slidenum">
              <a:rPr lang="en-US" smtClean="0"/>
              <a:pPr/>
              <a:t>‹#›</a:t>
            </a:fld>
            <a:endParaRPr lang="en-US"/>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
        <p:nvSpPr>
          <p:cNvPr id="11" name="Title 1">
            <a:extLst>
              <a:ext uri="{FF2B5EF4-FFF2-40B4-BE49-F238E27FC236}">
                <a16:creationId xmlns:a16="http://schemas.microsoft.com/office/drawing/2014/main" id="{D60CBAC1-068B-1841-B085-1D542F51E61B}"/>
              </a:ext>
            </a:extLst>
          </p:cNvPr>
          <p:cNvSpPr>
            <a:spLocks noGrp="1"/>
          </p:cNvSpPr>
          <p:nvPr>
            <p:ph type="title"/>
          </p:nvPr>
        </p:nvSpPr>
        <p:spPr>
          <a:xfrm>
            <a:off x="228600" y="201168"/>
            <a:ext cx="4114800" cy="959358"/>
          </a:xfrm>
        </p:spPr>
        <p:txBody>
          <a:bodyPr/>
          <a:lstStyle/>
          <a:p>
            <a:r>
              <a:rPr lang="en-US"/>
              <a:t>Click to edit Master title style</a:t>
            </a:r>
            <a:endParaRPr lang="en-US" dirty="0"/>
          </a:p>
        </p:txBody>
      </p:sp>
    </p:spTree>
    <p:extLst>
      <p:ext uri="{BB962C8B-B14F-4D97-AF65-F5344CB8AC3E}">
        <p14:creationId xmlns:p14="http://schemas.microsoft.com/office/powerpoint/2010/main" val="114564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pPr>
              <a:defRPr/>
            </a:pPr>
            <a:fld id="{846CE7D5-CF57-46EF-B807-FDD0502418D4}" type="datetimeFigureOut">
              <a:rPr lang="en-US" smtClean="0">
                <a:solidFill>
                  <a:srgbClr val="000000"/>
                </a:solidFill>
              </a:rPr>
              <a:pPr>
                <a:defRPr/>
              </a:pPr>
              <a:t>6/24/2020</a:t>
            </a:fld>
            <a:endParaRPr lang="en-US">
              <a:solidFill>
                <a:srgbClr val="000000"/>
              </a:solidFill>
            </a:endParaRPr>
          </a:p>
        </p:txBody>
      </p:sp>
      <p:sp>
        <p:nvSpPr>
          <p:cNvPr id="5" name="Footer Placeholder 4"/>
          <p:cNvSpPr>
            <a:spLocks noGrp="1"/>
          </p:cNvSpPr>
          <p:nvPr>
            <p:ph type="ftr" sz="quarter" idx="11"/>
          </p:nvPr>
        </p:nvSpPr>
        <p:spPr/>
        <p:txBody>
          <a:bodyPr/>
          <a:lstStyle/>
          <a:p>
            <a:pPr>
              <a:defRPr/>
            </a:pPr>
            <a:endParaRPr lang="en-US">
              <a:solidFill>
                <a:srgbClr val="000000"/>
              </a:solidFill>
            </a:endParaRPr>
          </a:p>
        </p:txBody>
      </p:sp>
      <p:sp>
        <p:nvSpPr>
          <p:cNvPr id="6" name="Slide Number Placeholder 5"/>
          <p:cNvSpPr>
            <a:spLocks noGrp="1"/>
          </p:cNvSpPr>
          <p:nvPr>
            <p:ph type="sldNum" sz="quarter" idx="12"/>
          </p:nvPr>
        </p:nvSpPr>
        <p:spPr/>
        <p:txBody>
          <a:bodyPr/>
          <a:lstStyle/>
          <a:p>
            <a:pPr>
              <a:defRPr/>
            </a:pPr>
            <a:fld id="{330EA680-D336-4FF7-8B7A-9848BB0A1C32}" type="slidenum">
              <a:rPr lang="en-US" smtClean="0">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9298515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bove) + blank">
    <p:spTree>
      <p:nvGrpSpPr>
        <p:cNvPr id="1" name=""/>
        <p:cNvGrpSpPr/>
        <p:nvPr/>
      </p:nvGrpSpPr>
      <p:grpSpPr>
        <a:xfrm>
          <a:off x="0" y="0"/>
          <a:ext cx="0" cy="0"/>
          <a:chOff x="0" y="0"/>
          <a:chExt cx="0" cy="0"/>
        </a:xfrm>
      </p:grpSpPr>
      <p:sp>
        <p:nvSpPr>
          <p:cNvPr id="7" name="Title 6"/>
          <p:cNvSpPr>
            <a:spLocks noGrp="1"/>
          </p:cNvSpPr>
          <p:nvPr>
            <p:ph type="title"/>
          </p:nvPr>
        </p:nvSpPr>
        <p:spPr>
          <a:xfrm>
            <a:off x="228602" y="173736"/>
            <a:ext cx="8468591" cy="914400"/>
          </a:xfrm>
        </p:spPr>
        <p:txBody>
          <a:bodyPr/>
          <a:lstStyle/>
          <a:p>
            <a:r>
              <a:rPr lang="en-US" dirty="0"/>
              <a:t>Click to edit Master title style</a:t>
            </a:r>
          </a:p>
        </p:txBody>
      </p:sp>
      <p:sp>
        <p:nvSpPr>
          <p:cNvPr id="8" name="Slide Number Placeholder 2">
            <a:extLst>
              <a:ext uri="{FF2B5EF4-FFF2-40B4-BE49-F238E27FC236}">
                <a16:creationId xmlns:a16="http://schemas.microsoft.com/office/drawing/2014/main" id="{A4EA064A-41C5-40CA-A532-43C8EBB08392}"/>
              </a:ext>
            </a:extLst>
          </p:cNvPr>
          <p:cNvSpPr>
            <a:spLocks noGrp="1"/>
          </p:cNvSpPr>
          <p:nvPr>
            <p:ph type="sldNum" sz="quarter" idx="11"/>
          </p:nvPr>
        </p:nvSpPr>
        <p:spPr>
          <a:xfrm>
            <a:off x="6858000" y="4826480"/>
            <a:ext cx="2057400" cy="137160"/>
          </a:xfrm>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9" name="Footer Placeholder 8">
            <a:extLst>
              <a:ext uri="{FF2B5EF4-FFF2-40B4-BE49-F238E27FC236}">
                <a16:creationId xmlns:a16="http://schemas.microsoft.com/office/drawing/2014/main" id="{B7F8D467-2DAA-4EB8-9401-0A35A842EB4A}"/>
              </a:ext>
            </a:extLst>
          </p:cNvPr>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solidFill>
                  <a:srgbClr val="000000"/>
                </a:solidFill>
              </a:rPr>
              <a:t>IBM Watson IoT / © 2019 IBM Corporation</a:t>
            </a:r>
            <a:endParaRPr lang="en-US">
              <a:solidFill>
                <a:srgbClr val="000000"/>
              </a:solidFill>
            </a:endParaRPr>
          </a:p>
        </p:txBody>
      </p:sp>
    </p:spTree>
    <p:extLst>
      <p:ext uri="{BB962C8B-B14F-4D97-AF65-F5344CB8AC3E}">
        <p14:creationId xmlns:p14="http://schemas.microsoft.com/office/powerpoint/2010/main" val="24099971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Mobile Screen">
    <p:spTree>
      <p:nvGrpSpPr>
        <p:cNvPr id="1" name=""/>
        <p:cNvGrpSpPr/>
        <p:nvPr/>
      </p:nvGrpSpPr>
      <p:grpSpPr>
        <a:xfrm>
          <a:off x="0" y="0"/>
          <a:ext cx="0" cy="0"/>
          <a:chOff x="0" y="0"/>
          <a:chExt cx="0" cy="0"/>
        </a:xfrm>
      </p:grpSpPr>
      <p:sp>
        <p:nvSpPr>
          <p:cNvPr id="7" name="Content Placeholder 2"/>
          <p:cNvSpPr>
            <a:spLocks noGrp="1"/>
          </p:cNvSpPr>
          <p:nvPr>
            <p:ph idx="12"/>
          </p:nvPr>
        </p:nvSpPr>
        <p:spPr>
          <a:xfrm>
            <a:off x="5943600" y="1201420"/>
            <a:ext cx="2743200" cy="3425828"/>
          </a:xfrm>
        </p:spPr>
        <p:txBody>
          <a:bodyPr/>
          <a:lstStyle>
            <a:lvl1pPr>
              <a:buFont typeface="Arial" pitchFamily="34" charset="0"/>
              <a:buChar char="•"/>
              <a:defRPr>
                <a:solidFill>
                  <a:schemeClr val="tx1">
                    <a:lumMod val="75000"/>
                    <a:lumOff val="25000"/>
                  </a:schemeClr>
                </a:solidFill>
              </a:defRPr>
            </a:lvl1pPr>
            <a:lvl2pPr marL="342583" indent="-171292">
              <a:buFont typeface="Arial" pitchFamily="34" charset="0"/>
              <a:buChar char="−"/>
              <a:defRPr sz="1349"/>
            </a:lvl2pPr>
            <a:lvl3pPr marL="513875">
              <a:buFont typeface="Arial" pitchFamily="34" charset="0"/>
              <a:buChar char="−"/>
              <a:defRPr sz="1199"/>
            </a:lvl3pPr>
            <a:lvl4pPr marL="685166">
              <a:buFont typeface="Arial" pitchFamily="34" charset="0"/>
              <a:buChar char="−"/>
              <a:defRPr sz="1049"/>
            </a:lvl4pPr>
          </a:lstStyle>
          <a:p>
            <a:pPr marL="172800" marR="0" lvl="0" indent="-172800" algn="l" defTabSz="685483" rtl="0" eaLnBrk="1" fontAlgn="base" latinLnBrk="0" hangingPunct="1">
              <a:lnSpc>
                <a:spcPct val="100000"/>
              </a:lnSpc>
              <a:spcBef>
                <a:spcPts val="675"/>
              </a:spcBef>
              <a:spcAft>
                <a:spcPct val="0"/>
              </a:spcAft>
              <a:buClr>
                <a:schemeClr val="tx1"/>
              </a:buClr>
              <a:buSzPct val="100000"/>
              <a:buFont typeface="Arial" pitchFamily="34" charset="0"/>
              <a:buNone/>
              <a:tabLst/>
              <a:defRPr/>
            </a:pPr>
            <a:r>
              <a:rPr lang="en-US"/>
              <a:t>Click to edit Master text styles</a:t>
            </a:r>
          </a:p>
        </p:txBody>
      </p:sp>
      <p:sp>
        <p:nvSpPr>
          <p:cNvPr id="5" name="Title 1"/>
          <p:cNvSpPr>
            <a:spLocks noGrp="1"/>
          </p:cNvSpPr>
          <p:nvPr>
            <p:ph type="title"/>
          </p:nvPr>
        </p:nvSpPr>
        <p:spPr>
          <a:xfrm>
            <a:off x="182880" y="445770"/>
            <a:ext cx="8686800" cy="480060"/>
          </a:xfrm>
          <a:prstGeom prst="rect">
            <a:avLst/>
          </a:prstGeom>
        </p:spPr>
        <p:txBody>
          <a:bodyPr/>
          <a:lstStyle>
            <a:lvl1pPr>
              <a:defRPr>
                <a:solidFill>
                  <a:schemeClr val="tx1">
                    <a:lumMod val="75000"/>
                    <a:lumOff val="25000"/>
                  </a:schemeClr>
                </a:solidFill>
              </a:defRPr>
            </a:lvl1pPr>
          </a:lstStyle>
          <a:p>
            <a:r>
              <a:rPr lang="en-US"/>
              <a:t>Click to edit Master title style</a:t>
            </a:r>
            <a:endParaRPr lang="en-US" dirty="0"/>
          </a:p>
        </p:txBody>
      </p:sp>
      <p:sp>
        <p:nvSpPr>
          <p:cNvPr id="6" name="Content Placeholder 2"/>
          <p:cNvSpPr>
            <a:spLocks noGrp="1"/>
          </p:cNvSpPr>
          <p:nvPr>
            <p:ph idx="1"/>
          </p:nvPr>
        </p:nvSpPr>
        <p:spPr>
          <a:xfrm>
            <a:off x="350839" y="1201420"/>
            <a:ext cx="5465763" cy="3425828"/>
          </a:xfrm>
        </p:spPr>
        <p:txBody>
          <a:bodyPr/>
          <a:lstStyle>
            <a:lvl1pPr>
              <a:defRPr>
                <a:solidFill>
                  <a:schemeClr val="tx1">
                    <a:lumMod val="75000"/>
                    <a:lumOff val="25000"/>
                  </a:schemeClr>
                </a:solidFill>
              </a:defRPr>
            </a:lvl1pPr>
            <a:lvl2pPr marL="384048" indent="-123444">
              <a:buFont typeface="ArialMT" charset="0"/>
              <a:buChar char="-"/>
              <a:defRPr>
                <a:solidFill>
                  <a:schemeClr val="tx1">
                    <a:lumMod val="75000"/>
                    <a:lumOff val="25000"/>
                  </a:schemeClr>
                </a:solidFill>
              </a:defRPr>
            </a:lvl2pPr>
            <a:lvl3pPr>
              <a:defRPr>
                <a:solidFill>
                  <a:schemeClr val="tx1">
                    <a:lumMod val="75000"/>
                    <a:lumOff val="25000"/>
                  </a:schemeClr>
                </a:solidFill>
              </a:defRPr>
            </a:lvl3pPr>
            <a:lvl4pPr>
              <a:defRPr b="0" i="0">
                <a:solidFill>
                  <a:schemeClr val="tx1">
                    <a:lumMod val="75000"/>
                    <a:lumOff val="25000"/>
                  </a:schemeClr>
                </a:solidFill>
                <a:latin typeface="Arial" charset="0"/>
              </a:defRPr>
            </a:lvl4pPr>
            <a:lvl5pPr>
              <a:defRPr b="0" i="0">
                <a:solidFill>
                  <a:schemeClr val="tx1">
                    <a:lumMod val="75000"/>
                    <a:lumOff val="25000"/>
                  </a:schemeClr>
                </a:solidFill>
                <a:latin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13"/>
          </p:nvPr>
        </p:nvSpPr>
        <p:spPr/>
        <p:txBody>
          <a:bodyPr/>
          <a:lstStyle/>
          <a:p>
            <a:pPr algn="l">
              <a:defRPr/>
            </a:pPr>
            <a:fld id="{583AEB23-5892-4F01-8E6C-FF8EB02121ED}" type="slidenum">
              <a:rPr lang="en-US" altLang="en-US" smtClean="0">
                <a:solidFill>
                  <a:srgbClr val="000000"/>
                </a:solidFill>
              </a:rPr>
              <a:pPr algn="l">
                <a:defRPr/>
              </a:pPr>
              <a:t>‹#›</a:t>
            </a:fld>
            <a:endParaRPr lang="en-US" altLang="en-US">
              <a:solidFill>
                <a:srgbClr val="000000"/>
              </a:solidFill>
            </a:endParaRPr>
          </a:p>
        </p:txBody>
      </p:sp>
      <p:sp>
        <p:nvSpPr>
          <p:cNvPr id="3" name="Footer Placeholder 2">
            <a:extLst>
              <a:ext uri="{FF2B5EF4-FFF2-40B4-BE49-F238E27FC236}">
                <a16:creationId xmlns:a16="http://schemas.microsoft.com/office/drawing/2014/main" id="{617D4B90-03C1-4D47-9B4B-E9369F28A6B1}"/>
              </a:ext>
            </a:extLst>
          </p:cNvPr>
          <p:cNvSpPr>
            <a:spLocks noGrp="1"/>
          </p:cNvSpPr>
          <p:nvPr>
            <p:ph type="ftr" sz="quarter" idx="14"/>
          </p:nvPr>
        </p:nvSpPr>
        <p:spPr>
          <a:xfrm>
            <a:off x="405517" y="4996164"/>
            <a:ext cx="2250219" cy="147336"/>
          </a:xfrm>
          <a:prstGeom prst="rect">
            <a:avLst/>
          </a:prstGeom>
        </p:spPr>
        <p:txBody>
          <a:bodyPr/>
          <a:lstStyle/>
          <a:p>
            <a:pPr>
              <a:defRPr/>
            </a:pPr>
            <a:r>
              <a:rPr lang="en-US">
                <a:solidFill>
                  <a:srgbClr val="000000"/>
                </a:solidFill>
              </a:rPr>
              <a:t>© 2019 IBM Corporation | IoT Exchange</a:t>
            </a:r>
            <a:endParaRPr lang="en-US" b="1">
              <a:solidFill>
                <a:srgbClr val="000000"/>
              </a:solidFill>
            </a:endParaRPr>
          </a:p>
        </p:txBody>
      </p:sp>
    </p:spTree>
    <p:extLst>
      <p:ext uri="{BB962C8B-B14F-4D97-AF65-F5344CB8AC3E}">
        <p14:creationId xmlns:p14="http://schemas.microsoft.com/office/powerpoint/2010/main" val="334629078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Condensed title &amp; text">
    <p:spTree>
      <p:nvGrpSpPr>
        <p:cNvPr id="1" name=""/>
        <p:cNvGrpSpPr/>
        <p:nvPr/>
      </p:nvGrpSpPr>
      <p:grpSpPr>
        <a:xfrm>
          <a:off x="0" y="0"/>
          <a:ext cx="0" cy="0"/>
          <a:chOff x="0" y="0"/>
          <a:chExt cx="0" cy="0"/>
        </a:xfrm>
      </p:grpSpPr>
      <p:sp>
        <p:nvSpPr>
          <p:cNvPr id="11" name="Title 1"/>
          <p:cNvSpPr>
            <a:spLocks noGrp="1"/>
          </p:cNvSpPr>
          <p:nvPr>
            <p:ph type="title"/>
          </p:nvPr>
        </p:nvSpPr>
        <p:spPr>
          <a:xfrm>
            <a:off x="457200" y="765"/>
            <a:ext cx="6477000" cy="459892"/>
          </a:xfrm>
          <a:prstGeom prst="rect">
            <a:avLst/>
          </a:prstGeom>
        </p:spPr>
        <p:txBody>
          <a:bodyPr/>
          <a:lstStyle>
            <a:lvl1pPr>
              <a:defRPr sz="2100"/>
            </a:lvl1pPr>
          </a:lstStyle>
          <a:p>
            <a:r>
              <a:rPr lang="en-US"/>
              <a:t>Click to edit Master title style</a:t>
            </a:r>
            <a:endParaRPr lang="en-US" dirty="0"/>
          </a:p>
        </p:txBody>
      </p:sp>
      <p:sp>
        <p:nvSpPr>
          <p:cNvPr id="3" name="Content Placeholder 2"/>
          <p:cNvSpPr>
            <a:spLocks noGrp="1"/>
          </p:cNvSpPr>
          <p:nvPr>
            <p:ph sz="quarter" idx="16"/>
          </p:nvPr>
        </p:nvSpPr>
        <p:spPr>
          <a:xfrm>
            <a:off x="457201" y="838224"/>
            <a:ext cx="8224839" cy="37830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7"/>
          </p:nvPr>
        </p:nvSpPr>
        <p:spPr>
          <a:xfrm>
            <a:off x="457200" y="4767266"/>
            <a:ext cx="2133600" cy="274637"/>
          </a:xfrm>
          <a:prstGeom prst="rect">
            <a:avLst/>
          </a:prstGeom>
        </p:spPr>
        <p:txBody>
          <a:bodyPr/>
          <a:lstStyle>
            <a:lvl1pPr>
              <a:defRPr/>
            </a:lvl1pPr>
          </a:lstStyle>
          <a:p>
            <a:pPr>
              <a:defRPr/>
            </a:pPr>
            <a:fld id="{1B9E8913-430A-4633-AC5C-4510F6B96ADF}" type="datetime1">
              <a:rPr lang="en-US"/>
              <a:pPr>
                <a:defRPr/>
              </a:pPr>
              <a:t>6/24/2020</a:t>
            </a:fld>
            <a:endParaRPr lang="en-US"/>
          </a:p>
        </p:txBody>
      </p:sp>
      <p:sp>
        <p:nvSpPr>
          <p:cNvPr id="5" name="Slide Number Placeholder 5"/>
          <p:cNvSpPr>
            <a:spLocks noGrp="1"/>
          </p:cNvSpPr>
          <p:nvPr>
            <p:ph type="sldNum" sz="quarter" idx="18"/>
          </p:nvPr>
        </p:nvSpPr>
        <p:spPr>
          <a:xfrm>
            <a:off x="8226428" y="4625976"/>
            <a:ext cx="455613" cy="273050"/>
          </a:xfrm>
          <a:prstGeom prst="rect">
            <a:avLst/>
          </a:prstGeom>
        </p:spPr>
        <p:txBody>
          <a:bodyPr/>
          <a:lstStyle>
            <a:lvl1pPr>
              <a:defRPr/>
            </a:lvl1pPr>
          </a:lstStyle>
          <a:p>
            <a:pPr>
              <a:defRPr/>
            </a:pPr>
            <a:fld id="{2F52DD4A-E62C-4EAF-96F7-946702EBB509}" type="slidenum">
              <a:rPr lang="en-US"/>
              <a:pPr>
                <a:defRPr/>
              </a:pPr>
              <a:t>‹#›</a:t>
            </a:fld>
            <a:endParaRPr lang="en-US"/>
          </a:p>
        </p:txBody>
      </p:sp>
    </p:spTree>
    <p:extLst>
      <p:ext uri="{BB962C8B-B14F-4D97-AF65-F5344CB8AC3E}">
        <p14:creationId xmlns:p14="http://schemas.microsoft.com/office/powerpoint/2010/main" val="402081559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above) + content (1-column)">
    <p:bg>
      <p:bgPr>
        <a:solidFill>
          <a:srgbClr val="FFFFFF"/>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4" y="1095310"/>
            <a:ext cx="8541385" cy="3241992"/>
          </a:xfrm>
        </p:spPr>
        <p:txBody>
          <a:bodyPr/>
          <a:lstStyle>
            <a:lvl1pPr>
              <a:defRPr sz="1350" baseline="0">
                <a:solidFill>
                  <a:schemeClr val="tx1"/>
                </a:solidFill>
              </a:defRPr>
            </a:lvl1pPr>
            <a:lvl2pPr>
              <a:defRPr sz="1350" baseline="0">
                <a:solidFill>
                  <a:schemeClr val="tx1"/>
                </a:solidFill>
              </a:defRPr>
            </a:lvl2pPr>
            <a:lvl3pPr>
              <a:defRPr sz="1350" baseline="0">
                <a:solidFill>
                  <a:schemeClr val="tx1"/>
                </a:solidFill>
              </a:defRPr>
            </a:lvl3pPr>
            <a:lvl4pPr>
              <a:defRPr sz="1350" baseline="0">
                <a:solidFill>
                  <a:schemeClr val="tx1"/>
                </a:solidFill>
              </a:defRPr>
            </a:lvl4pPr>
            <a:lvl5pPr>
              <a:defRPr sz="1350" baseline="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fld id="{269570D9-6E3C-7942-8F22-FC1D6FD304D4}" type="datetime1">
              <a:rPr lang="en-US" smtClean="0">
                <a:solidFill>
                  <a:srgbClr val="5A5A5A"/>
                </a:solidFill>
              </a:rPr>
              <a:pPr/>
              <a:t>6/24/2020</a:t>
            </a:fld>
            <a:endParaRPr lang="en-US">
              <a:solidFill>
                <a:srgbClr val="5A5A5A"/>
              </a:solidFill>
            </a:endParaRPr>
          </a:p>
        </p:txBody>
      </p:sp>
      <p:sp>
        <p:nvSpPr>
          <p:cNvPr id="6" name="Slide Number Placeholder 5"/>
          <p:cNvSpPr>
            <a:spLocks noGrp="1"/>
          </p:cNvSpPr>
          <p:nvPr>
            <p:ph type="sldNum" sz="quarter" idx="12"/>
          </p:nvPr>
        </p:nvSpPr>
        <p:spPr>
          <a:xfrm>
            <a:off x="230188" y="4854037"/>
            <a:ext cx="210312" cy="201168"/>
          </a:xfrm>
        </p:spPr>
        <p:txBody>
          <a:bodyPr/>
          <a:lstStyle/>
          <a:p>
            <a:fld id="{E4DBDE34-E9B5-E04F-B662-69720E4BCB53}" type="slidenum">
              <a:rPr lang="en-US" smtClean="0">
                <a:solidFill>
                  <a:srgbClr val="5A5A5A"/>
                </a:solidFill>
              </a:rPr>
              <a:pPr/>
              <a:t>‹#›</a:t>
            </a:fld>
            <a:endParaRPr lang="en-US">
              <a:solidFill>
                <a:srgbClr val="5A5A5A"/>
              </a:solidFill>
            </a:endParaRPr>
          </a:p>
        </p:txBody>
      </p:sp>
      <p:sp>
        <p:nvSpPr>
          <p:cNvPr id="7" name="Title 6"/>
          <p:cNvSpPr>
            <a:spLocks noGrp="1"/>
          </p:cNvSpPr>
          <p:nvPr>
            <p:ph type="title"/>
          </p:nvPr>
        </p:nvSpPr>
        <p:spPr>
          <a:xfrm>
            <a:off x="228604" y="173736"/>
            <a:ext cx="4474777" cy="914400"/>
          </a:xfrm>
        </p:spPr>
        <p:txBody>
          <a:bodyPr/>
          <a:lstStyle>
            <a:lvl1pPr>
              <a:defRPr b="1" i="0" baseline="0">
                <a:solidFill>
                  <a:srgbClr val="5596E6"/>
                </a:solidFill>
              </a:defRPr>
            </a:lvl1pPr>
          </a:lstStyle>
          <a:p>
            <a:r>
              <a:rPr lang="en-US" noProof="0" dirty="0"/>
              <a:t>Click to edit Master title style</a:t>
            </a:r>
          </a:p>
        </p:txBody>
      </p:sp>
    </p:spTree>
    <p:extLst>
      <p:ext uri="{BB962C8B-B14F-4D97-AF65-F5344CB8AC3E}">
        <p14:creationId xmlns:p14="http://schemas.microsoft.com/office/powerpoint/2010/main" val="426265700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6" name="Rectangle 5"/>
          <p:cNvSpPr/>
          <p:nvPr userDrawn="1"/>
        </p:nvSpPr>
        <p:spPr>
          <a:xfrm flipV="1">
            <a:off x="0" y="0"/>
            <a:ext cx="9144000" cy="9715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9" name="Text Placeholder 23"/>
          <p:cNvSpPr>
            <a:spLocks noGrp="1"/>
          </p:cNvSpPr>
          <p:nvPr>
            <p:ph type="body" sz="quarter" idx="14" hasCustomPrompt="1"/>
          </p:nvPr>
        </p:nvSpPr>
        <p:spPr>
          <a:xfrm>
            <a:off x="284286" y="4589145"/>
            <a:ext cx="4114800" cy="285750"/>
          </a:xfrm>
        </p:spPr>
        <p:txBody>
          <a:bodyPr vert="horz" lIns="0" tIns="0" rIns="0" bIns="0" rtlCol="0" anchor="b">
            <a:noAutofit/>
          </a:bodyPr>
          <a:lstStyle>
            <a:lvl1pPr>
              <a:defRPr lang="en-US" sz="5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284286" y="1285875"/>
            <a:ext cx="4114800" cy="3286125"/>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Content Placeholder 2"/>
          <p:cNvSpPr>
            <a:spLocks noGrp="1"/>
          </p:cNvSpPr>
          <p:nvPr>
            <p:ph idx="13"/>
          </p:nvPr>
        </p:nvSpPr>
        <p:spPr>
          <a:xfrm>
            <a:off x="4743450" y="1285875"/>
            <a:ext cx="4114800" cy="3286125"/>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8" name="Title 1"/>
          <p:cNvSpPr>
            <a:spLocks noGrp="1"/>
          </p:cNvSpPr>
          <p:nvPr>
            <p:ph type="title"/>
          </p:nvPr>
        </p:nvSpPr>
        <p:spPr>
          <a:xfrm>
            <a:off x="285750" y="428625"/>
            <a:ext cx="8572500" cy="400050"/>
          </a:xfrm>
        </p:spPr>
        <p:txBody>
          <a:bodyPr>
            <a:noAutofit/>
          </a:bodyPr>
          <a:lstStyle>
            <a:lvl1pPr>
              <a:defRPr>
                <a:solidFill>
                  <a:schemeClr val="bg2"/>
                </a:solidFill>
                <a:latin typeface="IBM Plex Sans" charset="0"/>
                <a:ea typeface="IBM Plex Sans" charset="0"/>
                <a:cs typeface="IBM Plex Sans" charset="0"/>
              </a:defRPr>
            </a:lvl1pPr>
          </a:lstStyle>
          <a:p>
            <a:r>
              <a:rPr lang="en-US" dirty="0"/>
              <a:t>Click to edit Master title style</a:t>
            </a:r>
          </a:p>
        </p:txBody>
      </p:sp>
      <p:sp>
        <p:nvSpPr>
          <p:cNvPr id="2" name="TextBox 1">
            <a:extLst>
              <a:ext uri="{FF2B5EF4-FFF2-40B4-BE49-F238E27FC236}">
                <a16:creationId xmlns:a16="http://schemas.microsoft.com/office/drawing/2014/main" id="{7841BCEC-72B4-49CC-8901-FCD065E91DF9}"/>
              </a:ext>
            </a:extLst>
          </p:cNvPr>
          <p:cNvSpPr txBox="1"/>
          <p:nvPr userDrawn="1"/>
        </p:nvSpPr>
        <p:spPr>
          <a:xfrm>
            <a:off x="228600" y="120967"/>
            <a:ext cx="1771650" cy="211455"/>
          </a:xfrm>
          <a:prstGeom prst="rect">
            <a:avLst/>
          </a:prstGeom>
        </p:spPr>
        <p:txBody>
          <a:bodyPr wrap="square" lIns="57150" tIns="28575" rIns="57150" bIns="28575" rtlCol="0">
            <a:noAutofit/>
          </a:bodyPr>
          <a:lstStyle/>
          <a:p>
            <a:pPr marL="0" marR="0" lvl="0" indent="0" algn="l" defTabSz="685773" rtl="0" eaLnBrk="1" fontAlgn="auto" latinLnBrk="0" hangingPunct="1">
              <a:lnSpc>
                <a:spcPct val="105000"/>
              </a:lnSpc>
              <a:spcBef>
                <a:spcPts val="625"/>
              </a:spcBef>
              <a:spcAft>
                <a:spcPts val="0"/>
              </a:spcAft>
              <a:buClrTx/>
              <a:buSzTx/>
              <a:buFontTx/>
              <a:buNone/>
              <a:tabLst/>
              <a:defRPr/>
            </a:pPr>
            <a:r>
              <a:rPr lang="en-US" sz="1125" b="1" dirty="0">
                <a:solidFill>
                  <a:srgbClr val="3366CC"/>
                </a:solidFill>
              </a:rPr>
              <a:t>AI Applications</a:t>
            </a:r>
          </a:p>
          <a:p>
            <a:pPr>
              <a:lnSpc>
                <a:spcPct val="105000"/>
              </a:lnSpc>
              <a:spcBef>
                <a:spcPts val="625"/>
              </a:spcBef>
            </a:pPr>
            <a:endParaRPr lang="en-US" sz="1250" dirty="0" err="1">
              <a:solidFill>
                <a:schemeClr val="tx1"/>
              </a:solidFill>
              <a:latin typeface="IBM Plex Sans" charset="0"/>
              <a:ea typeface="IBM Plex Sans" charset="0"/>
              <a:cs typeface="IBM Plex Sans" charset="0"/>
            </a:endParaRPr>
          </a:p>
        </p:txBody>
      </p:sp>
    </p:spTree>
    <p:extLst>
      <p:ext uri="{BB962C8B-B14F-4D97-AF65-F5344CB8AC3E}">
        <p14:creationId xmlns:p14="http://schemas.microsoft.com/office/powerpoint/2010/main" val="278385266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9" name="Text Placeholder 23"/>
          <p:cNvSpPr>
            <a:spLocks noGrp="1"/>
          </p:cNvSpPr>
          <p:nvPr>
            <p:ph type="body" sz="quarter" idx="14" hasCustomPrompt="1"/>
          </p:nvPr>
        </p:nvSpPr>
        <p:spPr>
          <a:xfrm>
            <a:off x="285750" y="4589145"/>
            <a:ext cx="4114800" cy="285750"/>
          </a:xfrm>
        </p:spPr>
        <p:txBody>
          <a:bodyPr vert="horz" lIns="0" tIns="0" rIns="0" bIns="0" rtlCol="0" anchor="b">
            <a:noAutofit/>
          </a:bodyPr>
          <a:lstStyle>
            <a:lvl1pPr>
              <a:defRPr lang="en-US" sz="500"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28575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2" name="Content Placeholder 2"/>
          <p:cNvSpPr>
            <a:spLocks noGrp="1"/>
          </p:cNvSpPr>
          <p:nvPr>
            <p:ph idx="10"/>
          </p:nvPr>
        </p:nvSpPr>
        <p:spPr>
          <a:xfrm>
            <a:off x="466725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Content Placeholder 2"/>
          <p:cNvSpPr>
            <a:spLocks noGrp="1"/>
          </p:cNvSpPr>
          <p:nvPr>
            <p:ph idx="12"/>
          </p:nvPr>
        </p:nvSpPr>
        <p:spPr>
          <a:xfrm>
            <a:off x="24765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68580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Rectangle 15">
            <a:extLst>
              <a:ext uri="{FF2B5EF4-FFF2-40B4-BE49-F238E27FC236}">
                <a16:creationId xmlns:a16="http://schemas.microsoft.com/office/drawing/2014/main" id="{A47BD9D5-A222-4F98-AC13-206793D87456}"/>
              </a:ext>
            </a:extLst>
          </p:cNvPr>
          <p:cNvSpPr/>
          <p:nvPr userDrawn="1"/>
        </p:nvSpPr>
        <p:spPr>
          <a:xfrm flipV="1">
            <a:off x="0" y="0"/>
            <a:ext cx="9144000" cy="9715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18" name="Title 1">
            <a:extLst>
              <a:ext uri="{FF2B5EF4-FFF2-40B4-BE49-F238E27FC236}">
                <a16:creationId xmlns:a16="http://schemas.microsoft.com/office/drawing/2014/main" id="{95EE6A4C-1CCB-4D6F-AA7D-5E9AB602412B}"/>
              </a:ext>
            </a:extLst>
          </p:cNvPr>
          <p:cNvSpPr>
            <a:spLocks noGrp="1"/>
          </p:cNvSpPr>
          <p:nvPr>
            <p:ph type="title"/>
          </p:nvPr>
        </p:nvSpPr>
        <p:spPr>
          <a:xfrm>
            <a:off x="285750" y="428625"/>
            <a:ext cx="8572500" cy="400050"/>
          </a:xfrm>
        </p:spPr>
        <p:txBody>
          <a:bodyPr>
            <a:noAutofit/>
          </a:bodyPr>
          <a:lstStyle>
            <a:lvl1pPr>
              <a:defRPr>
                <a:solidFill>
                  <a:schemeClr val="bg2"/>
                </a:solidFill>
                <a:latin typeface="IBM Plex Sans" charset="0"/>
                <a:ea typeface="IBM Plex Sans" charset="0"/>
                <a:cs typeface="IBM Plex Sans" charset="0"/>
              </a:defRPr>
            </a:lvl1pPr>
          </a:lstStyle>
          <a:p>
            <a:r>
              <a:rPr lang="en-US" dirty="0"/>
              <a:t>Click to edit Master title style</a:t>
            </a:r>
          </a:p>
        </p:txBody>
      </p:sp>
      <p:sp>
        <p:nvSpPr>
          <p:cNvPr id="19" name="TextBox 18">
            <a:extLst>
              <a:ext uri="{FF2B5EF4-FFF2-40B4-BE49-F238E27FC236}">
                <a16:creationId xmlns:a16="http://schemas.microsoft.com/office/drawing/2014/main" id="{3B8586DD-50F2-4E82-82C7-5305C7B077C4}"/>
              </a:ext>
            </a:extLst>
          </p:cNvPr>
          <p:cNvSpPr txBox="1"/>
          <p:nvPr userDrawn="1"/>
        </p:nvSpPr>
        <p:spPr>
          <a:xfrm>
            <a:off x="228600" y="120967"/>
            <a:ext cx="1771650" cy="211455"/>
          </a:xfrm>
          <a:prstGeom prst="rect">
            <a:avLst/>
          </a:prstGeom>
        </p:spPr>
        <p:txBody>
          <a:bodyPr wrap="square" lIns="57150" tIns="28575" rIns="57150" bIns="28575" rtlCol="0">
            <a:noAutofit/>
          </a:bodyPr>
          <a:lstStyle/>
          <a:p>
            <a:pPr marL="0" marR="0" lvl="0" indent="0" algn="l" defTabSz="685773" rtl="0" eaLnBrk="1" fontAlgn="auto" latinLnBrk="0" hangingPunct="1">
              <a:lnSpc>
                <a:spcPct val="105000"/>
              </a:lnSpc>
              <a:spcBef>
                <a:spcPts val="625"/>
              </a:spcBef>
              <a:spcAft>
                <a:spcPts val="0"/>
              </a:spcAft>
              <a:buClrTx/>
              <a:buSzTx/>
              <a:buFontTx/>
              <a:buNone/>
              <a:tabLst/>
              <a:defRPr/>
            </a:pPr>
            <a:r>
              <a:rPr lang="en-US" sz="1125" b="1" dirty="0">
                <a:solidFill>
                  <a:srgbClr val="3366CC"/>
                </a:solidFill>
              </a:rPr>
              <a:t>AI Applications</a:t>
            </a:r>
          </a:p>
          <a:p>
            <a:pPr>
              <a:lnSpc>
                <a:spcPct val="105000"/>
              </a:lnSpc>
              <a:spcBef>
                <a:spcPts val="625"/>
              </a:spcBef>
            </a:pPr>
            <a:endParaRPr lang="en-US" sz="1250" dirty="0" err="1">
              <a:solidFill>
                <a:schemeClr val="tx1"/>
              </a:solidFill>
              <a:latin typeface="IBM Plex Sans" charset="0"/>
              <a:ea typeface="IBM Plex Sans" charset="0"/>
              <a:cs typeface="IBM Plex Sans" charset="0"/>
            </a:endParaRPr>
          </a:p>
        </p:txBody>
      </p:sp>
    </p:spTree>
    <p:extLst>
      <p:ext uri="{BB962C8B-B14F-4D97-AF65-F5344CB8AC3E}">
        <p14:creationId xmlns:p14="http://schemas.microsoft.com/office/powerpoint/2010/main" val="334277586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1" name="Text Placeholder 23"/>
          <p:cNvSpPr>
            <a:spLocks noGrp="1"/>
          </p:cNvSpPr>
          <p:nvPr>
            <p:ph type="body" sz="quarter" idx="14" hasCustomPrompt="1"/>
          </p:nvPr>
        </p:nvSpPr>
        <p:spPr>
          <a:xfrm>
            <a:off x="285750" y="4589145"/>
            <a:ext cx="4114800" cy="285750"/>
          </a:xfrm>
        </p:spPr>
        <p:txBody>
          <a:bodyPr vert="horz" lIns="0" tIns="0" rIns="0" bIns="0" rtlCol="0" anchor="b">
            <a:noAutofit/>
          </a:bodyPr>
          <a:lstStyle>
            <a:lvl1pPr>
              <a:defRPr lang="en-US" sz="500"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284286" y="1285875"/>
            <a:ext cx="4114800" cy="3286125"/>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Content Placeholder 2"/>
          <p:cNvSpPr>
            <a:spLocks noGrp="1"/>
          </p:cNvSpPr>
          <p:nvPr>
            <p:ph idx="13"/>
          </p:nvPr>
        </p:nvSpPr>
        <p:spPr>
          <a:xfrm>
            <a:off x="4743450" y="1285875"/>
            <a:ext cx="4114800" cy="3286125"/>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9" name="Rectangle 8">
            <a:extLst>
              <a:ext uri="{FF2B5EF4-FFF2-40B4-BE49-F238E27FC236}">
                <a16:creationId xmlns:a16="http://schemas.microsoft.com/office/drawing/2014/main" id="{4564428D-A14F-49E6-8248-83C97DF00F6D}"/>
              </a:ext>
            </a:extLst>
          </p:cNvPr>
          <p:cNvSpPr/>
          <p:nvPr userDrawn="1"/>
        </p:nvSpPr>
        <p:spPr>
          <a:xfrm flipV="1">
            <a:off x="0" y="0"/>
            <a:ext cx="9144000" cy="9715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11" name="Title 1">
            <a:extLst>
              <a:ext uri="{FF2B5EF4-FFF2-40B4-BE49-F238E27FC236}">
                <a16:creationId xmlns:a16="http://schemas.microsoft.com/office/drawing/2014/main" id="{87296503-9F1F-4B55-8EC3-CFA4613BB785}"/>
              </a:ext>
            </a:extLst>
          </p:cNvPr>
          <p:cNvSpPr>
            <a:spLocks noGrp="1"/>
          </p:cNvSpPr>
          <p:nvPr>
            <p:ph type="title"/>
          </p:nvPr>
        </p:nvSpPr>
        <p:spPr>
          <a:xfrm>
            <a:off x="285750" y="428625"/>
            <a:ext cx="8572500" cy="400050"/>
          </a:xfrm>
        </p:spPr>
        <p:txBody>
          <a:bodyPr>
            <a:noAutofit/>
          </a:bodyPr>
          <a:lstStyle>
            <a:lvl1pPr>
              <a:defRPr>
                <a:solidFill>
                  <a:schemeClr val="bg2"/>
                </a:solidFill>
                <a:latin typeface="IBM Plex Sans" charset="0"/>
                <a:ea typeface="IBM Plex Sans" charset="0"/>
                <a:cs typeface="IBM Plex Sans" charset="0"/>
              </a:defRPr>
            </a:lvl1pPr>
          </a:lstStyle>
          <a:p>
            <a:r>
              <a:rPr lang="en-US" dirty="0"/>
              <a:t>Click to edit Master title style</a:t>
            </a:r>
          </a:p>
        </p:txBody>
      </p:sp>
      <p:sp>
        <p:nvSpPr>
          <p:cNvPr id="12" name="TextBox 11">
            <a:extLst>
              <a:ext uri="{FF2B5EF4-FFF2-40B4-BE49-F238E27FC236}">
                <a16:creationId xmlns:a16="http://schemas.microsoft.com/office/drawing/2014/main" id="{2B8B718D-CCA3-4638-B163-7BF51911FE01}"/>
              </a:ext>
            </a:extLst>
          </p:cNvPr>
          <p:cNvSpPr txBox="1"/>
          <p:nvPr userDrawn="1"/>
        </p:nvSpPr>
        <p:spPr>
          <a:xfrm>
            <a:off x="228600" y="120967"/>
            <a:ext cx="1771650" cy="211455"/>
          </a:xfrm>
          <a:prstGeom prst="rect">
            <a:avLst/>
          </a:prstGeom>
        </p:spPr>
        <p:txBody>
          <a:bodyPr wrap="square" lIns="57150" tIns="28575" rIns="57150" bIns="28575" rtlCol="0">
            <a:noAutofit/>
          </a:bodyPr>
          <a:lstStyle/>
          <a:p>
            <a:pPr marL="0" marR="0" lvl="0" indent="0" algn="l" defTabSz="685773" rtl="0" eaLnBrk="1" fontAlgn="auto" latinLnBrk="0" hangingPunct="1">
              <a:lnSpc>
                <a:spcPct val="105000"/>
              </a:lnSpc>
              <a:spcBef>
                <a:spcPts val="625"/>
              </a:spcBef>
              <a:spcAft>
                <a:spcPts val="0"/>
              </a:spcAft>
              <a:buClrTx/>
              <a:buSzTx/>
              <a:buFontTx/>
              <a:buNone/>
              <a:tabLst/>
              <a:defRPr/>
            </a:pPr>
            <a:r>
              <a:rPr lang="en-US" sz="1125" b="1" dirty="0">
                <a:solidFill>
                  <a:srgbClr val="3366CC"/>
                </a:solidFill>
              </a:rPr>
              <a:t>AI Applications</a:t>
            </a:r>
          </a:p>
          <a:p>
            <a:pPr>
              <a:lnSpc>
                <a:spcPct val="105000"/>
              </a:lnSpc>
              <a:spcBef>
                <a:spcPts val="625"/>
              </a:spcBef>
            </a:pPr>
            <a:endParaRPr lang="en-US" sz="1250" dirty="0" err="1">
              <a:solidFill>
                <a:schemeClr val="tx1"/>
              </a:solidFill>
              <a:latin typeface="IBM Plex Sans" charset="0"/>
              <a:ea typeface="IBM Plex Sans" charset="0"/>
              <a:cs typeface="IBM Plex Sans" charset="0"/>
            </a:endParaRPr>
          </a:p>
        </p:txBody>
      </p:sp>
    </p:spTree>
    <p:extLst>
      <p:ext uri="{BB962C8B-B14F-4D97-AF65-F5344CB8AC3E}">
        <p14:creationId xmlns:p14="http://schemas.microsoft.com/office/powerpoint/2010/main" val="85811439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3-3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564428D-A14F-49E6-8248-83C97DF00F6D}"/>
              </a:ext>
            </a:extLst>
          </p:cNvPr>
          <p:cNvSpPr/>
          <p:nvPr userDrawn="1"/>
        </p:nvSpPr>
        <p:spPr>
          <a:xfrm flipV="1">
            <a:off x="0" y="0"/>
            <a:ext cx="9144000" cy="9715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11" name="Title 1">
            <a:extLst>
              <a:ext uri="{FF2B5EF4-FFF2-40B4-BE49-F238E27FC236}">
                <a16:creationId xmlns:a16="http://schemas.microsoft.com/office/drawing/2014/main" id="{87296503-9F1F-4B55-8EC3-CFA4613BB785}"/>
              </a:ext>
            </a:extLst>
          </p:cNvPr>
          <p:cNvSpPr>
            <a:spLocks noGrp="1"/>
          </p:cNvSpPr>
          <p:nvPr>
            <p:ph type="title"/>
          </p:nvPr>
        </p:nvSpPr>
        <p:spPr>
          <a:xfrm>
            <a:off x="285750" y="428625"/>
            <a:ext cx="8572500" cy="400050"/>
          </a:xfrm>
        </p:spPr>
        <p:txBody>
          <a:bodyPr>
            <a:noAutofit/>
          </a:bodyPr>
          <a:lstStyle>
            <a:lvl1pPr>
              <a:defRPr>
                <a:solidFill>
                  <a:schemeClr val="bg2"/>
                </a:solidFill>
                <a:latin typeface="IBM Plex Sans" charset="0"/>
                <a:ea typeface="IBM Plex Sans" charset="0"/>
                <a:cs typeface="IBM Plex Sans" charset="0"/>
              </a:defRPr>
            </a:lvl1pPr>
          </a:lstStyle>
          <a:p>
            <a:r>
              <a:rPr lang="en-US" dirty="0"/>
              <a:t>Click to edit Master title style</a:t>
            </a:r>
          </a:p>
        </p:txBody>
      </p:sp>
      <p:sp>
        <p:nvSpPr>
          <p:cNvPr id="12" name="TextBox 11">
            <a:extLst>
              <a:ext uri="{FF2B5EF4-FFF2-40B4-BE49-F238E27FC236}">
                <a16:creationId xmlns:a16="http://schemas.microsoft.com/office/drawing/2014/main" id="{2B8B718D-CCA3-4638-B163-7BF51911FE01}"/>
              </a:ext>
            </a:extLst>
          </p:cNvPr>
          <p:cNvSpPr txBox="1"/>
          <p:nvPr userDrawn="1"/>
        </p:nvSpPr>
        <p:spPr>
          <a:xfrm>
            <a:off x="228600" y="120967"/>
            <a:ext cx="1771650" cy="211455"/>
          </a:xfrm>
          <a:prstGeom prst="rect">
            <a:avLst/>
          </a:prstGeom>
        </p:spPr>
        <p:txBody>
          <a:bodyPr wrap="square" lIns="57150" tIns="28575" rIns="57150" bIns="28575" rtlCol="0">
            <a:noAutofit/>
          </a:bodyPr>
          <a:lstStyle/>
          <a:p>
            <a:pPr marL="0" marR="0" lvl="0" indent="0" algn="l" defTabSz="685773" rtl="0" eaLnBrk="1" fontAlgn="auto" latinLnBrk="0" hangingPunct="1">
              <a:lnSpc>
                <a:spcPct val="105000"/>
              </a:lnSpc>
              <a:spcBef>
                <a:spcPts val="625"/>
              </a:spcBef>
              <a:spcAft>
                <a:spcPts val="0"/>
              </a:spcAft>
              <a:buClrTx/>
              <a:buSzTx/>
              <a:buFontTx/>
              <a:buNone/>
              <a:tabLst/>
              <a:defRPr/>
            </a:pPr>
            <a:r>
              <a:rPr lang="en-US" sz="1125" b="1" dirty="0">
                <a:solidFill>
                  <a:srgbClr val="3366CC"/>
                </a:solidFill>
              </a:rPr>
              <a:t>AI Applications</a:t>
            </a:r>
          </a:p>
          <a:p>
            <a:pPr>
              <a:lnSpc>
                <a:spcPct val="105000"/>
              </a:lnSpc>
              <a:spcBef>
                <a:spcPts val="625"/>
              </a:spcBef>
            </a:pPr>
            <a:endParaRPr lang="en-US" sz="1250" dirty="0" err="1">
              <a:solidFill>
                <a:schemeClr val="tx1"/>
              </a:solidFill>
              <a:latin typeface="IBM Plex Sans" charset="0"/>
              <a:ea typeface="IBM Plex Sans" charset="0"/>
              <a:cs typeface="IBM Plex Sans" charset="0"/>
            </a:endParaRPr>
          </a:p>
        </p:txBody>
      </p:sp>
      <p:sp>
        <p:nvSpPr>
          <p:cNvPr id="10" name="Content Placeholder 2">
            <a:extLst>
              <a:ext uri="{FF2B5EF4-FFF2-40B4-BE49-F238E27FC236}">
                <a16:creationId xmlns:a16="http://schemas.microsoft.com/office/drawing/2014/main" id="{4C879C18-F083-45A2-9A83-7B5CCEF6CF52}"/>
              </a:ext>
            </a:extLst>
          </p:cNvPr>
          <p:cNvSpPr>
            <a:spLocks noGrp="1"/>
          </p:cNvSpPr>
          <p:nvPr>
            <p:ph idx="1"/>
          </p:nvPr>
        </p:nvSpPr>
        <p:spPr>
          <a:xfrm>
            <a:off x="284286" y="1285875"/>
            <a:ext cx="8373939" cy="3286125"/>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419463986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0" name="Rectangle 9"/>
          <p:cNvSpPr/>
          <p:nvPr userDrawn="1"/>
        </p:nvSpPr>
        <p:spPr>
          <a:xfrm flipV="1">
            <a:off x="0" y="0"/>
            <a:ext cx="9144000" cy="12858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5" name="Text Placeholder 4"/>
          <p:cNvSpPr>
            <a:spLocks noGrp="1"/>
          </p:cNvSpPr>
          <p:nvPr>
            <p:ph type="body" sz="quarter" idx="11"/>
          </p:nvPr>
        </p:nvSpPr>
        <p:spPr>
          <a:xfrm>
            <a:off x="285750" y="165735"/>
            <a:ext cx="4114800" cy="171450"/>
          </a:xfrm>
        </p:spPr>
        <p:txBody>
          <a:bodyPr lIns="0" tIns="0" rIns="0">
            <a:noAutofit/>
          </a:bodyPr>
          <a:lstStyle>
            <a:lvl1pPr>
              <a:defRPr sz="1000">
                <a:solidFill>
                  <a:schemeClr val="accent1"/>
                </a:solidFill>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11" name="Text Placeholder 23"/>
          <p:cNvSpPr>
            <a:spLocks noGrp="1"/>
          </p:cNvSpPr>
          <p:nvPr>
            <p:ph type="body" sz="quarter" idx="14" hasCustomPrompt="1"/>
          </p:nvPr>
        </p:nvSpPr>
        <p:spPr>
          <a:xfrm>
            <a:off x="285750" y="4589145"/>
            <a:ext cx="4114800" cy="285750"/>
          </a:xfrm>
        </p:spPr>
        <p:txBody>
          <a:bodyPr vert="horz" lIns="0" tIns="0" rIns="0" bIns="0" rtlCol="0" anchor="b">
            <a:noAutofit/>
          </a:bodyPr>
          <a:lstStyle>
            <a:lvl1pPr>
              <a:defRPr lang="en-US" sz="500" dirty="0" smtClean="0">
                <a:solidFill>
                  <a:schemeClr val="tx1">
                    <a:alpha val="70000"/>
                  </a:schemeClr>
                </a:solidFill>
              </a:defRPr>
            </a:lvl1pPr>
          </a:lstStyle>
          <a:p>
            <a:pPr lvl="0"/>
            <a:r>
              <a:rPr lang="en-US" dirty="0"/>
              <a:t>Source: Edit source here</a:t>
            </a:r>
          </a:p>
        </p:txBody>
      </p:sp>
      <p:sp>
        <p:nvSpPr>
          <p:cNvPr id="12" name="Content Placeholder 2"/>
          <p:cNvSpPr>
            <a:spLocks noGrp="1"/>
          </p:cNvSpPr>
          <p:nvPr>
            <p:ph idx="1"/>
          </p:nvPr>
        </p:nvSpPr>
        <p:spPr>
          <a:xfrm>
            <a:off x="28575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3" name="Content Placeholder 2"/>
          <p:cNvSpPr>
            <a:spLocks noGrp="1"/>
          </p:cNvSpPr>
          <p:nvPr>
            <p:ph idx="10"/>
          </p:nvPr>
        </p:nvSpPr>
        <p:spPr>
          <a:xfrm>
            <a:off x="466725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2"/>
          </p:nvPr>
        </p:nvSpPr>
        <p:spPr>
          <a:xfrm>
            <a:off x="24765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5" name="Content Placeholder 2"/>
          <p:cNvSpPr>
            <a:spLocks noGrp="1"/>
          </p:cNvSpPr>
          <p:nvPr>
            <p:ph idx="13"/>
          </p:nvPr>
        </p:nvSpPr>
        <p:spPr>
          <a:xfrm>
            <a:off x="68580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6" name="Title 1"/>
          <p:cNvSpPr>
            <a:spLocks noGrp="1"/>
          </p:cNvSpPr>
          <p:nvPr>
            <p:ph type="title"/>
          </p:nvPr>
        </p:nvSpPr>
        <p:spPr>
          <a:xfrm>
            <a:off x="285750" y="428625"/>
            <a:ext cx="8572500" cy="714375"/>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5700982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pt-BR" dirty="0"/>
              <a:t>IBM Maximo / © 2020 IBM Corporation</a:t>
            </a:r>
            <a:endParaRPr lang="en-US" dirty="0"/>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82627232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2286000" y="0"/>
            <a:ext cx="6858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2" name="Title 1"/>
          <p:cNvSpPr>
            <a:spLocks noGrp="1"/>
          </p:cNvSpPr>
          <p:nvPr>
            <p:ph type="title"/>
          </p:nvPr>
        </p:nvSpPr>
        <p:spPr>
          <a:xfrm>
            <a:off x="285750" y="1285875"/>
            <a:ext cx="1857375" cy="228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285750" y="165735"/>
            <a:ext cx="1857375" cy="514350"/>
          </a:xfrm>
        </p:spPr>
        <p:txBody>
          <a:bodyPr lIns="0" tIns="0" rIns="0">
            <a:noAutofit/>
          </a:bodyPr>
          <a:lstStyle>
            <a:lvl1pPr>
              <a:defRPr sz="1000">
                <a:solidFill>
                  <a:schemeClr val="accent1"/>
                </a:solidFill>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285751" y="4572000"/>
            <a:ext cx="1885951" cy="302895"/>
          </a:xfrm>
        </p:spPr>
        <p:txBody>
          <a:bodyPr vert="horz" lIns="0" tIns="0" rIns="0" bIns="0" rtlCol="0" anchor="b">
            <a:noAutofit/>
          </a:bodyPr>
          <a:lstStyle>
            <a:lvl1pPr>
              <a:defRPr lang="en-US" sz="5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2428875" y="4937760"/>
            <a:ext cx="1427760" cy="136908"/>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bg2">
                    <a:alpha val="60000"/>
                  </a:schemeClr>
                </a:solidFill>
                <a:latin typeface="IBM Plex Sans" charset="0"/>
                <a:ea typeface="IBM Plex Sans" charset="0"/>
                <a:cs typeface="IBM Plex Sans" charset="0"/>
              </a:rPr>
              <a:t>IBM Services</a:t>
            </a:r>
          </a:p>
        </p:txBody>
      </p:sp>
      <p:sp>
        <p:nvSpPr>
          <p:cNvPr id="9" name="Content Placeholder 2"/>
          <p:cNvSpPr>
            <a:spLocks noGrp="1"/>
          </p:cNvSpPr>
          <p:nvPr>
            <p:ph idx="10"/>
          </p:nvPr>
        </p:nvSpPr>
        <p:spPr>
          <a:xfrm>
            <a:off x="466725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0" name="Content Placeholder 2"/>
          <p:cNvSpPr>
            <a:spLocks noGrp="1"/>
          </p:cNvSpPr>
          <p:nvPr>
            <p:ph idx="12"/>
          </p:nvPr>
        </p:nvSpPr>
        <p:spPr>
          <a:xfrm>
            <a:off x="24765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1" name="Content Placeholder 2"/>
          <p:cNvSpPr>
            <a:spLocks noGrp="1"/>
          </p:cNvSpPr>
          <p:nvPr>
            <p:ph idx="13"/>
          </p:nvPr>
        </p:nvSpPr>
        <p:spPr>
          <a:xfrm>
            <a:off x="68580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04264" y="4886335"/>
            <a:ext cx="353824" cy="142876"/>
          </a:xfrm>
          <a:prstGeom prst="rect">
            <a:avLst/>
          </a:prstGeom>
        </p:spPr>
      </p:pic>
    </p:spTree>
    <p:extLst>
      <p:ext uri="{BB962C8B-B14F-4D97-AF65-F5344CB8AC3E}">
        <p14:creationId xmlns:p14="http://schemas.microsoft.com/office/powerpoint/2010/main" val="292990402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4" name="Rectangle 3"/>
          <p:cNvSpPr/>
          <p:nvPr userDrawn="1"/>
        </p:nvSpPr>
        <p:spPr>
          <a:xfrm flipH="1">
            <a:off x="0" y="0"/>
            <a:ext cx="2286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2" name="Title 1"/>
          <p:cNvSpPr>
            <a:spLocks noGrp="1"/>
          </p:cNvSpPr>
          <p:nvPr>
            <p:ph type="title"/>
          </p:nvPr>
        </p:nvSpPr>
        <p:spPr>
          <a:xfrm>
            <a:off x="285750" y="1285875"/>
            <a:ext cx="1857375" cy="228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285750" y="165735"/>
            <a:ext cx="1857375" cy="514350"/>
          </a:xfrm>
        </p:spPr>
        <p:txBody>
          <a:bodyPr lIns="0" tIns="0" rIns="0">
            <a:noAutofit/>
          </a:bodyPr>
          <a:lstStyle>
            <a:lvl1pPr>
              <a:defRPr sz="1000">
                <a:solidFill>
                  <a:schemeClr val="accent1"/>
                </a:solidFill>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17" name="Text Placeholder 23"/>
          <p:cNvSpPr>
            <a:spLocks noGrp="1"/>
          </p:cNvSpPr>
          <p:nvPr>
            <p:ph type="body" sz="quarter" idx="15" hasCustomPrompt="1"/>
          </p:nvPr>
        </p:nvSpPr>
        <p:spPr>
          <a:xfrm>
            <a:off x="285751" y="4572000"/>
            <a:ext cx="1885951" cy="302895"/>
          </a:xfrm>
        </p:spPr>
        <p:txBody>
          <a:bodyPr vert="horz" lIns="0" tIns="0" rIns="0" bIns="0" rtlCol="0" anchor="b">
            <a:noAutofit/>
          </a:bodyPr>
          <a:lstStyle>
            <a:lvl1pPr>
              <a:defRPr lang="en-US" sz="500" dirty="0" smtClean="0">
                <a:solidFill>
                  <a:schemeClr val="tx1">
                    <a:alpha val="70000"/>
                  </a:schemeClr>
                </a:solidFill>
              </a:defRPr>
            </a:lvl1pPr>
          </a:lstStyle>
          <a:p>
            <a:pPr lvl="0"/>
            <a:r>
              <a:rPr lang="en-US" dirty="0"/>
              <a:t>Source: Edit source here</a:t>
            </a:r>
          </a:p>
        </p:txBody>
      </p:sp>
      <p:grpSp>
        <p:nvGrpSpPr>
          <p:cNvPr id="12" name="Group 11"/>
          <p:cNvGrpSpPr/>
          <p:nvPr userDrawn="1"/>
        </p:nvGrpSpPr>
        <p:grpSpPr>
          <a:xfrm>
            <a:off x="571501" y="4937285"/>
            <a:ext cx="1695844" cy="137857"/>
            <a:chOff x="914400" y="7899655"/>
            <a:chExt cx="2713350" cy="220571"/>
          </a:xfrm>
        </p:grpSpPr>
        <p:sp>
          <p:nvSpPr>
            <p:cNvPr id="13"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tx1">
                      <a:alpha val="60000"/>
                    </a:schemeClr>
                  </a:solidFill>
                  <a:latin typeface="IBM Plex Sans" charset="0"/>
                  <a:ea typeface="IBM Plex Sans" charset="0"/>
                  <a:cs typeface="IBM Plex Sans" charset="0"/>
                </a:rPr>
                <a:t>©</a:t>
              </a:r>
              <a:r>
                <a:rPr lang="en-US" sz="250" b="0" i="0" dirty="0">
                  <a:solidFill>
                    <a:schemeClr val="tx1">
                      <a:alpha val="60000"/>
                    </a:schemeClr>
                  </a:solidFill>
                  <a:latin typeface="IBM Plex Sans" charset="0"/>
                  <a:ea typeface="IBM Plex Sans" charset="0"/>
                  <a:cs typeface="IBM Plex Sans" charset="0"/>
                </a:rPr>
                <a:t> </a:t>
              </a:r>
              <a:r>
                <a:rPr lang="en-US" sz="499" b="0" i="0" dirty="0">
                  <a:solidFill>
                    <a:schemeClr val="tx1">
                      <a:alpha val="60000"/>
                    </a:schemeClr>
                  </a:solidFill>
                  <a:latin typeface="IBM Plex Sans" charset="0"/>
                  <a:ea typeface="IBM Plex Sans" charset="0"/>
                  <a:cs typeface="IBM Plex Sans" charset="0"/>
                </a:rPr>
                <a:t>2019 IBM Corporation</a:t>
              </a:r>
              <a:r>
                <a:rPr lang="en-US" sz="499" b="0" i="0" baseline="0" dirty="0">
                  <a:solidFill>
                    <a:schemeClr val="tx1">
                      <a:alpha val="60000"/>
                    </a:schemeClr>
                  </a:solidFill>
                  <a:latin typeface="IBM Plex Sans" charset="0"/>
                  <a:ea typeface="IBM Plex Sans" charset="0"/>
                  <a:cs typeface="IBM Plex Sans" charset="0"/>
                </a:rPr>
                <a:t>              </a:t>
              </a:r>
              <a:r>
                <a:rPr lang="en-US" sz="499" b="0" i="0" dirty="0">
                  <a:solidFill>
                    <a:schemeClr val="tx1">
                      <a:alpha val="60000"/>
                    </a:schemeClr>
                  </a:solidFill>
                  <a:latin typeface="IBM Plex Sans" charset="0"/>
                  <a:ea typeface="IBM Plex Sans" charset="0"/>
                  <a:cs typeface="IBM Plex Sans" charset="0"/>
                </a:rPr>
                <a:t> </a:t>
              </a:r>
            </a:p>
          </p:txBody>
        </p:sp>
        <p:sp>
          <p:nvSpPr>
            <p:cNvPr id="14"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99" b="0" i="0" dirty="0">
                  <a:solidFill>
                    <a:schemeClr val="tx1">
                      <a:alpha val="60000"/>
                    </a:schemeClr>
                  </a:solidFill>
                  <a:latin typeface="IBM Plex Sans" charset="0"/>
                  <a:ea typeface="IBM Plex Sans" charset="0"/>
                  <a:cs typeface="IBM Plex Sans" charset="0"/>
                </a:rPr>
                <a:t> </a:t>
              </a:r>
              <a:fld id="{7C9968D1-C8E5-4FE3-AED4-7D4518C301B3}" type="datetime3">
                <a:rPr lang="en-US" sz="499" b="0" i="0" smtClean="0">
                  <a:solidFill>
                    <a:schemeClr val="tx1">
                      <a:alpha val="60000"/>
                    </a:schemeClr>
                  </a:solidFill>
                  <a:latin typeface="IBM Plex Sans" charset="0"/>
                  <a:ea typeface="IBM Plex Sans" charset="0"/>
                  <a:cs typeface="IBM Plex Sans" charset="0"/>
                </a:rPr>
                <a:pPr marL="0" indent="0" fontAlgn="auto">
                  <a:spcBef>
                    <a:spcPts val="0"/>
                  </a:spcBef>
                  <a:spcAft>
                    <a:spcPts val="0"/>
                  </a:spcAft>
                  <a:tabLst/>
                  <a:defRPr/>
                </a:pPr>
                <a:t>24 June 2020</a:t>
              </a:fld>
              <a:endParaRPr lang="en-US" sz="499" b="0" i="0" dirty="0">
                <a:solidFill>
                  <a:schemeClr val="tx1">
                    <a:alpha val="60000"/>
                  </a:schemeClr>
                </a:solidFill>
                <a:latin typeface="IBM Plex Sans" charset="0"/>
                <a:ea typeface="IBM Plex Sans" charset="0"/>
                <a:cs typeface="IBM Plex Sans" charset="0"/>
              </a:endParaRPr>
            </a:p>
          </p:txBody>
        </p:sp>
      </p:grpSp>
      <p:sp>
        <p:nvSpPr>
          <p:cNvPr id="16" name="Slide Number Placeholder 2"/>
          <p:cNvSpPr txBox="1">
            <a:spLocks/>
          </p:cNvSpPr>
          <p:nvPr userDrawn="1"/>
        </p:nvSpPr>
        <p:spPr>
          <a:xfrm>
            <a:off x="284286" y="4933620"/>
            <a:ext cx="204925"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500" b="0" i="0" smtClean="0">
                <a:solidFill>
                  <a:schemeClr val="tx1"/>
                </a:solidFill>
                <a:latin typeface="IBM Plex Sans" charset="0"/>
                <a:ea typeface="IBM Plex Sans" charset="0"/>
                <a:cs typeface="IBM Plex Sans" charset="0"/>
              </a:rPr>
              <a:pPr algn="l"/>
              <a:t>‹#›</a:t>
            </a:fld>
            <a:endParaRPr lang="en-US" sz="500" b="0" i="0" dirty="0">
              <a:solidFill>
                <a:schemeClr val="tx1"/>
              </a:solidFill>
              <a:latin typeface="IBM Plex Sans" charset="0"/>
              <a:ea typeface="IBM Plex Sans" charset="0"/>
              <a:cs typeface="IBM Plex Sans" charset="0"/>
            </a:endParaRPr>
          </a:p>
        </p:txBody>
      </p:sp>
      <p:sp>
        <p:nvSpPr>
          <p:cNvPr id="18" name="Content Placeholder 2"/>
          <p:cNvSpPr>
            <a:spLocks noGrp="1"/>
          </p:cNvSpPr>
          <p:nvPr>
            <p:ph idx="10"/>
          </p:nvPr>
        </p:nvSpPr>
        <p:spPr>
          <a:xfrm>
            <a:off x="466725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9" name="Content Placeholder 2"/>
          <p:cNvSpPr>
            <a:spLocks noGrp="1"/>
          </p:cNvSpPr>
          <p:nvPr>
            <p:ph idx="12"/>
          </p:nvPr>
        </p:nvSpPr>
        <p:spPr>
          <a:xfrm>
            <a:off x="24765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3"/>
          </p:nvPr>
        </p:nvSpPr>
        <p:spPr>
          <a:xfrm>
            <a:off x="68580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65282160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4" name="Rectangle 3"/>
          <p:cNvSpPr/>
          <p:nvPr userDrawn="1"/>
        </p:nvSpPr>
        <p:spPr>
          <a:xfrm flipH="1">
            <a:off x="0" y="0"/>
            <a:ext cx="2286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2" name="Title 1"/>
          <p:cNvSpPr>
            <a:spLocks noGrp="1"/>
          </p:cNvSpPr>
          <p:nvPr>
            <p:ph type="title"/>
          </p:nvPr>
        </p:nvSpPr>
        <p:spPr>
          <a:xfrm>
            <a:off x="285750" y="1285875"/>
            <a:ext cx="1857375" cy="2286000"/>
          </a:xfrm>
        </p:spPr>
        <p:txBody>
          <a:bodyPr tIns="228600">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285750" y="165735"/>
            <a:ext cx="1857375" cy="514350"/>
          </a:xfrm>
        </p:spPr>
        <p:txBody>
          <a:bodyPr lIns="0" tIns="0" rIns="0">
            <a:noAutofit/>
          </a:bodyPr>
          <a:lstStyle>
            <a:lvl1pPr>
              <a:defRPr sz="1000">
                <a:solidFill>
                  <a:schemeClr val="accent1"/>
                </a:solidFill>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11" name="Content Placeholder 2"/>
          <p:cNvSpPr>
            <a:spLocks noGrp="1"/>
          </p:cNvSpPr>
          <p:nvPr>
            <p:ph idx="13"/>
          </p:nvPr>
        </p:nvSpPr>
        <p:spPr>
          <a:xfrm>
            <a:off x="6858000" y="0"/>
            <a:ext cx="2286000" cy="5143500"/>
          </a:xfrm>
        </p:spPr>
        <p:txBody>
          <a:bodyPr lIns="228600" tIns="2057400" rIns="9144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dirty="0"/>
          </a:p>
        </p:txBody>
      </p:sp>
      <p:sp>
        <p:nvSpPr>
          <p:cNvPr id="17" name="Text Placeholder 23"/>
          <p:cNvSpPr>
            <a:spLocks noGrp="1"/>
          </p:cNvSpPr>
          <p:nvPr>
            <p:ph type="body" sz="quarter" idx="15" hasCustomPrompt="1"/>
          </p:nvPr>
        </p:nvSpPr>
        <p:spPr>
          <a:xfrm>
            <a:off x="285751" y="4572000"/>
            <a:ext cx="1885951" cy="302895"/>
          </a:xfrm>
        </p:spPr>
        <p:txBody>
          <a:bodyPr vert="horz" lIns="0" tIns="0" rIns="0" bIns="0" rtlCol="0" anchor="b">
            <a:noAutofit/>
          </a:bodyPr>
          <a:lstStyle>
            <a:lvl1pPr>
              <a:defRPr lang="en-US" sz="500" dirty="0" smtClean="0">
                <a:solidFill>
                  <a:schemeClr val="tx1">
                    <a:alpha val="70000"/>
                  </a:schemeClr>
                </a:solidFill>
              </a:defRPr>
            </a:lvl1pPr>
          </a:lstStyle>
          <a:p>
            <a:pPr lvl="0"/>
            <a:r>
              <a:rPr lang="en-US" dirty="0"/>
              <a:t>Source: Edit source here</a:t>
            </a:r>
          </a:p>
        </p:txBody>
      </p:sp>
      <p:grpSp>
        <p:nvGrpSpPr>
          <p:cNvPr id="13" name="Group 12"/>
          <p:cNvGrpSpPr/>
          <p:nvPr userDrawn="1"/>
        </p:nvGrpSpPr>
        <p:grpSpPr>
          <a:xfrm>
            <a:off x="571501" y="4937285"/>
            <a:ext cx="1695844" cy="137857"/>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bg2"/>
                  </a:solidFill>
                  <a:latin typeface="IBM Plex Sans" charset="0"/>
                  <a:ea typeface="IBM Plex Sans" charset="0"/>
                  <a:cs typeface="IBM Plex Sans" charset="0"/>
                </a:rPr>
                <a:t>©</a:t>
              </a:r>
              <a:r>
                <a:rPr lang="en-US" sz="250" b="0" i="0" dirty="0">
                  <a:solidFill>
                    <a:schemeClr val="bg2"/>
                  </a:solidFill>
                  <a:latin typeface="IBM Plex Sans" charset="0"/>
                  <a:ea typeface="IBM Plex Sans" charset="0"/>
                  <a:cs typeface="IBM Plex Sans" charset="0"/>
                </a:rPr>
                <a:t> </a:t>
              </a:r>
              <a:r>
                <a:rPr lang="en-US" sz="499" b="0" i="0" dirty="0">
                  <a:solidFill>
                    <a:schemeClr val="bg2"/>
                  </a:solidFill>
                  <a:latin typeface="IBM Plex Sans" charset="0"/>
                  <a:ea typeface="IBM Plex Sans" charset="0"/>
                  <a:cs typeface="IBM Plex Sans" charset="0"/>
                </a:rPr>
                <a:t>2019 IBM Corporation</a:t>
              </a:r>
              <a:r>
                <a:rPr lang="en-US" sz="499" b="0" i="0" baseline="0" dirty="0">
                  <a:solidFill>
                    <a:schemeClr val="bg2"/>
                  </a:solidFill>
                  <a:latin typeface="IBM Plex Sans" charset="0"/>
                  <a:ea typeface="IBM Plex Sans" charset="0"/>
                  <a:cs typeface="IBM Plex Sans" charset="0"/>
                </a:rPr>
                <a:t>              </a:t>
              </a:r>
              <a:r>
                <a:rPr lang="en-US" sz="499" b="0" i="0" dirty="0">
                  <a:solidFill>
                    <a:schemeClr val="bg2"/>
                  </a:solidFill>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99" b="0" i="0" dirty="0">
                  <a:solidFill>
                    <a:schemeClr val="bg2"/>
                  </a:solidFill>
                  <a:latin typeface="IBM Plex Sans" charset="0"/>
                  <a:ea typeface="IBM Plex Sans" charset="0"/>
                  <a:cs typeface="IBM Plex Sans" charset="0"/>
                </a:rPr>
                <a:t> </a:t>
              </a:r>
              <a:fld id="{7C9968D1-C8E5-4FE3-AED4-7D4518C301B3}" type="datetime3">
                <a:rPr lang="en-US" sz="499" b="0" i="0" smtClean="0">
                  <a:solidFill>
                    <a:schemeClr val="bg2"/>
                  </a:solidFill>
                  <a:latin typeface="IBM Plex Sans" charset="0"/>
                  <a:ea typeface="IBM Plex Sans" charset="0"/>
                  <a:cs typeface="IBM Plex Sans" charset="0"/>
                </a:rPr>
                <a:pPr marL="0" indent="0" fontAlgn="auto">
                  <a:spcBef>
                    <a:spcPts val="0"/>
                  </a:spcBef>
                  <a:spcAft>
                    <a:spcPts val="0"/>
                  </a:spcAft>
                  <a:tabLst/>
                  <a:defRPr/>
                </a:pPr>
                <a:t>24 June 2020</a:t>
              </a:fld>
              <a:endParaRPr lang="en-US" sz="499" b="0" i="0" dirty="0">
                <a:solidFill>
                  <a:schemeClr val="bg2"/>
                </a:solidFill>
                <a:latin typeface="IBM Plex Sans" charset="0"/>
                <a:ea typeface="IBM Plex Sans" charset="0"/>
                <a:cs typeface="IBM Plex Sans" charset="0"/>
              </a:endParaRPr>
            </a:p>
          </p:txBody>
        </p:sp>
      </p:grpSp>
      <p:sp>
        <p:nvSpPr>
          <p:cNvPr id="18" name="Slide Number Placeholder 2"/>
          <p:cNvSpPr txBox="1">
            <a:spLocks/>
          </p:cNvSpPr>
          <p:nvPr userDrawn="1"/>
        </p:nvSpPr>
        <p:spPr>
          <a:xfrm>
            <a:off x="284286" y="4933620"/>
            <a:ext cx="204925"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500" b="0" i="0" smtClean="0">
                <a:solidFill>
                  <a:schemeClr val="bg2"/>
                </a:solidFill>
                <a:latin typeface="IBM Plex Sans" charset="0"/>
                <a:ea typeface="IBM Plex Sans" charset="0"/>
                <a:cs typeface="IBM Plex Sans" charset="0"/>
              </a:rPr>
              <a:pPr algn="l"/>
              <a:t>‹#›</a:t>
            </a:fld>
            <a:endParaRPr lang="en-US" sz="500" b="0" i="0" dirty="0">
              <a:solidFill>
                <a:schemeClr val="bg2"/>
              </a:solidFill>
              <a:latin typeface="IBM Plex Sans" charset="0"/>
              <a:ea typeface="IBM Plex Sans" charset="0"/>
              <a:cs typeface="IBM Plex Sans" charset="0"/>
            </a:endParaRPr>
          </a:p>
        </p:txBody>
      </p:sp>
      <p:sp>
        <p:nvSpPr>
          <p:cNvPr id="19" name="Content Placeholder 2"/>
          <p:cNvSpPr>
            <a:spLocks noGrp="1"/>
          </p:cNvSpPr>
          <p:nvPr>
            <p:ph idx="10"/>
          </p:nvPr>
        </p:nvSpPr>
        <p:spPr>
          <a:xfrm>
            <a:off x="466725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2"/>
          </p:nvPr>
        </p:nvSpPr>
        <p:spPr>
          <a:xfrm>
            <a:off x="24765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97746244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10_Title and Content">
    <p:spTree>
      <p:nvGrpSpPr>
        <p:cNvPr id="1" name=""/>
        <p:cNvGrpSpPr/>
        <p:nvPr/>
      </p:nvGrpSpPr>
      <p:grpSpPr>
        <a:xfrm>
          <a:off x="0" y="0"/>
          <a:ext cx="0" cy="0"/>
          <a:chOff x="0" y="0"/>
          <a:chExt cx="0" cy="0"/>
        </a:xfrm>
      </p:grpSpPr>
      <p:sp>
        <p:nvSpPr>
          <p:cNvPr id="4" name="Rectangle 3"/>
          <p:cNvSpPr/>
          <p:nvPr userDrawn="1"/>
        </p:nvSpPr>
        <p:spPr>
          <a:xfrm>
            <a:off x="4572000" y="0"/>
            <a:ext cx="4572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04266" y="4886335"/>
            <a:ext cx="353824" cy="142875"/>
          </a:xfrm>
          <a:prstGeom prst="rect">
            <a:avLst/>
          </a:prstGeom>
        </p:spPr>
      </p:pic>
      <p:sp>
        <p:nvSpPr>
          <p:cNvPr id="9" name="Text Placeholder 23"/>
          <p:cNvSpPr>
            <a:spLocks noGrp="1"/>
          </p:cNvSpPr>
          <p:nvPr>
            <p:ph type="body" sz="quarter" idx="14" hasCustomPrompt="1"/>
          </p:nvPr>
        </p:nvSpPr>
        <p:spPr>
          <a:xfrm>
            <a:off x="285750" y="4589145"/>
            <a:ext cx="4114800" cy="285750"/>
          </a:xfrm>
          <a:prstGeom prst="rect">
            <a:avLst/>
          </a:prstGeom>
        </p:spPr>
        <p:txBody>
          <a:bodyPr vert="horz" lIns="0" tIns="0" rIns="0" bIns="0" rtlCol="0" anchor="b">
            <a:noAutofit/>
          </a:bodyPr>
          <a:lstStyle>
            <a:lvl1pPr>
              <a:defRPr lang="en-US" sz="500" dirty="0" smtClean="0">
                <a:solidFill>
                  <a:schemeClr val="tx1">
                    <a:alpha val="70000"/>
                  </a:schemeClr>
                </a:solidFill>
              </a:defRPr>
            </a:lvl1pPr>
          </a:lstStyle>
          <a:p>
            <a:pPr lvl="0"/>
            <a:r>
              <a:rPr lang="en-US" dirty="0"/>
              <a:t>Source: Edit source here</a:t>
            </a:r>
          </a:p>
        </p:txBody>
      </p:sp>
      <p:sp>
        <p:nvSpPr>
          <p:cNvPr id="10" name="Text Placeholder 4"/>
          <p:cNvSpPr>
            <a:spLocks noGrp="1"/>
          </p:cNvSpPr>
          <p:nvPr>
            <p:ph type="body" sz="quarter" idx="11"/>
          </p:nvPr>
        </p:nvSpPr>
        <p:spPr>
          <a:xfrm>
            <a:off x="285750" y="165735"/>
            <a:ext cx="4114800" cy="171450"/>
          </a:xfrm>
        </p:spPr>
        <p:txBody>
          <a:bodyPr lIns="0" tIns="0" rIns="0">
            <a:noAutofit/>
          </a:bodyPr>
          <a:lstStyle>
            <a:lvl1pPr>
              <a:defRPr sz="1000">
                <a:solidFill>
                  <a:schemeClr val="accent1"/>
                </a:solidFill>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284286" y="1285875"/>
            <a:ext cx="4114800" cy="3286125"/>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4743450" y="1285875"/>
            <a:ext cx="4114800" cy="3286125"/>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87994983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Rectangle 3"/>
          <p:cNvSpPr/>
          <p:nvPr userDrawn="1"/>
        </p:nvSpPr>
        <p:spPr>
          <a:xfrm>
            <a:off x="4572000" y="0"/>
            <a:ext cx="4572000" cy="51435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04266" y="4886335"/>
            <a:ext cx="353823" cy="142875"/>
          </a:xfrm>
          <a:prstGeom prst="rect">
            <a:avLst/>
          </a:prstGeom>
        </p:spPr>
      </p:pic>
      <p:sp>
        <p:nvSpPr>
          <p:cNvPr id="9" name="Text Placeholder 23"/>
          <p:cNvSpPr>
            <a:spLocks noGrp="1"/>
          </p:cNvSpPr>
          <p:nvPr>
            <p:ph type="body" sz="quarter" idx="14" hasCustomPrompt="1"/>
          </p:nvPr>
        </p:nvSpPr>
        <p:spPr>
          <a:xfrm>
            <a:off x="285750" y="4589145"/>
            <a:ext cx="4114800" cy="285750"/>
          </a:xfrm>
          <a:prstGeom prst="rect">
            <a:avLst/>
          </a:prstGeom>
        </p:spPr>
        <p:txBody>
          <a:bodyPr vert="horz" lIns="0" tIns="0" rIns="0" bIns="0" rtlCol="0" anchor="b">
            <a:noAutofit/>
          </a:bodyPr>
          <a:lstStyle>
            <a:lvl1pPr>
              <a:defRPr lang="en-US" sz="500" dirty="0" smtClean="0">
                <a:solidFill>
                  <a:schemeClr val="tx1">
                    <a:alpha val="70000"/>
                  </a:schemeClr>
                </a:solidFill>
              </a:defRPr>
            </a:lvl1pPr>
          </a:lstStyle>
          <a:p>
            <a:pPr lvl="0"/>
            <a:r>
              <a:rPr lang="en-US" dirty="0"/>
              <a:t>Source: Edit source here</a:t>
            </a:r>
          </a:p>
        </p:txBody>
      </p:sp>
      <p:sp>
        <p:nvSpPr>
          <p:cNvPr id="11" name="Text Placeholder 4"/>
          <p:cNvSpPr>
            <a:spLocks noGrp="1"/>
          </p:cNvSpPr>
          <p:nvPr>
            <p:ph type="body" sz="quarter" idx="11"/>
          </p:nvPr>
        </p:nvSpPr>
        <p:spPr>
          <a:xfrm>
            <a:off x="285750" y="165735"/>
            <a:ext cx="4114800" cy="171450"/>
          </a:xfrm>
        </p:spPr>
        <p:txBody>
          <a:bodyPr lIns="0" tIns="0" rIns="0">
            <a:noAutofit/>
          </a:bodyPr>
          <a:lstStyle>
            <a:lvl1pPr>
              <a:defRPr sz="1000">
                <a:solidFill>
                  <a:schemeClr val="accent1"/>
                </a:solidFill>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284286" y="1285875"/>
            <a:ext cx="4114800" cy="3286125"/>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4" name="Content Placeholder 2"/>
          <p:cNvSpPr>
            <a:spLocks noGrp="1"/>
          </p:cNvSpPr>
          <p:nvPr>
            <p:ph idx="13"/>
          </p:nvPr>
        </p:nvSpPr>
        <p:spPr>
          <a:xfrm>
            <a:off x="4743450" y="1285875"/>
            <a:ext cx="4114800" cy="3286125"/>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116175488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770075E-6A6C-EB47-BB36-C0DECFFCE62D}" type="datetimeFigureOut">
              <a:rPr lang="en-US" smtClean="0"/>
              <a:t>6/24/2020</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B24B37-AB57-A747-927B-BD9C8105267B}" type="slidenum">
              <a:rPr lang="en-US" smtClean="0"/>
              <a:t>‹#›</a:t>
            </a:fld>
            <a:endParaRPr lang="en-US"/>
          </a:p>
        </p:txBody>
      </p:sp>
    </p:spTree>
    <p:extLst>
      <p:ext uri="{BB962C8B-B14F-4D97-AF65-F5344CB8AC3E}">
        <p14:creationId xmlns:p14="http://schemas.microsoft.com/office/powerpoint/2010/main" val="186249891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pic>
        <p:nvPicPr>
          <p:cNvPr id="6" name="Picture 5">
            <a:extLst>
              <a:ext uri="{FF2B5EF4-FFF2-40B4-BE49-F238E27FC236}">
                <a16:creationId xmlns:a16="http://schemas.microsoft.com/office/drawing/2014/main" id="{3932BEAA-73C1-BC4D-8772-9FD32CEB0C18}"/>
              </a:ext>
            </a:extLst>
          </p:cNvPr>
          <p:cNvPicPr>
            <a:picLocks noChangeAspect="1"/>
          </p:cNvPicPr>
          <p:nvPr userDrawn="1"/>
        </p:nvPicPr>
        <p:blipFill>
          <a:blip r:embed="rId2"/>
          <a:stretch>
            <a:fillRect/>
          </a:stretch>
        </p:blipFill>
        <p:spPr>
          <a:xfrm>
            <a:off x="7016818" y="4351898"/>
            <a:ext cx="2127182" cy="791602"/>
          </a:xfrm>
          <a:prstGeom prst="rect">
            <a:avLst/>
          </a:prstGeom>
        </p:spPr>
      </p:pic>
    </p:spTree>
    <p:extLst>
      <p:ext uri="{BB962C8B-B14F-4D97-AF65-F5344CB8AC3E}">
        <p14:creationId xmlns:p14="http://schemas.microsoft.com/office/powerpoint/2010/main" val="147130111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
        <p:nvSpPr>
          <p:cNvPr id="7"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pic>
        <p:nvPicPr>
          <p:cNvPr id="6" name="Picture 5">
            <a:extLst>
              <a:ext uri="{FF2B5EF4-FFF2-40B4-BE49-F238E27FC236}">
                <a16:creationId xmlns:a16="http://schemas.microsoft.com/office/drawing/2014/main" id="{1618D174-8931-4046-B16E-E9F9EADA1133}"/>
              </a:ext>
            </a:extLst>
          </p:cNvPr>
          <p:cNvPicPr>
            <a:picLocks noChangeAspect="1"/>
          </p:cNvPicPr>
          <p:nvPr userDrawn="1"/>
        </p:nvPicPr>
        <p:blipFill>
          <a:blip r:embed="rId2"/>
          <a:stretch>
            <a:fillRect/>
          </a:stretch>
        </p:blipFill>
        <p:spPr>
          <a:xfrm>
            <a:off x="7016818" y="4351898"/>
            <a:ext cx="2127182" cy="791602"/>
          </a:xfrm>
          <a:prstGeom prst="rect">
            <a:avLst/>
          </a:prstGeom>
        </p:spPr>
      </p:pic>
    </p:spTree>
    <p:extLst>
      <p:ext uri="{BB962C8B-B14F-4D97-AF65-F5344CB8AC3E}">
        <p14:creationId xmlns:p14="http://schemas.microsoft.com/office/powerpoint/2010/main" val="355839820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3_Cover Slide">
    <p:bg>
      <p:bgPr>
        <a:solidFill>
          <a:schemeClr val="bg2"/>
        </a:solidFill>
        <a:effectLst/>
      </p:bgPr>
    </p:bg>
    <p:spTree>
      <p:nvGrpSpPr>
        <p:cNvPr id="1" name=""/>
        <p:cNvGrpSpPr/>
        <p:nvPr/>
      </p:nvGrpSpPr>
      <p:grpSpPr>
        <a:xfrm>
          <a:off x="0" y="0"/>
          <a:ext cx="0" cy="0"/>
          <a:chOff x="0" y="0"/>
          <a:chExt cx="0" cy="0"/>
        </a:xfrm>
      </p:grpSpPr>
      <p:sp>
        <p:nvSpPr>
          <p:cNvPr id="11" name="Rectangle 10"/>
          <p:cNvSpPr/>
          <p:nvPr userDrawn="1"/>
        </p:nvSpPr>
        <p:spPr>
          <a:xfrm rot="10800000">
            <a:off x="7079162" y="0"/>
            <a:ext cx="2064836" cy="5143500"/>
          </a:xfrm>
          <a:prstGeom prst="rect">
            <a:avLst/>
          </a:prstGeom>
          <a:gradFill>
            <a:gsLst>
              <a:gs pos="100000">
                <a:srgbClr val="8582FF"/>
              </a:gs>
              <a:gs pos="85000">
                <a:srgbClr val="5E79FF"/>
              </a:gs>
              <a:gs pos="0">
                <a:schemeClr val="accent2"/>
              </a:gs>
            </a:gsLst>
            <a:lin ang="5400000" scaled="0"/>
          </a:gra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2" name="Rectangle 1"/>
          <p:cNvSpPr/>
          <p:nvPr userDrawn="1"/>
        </p:nvSpPr>
        <p:spPr>
          <a:xfrm>
            <a:off x="-7437" y="0"/>
            <a:ext cx="7086600" cy="5143500"/>
          </a:xfrm>
          <a:prstGeom prst="rect">
            <a:avLst/>
          </a:prstGeom>
          <a:gradFill>
            <a:gsLst>
              <a:gs pos="100000">
                <a:srgbClr val="8582FF"/>
              </a:gs>
              <a:gs pos="85000">
                <a:srgbClr val="5E79FF"/>
              </a:gs>
              <a:gs pos="0">
                <a:schemeClr val="accent2"/>
              </a:gs>
            </a:gsLst>
            <a:lin ang="5400000" scaled="0"/>
          </a:gra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4" name="Title 3"/>
          <p:cNvSpPr>
            <a:spLocks noGrp="1"/>
          </p:cNvSpPr>
          <p:nvPr>
            <p:ph type="title"/>
          </p:nvPr>
        </p:nvSpPr>
        <p:spPr>
          <a:xfrm>
            <a:off x="221162" y="203781"/>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sp>
        <p:nvSpPr>
          <p:cNvPr id="5" name="Footer Placeholder 1"/>
          <p:cNvSpPr>
            <a:spLocks noGrp="1"/>
          </p:cNvSpPr>
          <p:nvPr>
            <p:ph type="ftr" sz="quarter" idx="11"/>
          </p:nvPr>
        </p:nvSpPr>
        <p:spPr>
          <a:xfrm>
            <a:off x="221163" y="4828032"/>
            <a:ext cx="6400800" cy="137160"/>
          </a:xfrm>
        </p:spPr>
        <p:txBody>
          <a:bodyPr/>
          <a:lstStyle>
            <a:lvl1pPr>
              <a:defRPr>
                <a:solidFill>
                  <a:schemeClr val="bg2"/>
                </a:solidFill>
              </a:defRPr>
            </a:lvl1pPr>
          </a:lstStyle>
          <a:p>
            <a:r>
              <a:rPr lang="en-US"/>
              <a:t>IBM Watson IoT / © 2018 IBM Corporation</a:t>
            </a:r>
            <a:endParaRPr lang="en-US" dirty="0"/>
          </a:p>
        </p:txBody>
      </p:sp>
      <p:pic>
        <p:nvPicPr>
          <p:cNvPr id="7" name="Picture 6">
            <a:extLst>
              <a:ext uri="{FF2B5EF4-FFF2-40B4-BE49-F238E27FC236}">
                <a16:creationId xmlns:a16="http://schemas.microsoft.com/office/drawing/2014/main" id="{77E0CEE7-05DA-1540-9B82-2624C1EEADD1}"/>
              </a:ext>
            </a:extLst>
          </p:cNvPr>
          <p:cNvPicPr>
            <a:picLocks noChangeAspect="1"/>
          </p:cNvPicPr>
          <p:nvPr userDrawn="1"/>
        </p:nvPicPr>
        <p:blipFill>
          <a:blip r:embed="rId2"/>
          <a:stretch>
            <a:fillRect/>
          </a:stretch>
        </p:blipFill>
        <p:spPr>
          <a:xfrm>
            <a:off x="7016818" y="4351898"/>
            <a:ext cx="2127182" cy="791602"/>
          </a:xfrm>
          <a:prstGeom prst="rect">
            <a:avLst/>
          </a:prstGeom>
        </p:spPr>
      </p:pic>
    </p:spTree>
    <p:extLst>
      <p:ext uri="{BB962C8B-B14F-4D97-AF65-F5344CB8AC3E}">
        <p14:creationId xmlns:p14="http://schemas.microsoft.com/office/powerpoint/2010/main" val="36963776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_Cover Slide">
    <p:bg>
      <p:bgPr>
        <a:gradFill>
          <a:gsLst>
            <a:gs pos="0">
              <a:schemeClr val="accent2"/>
            </a:gs>
            <a:gs pos="100000">
              <a:srgbClr val="7D80FF"/>
            </a:gs>
            <a:gs pos="100000">
              <a:schemeClr val="accent4"/>
            </a:gs>
          </a:gsLst>
          <a:lin ang="0" scaled="0"/>
        </a:gra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pic>
        <p:nvPicPr>
          <p:cNvPr id="6" name="Picture 5">
            <a:extLst>
              <a:ext uri="{FF2B5EF4-FFF2-40B4-BE49-F238E27FC236}">
                <a16:creationId xmlns:a16="http://schemas.microsoft.com/office/drawing/2014/main" id="{6FA5FAB9-E464-DB4D-A39A-24B23DE92A10}"/>
              </a:ext>
            </a:extLst>
          </p:cNvPr>
          <p:cNvPicPr>
            <a:picLocks noChangeAspect="1"/>
          </p:cNvPicPr>
          <p:nvPr userDrawn="1"/>
        </p:nvPicPr>
        <p:blipFill>
          <a:blip r:embed="rId2"/>
          <a:stretch>
            <a:fillRect/>
          </a:stretch>
        </p:blipFill>
        <p:spPr>
          <a:xfrm>
            <a:off x="7016818" y="4351898"/>
            <a:ext cx="2127182" cy="791602"/>
          </a:xfrm>
          <a:prstGeom prst="rect">
            <a:avLst/>
          </a:prstGeom>
        </p:spPr>
      </p:pic>
    </p:spTree>
    <p:extLst>
      <p:ext uri="{BB962C8B-B14F-4D97-AF65-F5344CB8AC3E}">
        <p14:creationId xmlns:p14="http://schemas.microsoft.com/office/powerpoint/2010/main" val="33262609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
        <p:nvSpPr>
          <p:cNvPr id="9" name="Footer Placeholder 3"/>
          <p:cNvSpPr>
            <a:spLocks noGrp="1"/>
          </p:cNvSpPr>
          <p:nvPr>
            <p:ph type="ftr" sz="quarter" idx="11"/>
          </p:nvPr>
        </p:nvSpPr>
        <p:spPr>
          <a:xfrm>
            <a:off x="228600" y="4826480"/>
            <a:ext cx="6400800" cy="137160"/>
          </a:xfrm>
        </p:spPr>
        <p:txBody>
          <a:bodyPr/>
          <a:lstStyle>
            <a:lvl1pPr>
              <a:defRPr>
                <a:solidFill>
                  <a:schemeClr val="bg2"/>
                </a:solidFill>
              </a:defRPr>
            </a:lvl1pPr>
          </a:lstStyle>
          <a:p>
            <a:r>
              <a:rPr lang="pt-BR" dirty="0"/>
              <a:t>IBM Maximo / © 2020 IBM Corporation</a:t>
            </a:r>
            <a:endParaRPr lang="en-US" dirty="0"/>
          </a:p>
        </p:txBody>
      </p:sp>
    </p:spTree>
    <p:extLst>
      <p:ext uri="{BB962C8B-B14F-4D97-AF65-F5344CB8AC3E}">
        <p14:creationId xmlns:p14="http://schemas.microsoft.com/office/powerpoint/2010/main" val="132849333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a:t>Click to edit Master title style</a:t>
            </a:r>
            <a:endParaRPr lang="en-US" dirty="0"/>
          </a:p>
        </p:txBody>
      </p:sp>
      <p:sp>
        <p:nvSpPr>
          <p:cNvPr id="6" name="Footer Placeholder 1"/>
          <p:cNvSpPr>
            <a:spLocks noGrp="1"/>
          </p:cNvSpPr>
          <p:nvPr>
            <p:ph type="ftr" sz="quarter" idx="12"/>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7652290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60372681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Edit Master text styles</a:t>
            </a:r>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67384703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Click icon to add picture</a:t>
            </a:r>
            <a:endParaRPr lang="en-US" dirty="0"/>
          </a:p>
        </p:txBody>
      </p:sp>
      <p:sp>
        <p:nvSpPr>
          <p:cNvPr id="11"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68751498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93033882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6"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171039961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Edit Master text styles</a:t>
            </a:r>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127428929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37570697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93842815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pPr/>
              <a:t>‹#›</a:t>
            </a:fld>
            <a:endParaRPr lang="en-US"/>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7771856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323394291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172010825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46454935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30788069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65213765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16736420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913017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16543974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428638318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a:t>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9"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95373629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
        <p:nvSpPr>
          <p:cNvPr id="9"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42032316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3"/>
          <p:cNvSpPr>
            <a:spLocks noGrp="1"/>
          </p:cNvSpPr>
          <p:nvPr>
            <p:ph type="ftr" sz="quarter" idx="11"/>
          </p:nvPr>
        </p:nvSpPr>
        <p:spPr>
          <a:xfrm>
            <a:off x="228600" y="4826480"/>
            <a:ext cx="6400800" cy="137160"/>
          </a:xfrm>
        </p:spPr>
        <p:txBody>
          <a:bodyPr/>
          <a:lstStyle>
            <a:lvl1pPr>
              <a:defRPr>
                <a:solidFill>
                  <a:schemeClr val="bg2"/>
                </a:solidFill>
              </a:defRPr>
            </a:lvl1pPr>
          </a:lstStyle>
          <a:p>
            <a:r>
              <a:rPr lang="pt-BR" dirty="0"/>
              <a:t>IBM Maximo / © 2020 IBM Corporation</a:t>
            </a:r>
            <a:endParaRPr lang="en-US" dirty="0"/>
          </a:p>
        </p:txBody>
      </p:sp>
    </p:spTree>
    <p:extLst>
      <p:ext uri="{BB962C8B-B14F-4D97-AF65-F5344CB8AC3E}">
        <p14:creationId xmlns:p14="http://schemas.microsoft.com/office/powerpoint/2010/main" val="305689401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4572001"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
        <p:nvSpPr>
          <p:cNvPr id="9"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41836880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418132758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10872125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16402001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8010386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71437378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65109259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Click icon to add picture</a:t>
            </a:r>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38021310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55390864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829008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8" name="Footer Placeholder 3"/>
          <p:cNvSpPr>
            <a:spLocks noGrp="1"/>
          </p:cNvSpPr>
          <p:nvPr>
            <p:ph type="ftr" sz="quarter" idx="11"/>
          </p:nvPr>
        </p:nvSpPr>
        <p:spPr>
          <a:xfrm>
            <a:off x="228600" y="4826480"/>
            <a:ext cx="6400800" cy="137160"/>
          </a:xfrm>
        </p:spPr>
        <p:txBody>
          <a:bodyPr/>
          <a:lstStyle>
            <a:lvl1pPr>
              <a:defRPr>
                <a:solidFill>
                  <a:schemeClr val="bg2"/>
                </a:solidFill>
              </a:defRPr>
            </a:lvl1pPr>
          </a:lstStyle>
          <a:p>
            <a:r>
              <a:rPr lang="pt-BR" dirty="0"/>
              <a:t>IBM Maximo / © 2020 IBM Corporation</a:t>
            </a:r>
            <a:endParaRPr lang="en-US" dirty="0"/>
          </a:p>
        </p:txBody>
      </p:sp>
    </p:spTree>
    <p:extLst>
      <p:ext uri="{BB962C8B-B14F-4D97-AF65-F5344CB8AC3E}">
        <p14:creationId xmlns:p14="http://schemas.microsoft.com/office/powerpoint/2010/main" val="417028027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92798818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795109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2">
            <a:lumMod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Edit Master text styles</a:t>
            </a:r>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146806953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pic>
        <p:nvPicPr>
          <p:cNvPr id="6" name="Picture 5">
            <a:extLst>
              <a:ext uri="{FF2B5EF4-FFF2-40B4-BE49-F238E27FC236}">
                <a16:creationId xmlns:a16="http://schemas.microsoft.com/office/drawing/2014/main" id="{9C3F8E0F-C873-1F49-B920-2B2212E0D459}"/>
              </a:ext>
            </a:extLst>
          </p:cNvPr>
          <p:cNvPicPr>
            <a:picLocks noChangeAspect="1"/>
          </p:cNvPicPr>
          <p:nvPr userDrawn="1"/>
        </p:nvPicPr>
        <p:blipFill>
          <a:blip r:embed="rId2"/>
          <a:stretch>
            <a:fillRect/>
          </a:stretch>
        </p:blipFill>
        <p:spPr>
          <a:xfrm>
            <a:off x="2977521" y="1806255"/>
            <a:ext cx="3194311" cy="1188720"/>
          </a:xfrm>
          <a:prstGeom prst="rect">
            <a:avLst/>
          </a:prstGeom>
        </p:spPr>
      </p:pic>
    </p:spTree>
    <p:extLst>
      <p:ext uri="{BB962C8B-B14F-4D97-AF65-F5344CB8AC3E}">
        <p14:creationId xmlns:p14="http://schemas.microsoft.com/office/powerpoint/2010/main" val="59341519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2286000" y="0"/>
            <a:ext cx="6858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2" name="Title 1"/>
          <p:cNvSpPr>
            <a:spLocks noGrp="1"/>
          </p:cNvSpPr>
          <p:nvPr>
            <p:ph type="title"/>
          </p:nvPr>
        </p:nvSpPr>
        <p:spPr>
          <a:xfrm>
            <a:off x="285750" y="1285875"/>
            <a:ext cx="1857375" cy="228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285750" y="165735"/>
            <a:ext cx="1857375" cy="514350"/>
          </a:xfrm>
        </p:spPr>
        <p:txBody>
          <a:bodyPr lIns="0" tIns="0" rIns="0">
            <a:noAutofit/>
          </a:bodyPr>
          <a:lstStyle>
            <a:lvl1pPr>
              <a:defRPr sz="1000">
                <a:solidFill>
                  <a:schemeClr val="accent1"/>
                </a:solidFill>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285750" y="4572000"/>
            <a:ext cx="1885951" cy="302895"/>
          </a:xfrm>
        </p:spPr>
        <p:txBody>
          <a:bodyPr vert="horz" lIns="0" tIns="0" rIns="0" bIns="0" rtlCol="0" anchor="b">
            <a:noAutofit/>
          </a:bodyPr>
          <a:lstStyle>
            <a:lvl1pPr>
              <a:defRPr lang="en-US" sz="5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500" b="0" i="0" dirty="0">
                <a:solidFill>
                  <a:schemeClr val="bg2">
                    <a:alpha val="60000"/>
                  </a:schemeClr>
                </a:solidFill>
                <a:latin typeface="IBM Plex Sans" charset="0"/>
                <a:ea typeface="IBM Plex Sans" charset="0"/>
                <a:cs typeface="IBM Plex Sans" charset="0"/>
              </a:rPr>
              <a:t>IBM Services</a:t>
            </a:r>
          </a:p>
        </p:txBody>
      </p:sp>
      <p:sp>
        <p:nvSpPr>
          <p:cNvPr id="9" name="Content Placeholder 2"/>
          <p:cNvSpPr>
            <a:spLocks noGrp="1"/>
          </p:cNvSpPr>
          <p:nvPr>
            <p:ph idx="10"/>
          </p:nvPr>
        </p:nvSpPr>
        <p:spPr>
          <a:xfrm>
            <a:off x="466725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0" name="Content Placeholder 2"/>
          <p:cNvSpPr>
            <a:spLocks noGrp="1"/>
          </p:cNvSpPr>
          <p:nvPr>
            <p:ph idx="12"/>
          </p:nvPr>
        </p:nvSpPr>
        <p:spPr>
          <a:xfrm>
            <a:off x="24765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1" name="Content Placeholder 2"/>
          <p:cNvSpPr>
            <a:spLocks noGrp="1"/>
          </p:cNvSpPr>
          <p:nvPr>
            <p:ph idx="13"/>
          </p:nvPr>
        </p:nvSpPr>
        <p:spPr>
          <a:xfrm>
            <a:off x="68580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04265" y="4886335"/>
            <a:ext cx="353824" cy="142876"/>
          </a:xfrm>
          <a:prstGeom prst="rect">
            <a:avLst/>
          </a:prstGeom>
        </p:spPr>
      </p:pic>
    </p:spTree>
    <p:extLst>
      <p:ext uri="{BB962C8B-B14F-4D97-AF65-F5344CB8AC3E}">
        <p14:creationId xmlns:p14="http://schemas.microsoft.com/office/powerpoint/2010/main" val="222684386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1_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r>
              <a:rPr lang="en-US"/>
              <a:t>IBM Watson IoT / © 2018 IBM Corporation</a:t>
            </a:r>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6214325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tx1"/>
                </a:solidFill>
              </a:defRPr>
            </a:lvl1pPr>
          </a:lstStyle>
          <a:p>
            <a:r>
              <a:rPr lang="en-US"/>
              <a:t>Click to edit Master title style</a:t>
            </a:r>
            <a:endParaRPr lang="en-US" dirty="0"/>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134943040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9E339-6A6C-5E46-8F19-F358160B65A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9A0BD63-F584-EE4A-B2EF-B5BD55D816A6}"/>
              </a:ext>
            </a:extLst>
          </p:cNvPr>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a:extLst>
              <a:ext uri="{FF2B5EF4-FFF2-40B4-BE49-F238E27FC236}">
                <a16:creationId xmlns:a16="http://schemas.microsoft.com/office/drawing/2014/main" id="{03DA2475-5D9A-4945-B926-CAD1A25494F0}"/>
              </a:ext>
            </a:extLst>
          </p:cNvPr>
          <p:cNvSpPr>
            <a:spLocks noGrp="1"/>
          </p:cNvSpPr>
          <p:nvPr>
            <p:ph type="ftr" sz="quarter" idx="11"/>
          </p:nvPr>
        </p:nvSpPr>
        <p:spPr/>
        <p:txBody>
          <a:bodyPr/>
          <a:lstStyle/>
          <a:p>
            <a:r>
              <a:rPr lang="pt-BR" dirty="0"/>
              <a:t>IBM Maximo / © 2020 IBM Corporation</a:t>
            </a:r>
            <a:endParaRPr lang="en-US" dirty="0"/>
          </a:p>
        </p:txBody>
      </p:sp>
    </p:spTree>
    <p:extLst>
      <p:ext uri="{BB962C8B-B14F-4D97-AF65-F5344CB8AC3E}">
        <p14:creationId xmlns:p14="http://schemas.microsoft.com/office/powerpoint/2010/main" val="245951991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23950"/>
            <a:ext cx="8686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422673892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59037D-4928-9140-B226-F9BEC1D37A99}"/>
              </a:ext>
            </a:extLst>
          </p:cNvPr>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a:extLst>
              <a:ext uri="{FF2B5EF4-FFF2-40B4-BE49-F238E27FC236}">
                <a16:creationId xmlns:a16="http://schemas.microsoft.com/office/drawing/2014/main" id="{0E089D61-8552-7C47-AFCC-0DA3CBA83F0F}"/>
              </a:ext>
            </a:extLst>
          </p:cNvPr>
          <p:cNvSpPr>
            <a:spLocks noGrp="1"/>
          </p:cNvSpPr>
          <p:nvPr>
            <p:ph type="ftr" sz="quarter" idx="11"/>
          </p:nvPr>
        </p:nvSpPr>
        <p:spPr/>
        <p:txBody>
          <a:bodyPr/>
          <a:lstStyle/>
          <a:p>
            <a:r>
              <a:rPr lang="pt-BR" dirty="0"/>
              <a:t>IBM Maximo / © 2020 IBM Corporation</a:t>
            </a:r>
            <a:endParaRPr lang="en-US" dirty="0"/>
          </a:p>
        </p:txBody>
      </p:sp>
      <p:sp>
        <p:nvSpPr>
          <p:cNvPr id="5" name="Title 1">
            <a:extLst>
              <a:ext uri="{FF2B5EF4-FFF2-40B4-BE49-F238E27FC236}">
                <a16:creationId xmlns:a16="http://schemas.microsoft.com/office/drawing/2014/main" id="{DC9898F7-AED9-394B-AB80-EE933BFD8C3E}"/>
              </a:ext>
            </a:extLst>
          </p:cNvPr>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6" name="Text Placeholder 7">
            <a:extLst>
              <a:ext uri="{FF2B5EF4-FFF2-40B4-BE49-F238E27FC236}">
                <a16:creationId xmlns:a16="http://schemas.microsoft.com/office/drawing/2014/main" id="{E646F2BF-5278-2C4C-B245-6B3A8AC43152}"/>
              </a:ext>
            </a:extLst>
          </p:cNvPr>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a:extLst>
              <a:ext uri="{FF2B5EF4-FFF2-40B4-BE49-F238E27FC236}">
                <a16:creationId xmlns:a16="http://schemas.microsoft.com/office/drawing/2014/main" id="{8F4BA69D-55CE-E446-8ABD-745656983210}"/>
              </a:ext>
            </a:extLst>
          </p:cNvPr>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351775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354112620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B5D7F-E1EC-2544-8967-E2B183DBD38D}"/>
              </a:ext>
            </a:extLst>
          </p:cNvPr>
          <p:cNvSpPr>
            <a:spLocks noGrp="1"/>
          </p:cNvSpPr>
          <p:nvPr>
            <p:ph type="title"/>
          </p:nvPr>
        </p:nvSpPr>
        <p:spPr>
          <a:xfrm>
            <a:off x="228600" y="201168"/>
            <a:ext cx="8686800" cy="616979"/>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94826DD9-84E8-E048-BED5-4DFCECD3B0FF}"/>
              </a:ext>
            </a:extLst>
          </p:cNvPr>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a:extLst>
              <a:ext uri="{FF2B5EF4-FFF2-40B4-BE49-F238E27FC236}">
                <a16:creationId xmlns:a16="http://schemas.microsoft.com/office/drawing/2014/main" id="{29E8209D-5D66-2146-BB98-3859A7E331ED}"/>
              </a:ext>
            </a:extLst>
          </p:cNvPr>
          <p:cNvSpPr>
            <a:spLocks noGrp="1"/>
          </p:cNvSpPr>
          <p:nvPr>
            <p:ph type="ftr" sz="quarter" idx="11"/>
          </p:nvPr>
        </p:nvSpPr>
        <p:spPr/>
        <p:txBody>
          <a:bodyPr/>
          <a:lstStyle/>
          <a:p>
            <a:r>
              <a:rPr lang="pt-BR" dirty="0"/>
              <a:t>IBM Maximo / © 2020 IBM Corporation</a:t>
            </a:r>
            <a:endParaRPr lang="en-US" dirty="0"/>
          </a:p>
        </p:txBody>
      </p:sp>
      <p:sp>
        <p:nvSpPr>
          <p:cNvPr id="5" name="Text Placeholder 5">
            <a:extLst>
              <a:ext uri="{FF2B5EF4-FFF2-40B4-BE49-F238E27FC236}">
                <a16:creationId xmlns:a16="http://schemas.microsoft.com/office/drawing/2014/main" id="{068B53F9-40BA-084C-A9E5-58D6FA1F7D5B}"/>
              </a:ext>
            </a:extLst>
          </p:cNvPr>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6">
            <a:extLst>
              <a:ext uri="{FF2B5EF4-FFF2-40B4-BE49-F238E27FC236}">
                <a16:creationId xmlns:a16="http://schemas.microsoft.com/office/drawing/2014/main" id="{5E5183B3-8D59-C946-98CE-C719455C40DA}"/>
              </a:ext>
            </a:extLst>
          </p:cNvPr>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7">
            <a:extLst>
              <a:ext uri="{FF2B5EF4-FFF2-40B4-BE49-F238E27FC236}">
                <a16:creationId xmlns:a16="http://schemas.microsoft.com/office/drawing/2014/main" id="{0FE279AC-B507-754E-A150-C18E400E56F1}"/>
              </a:ext>
            </a:extLst>
          </p:cNvPr>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a:extLst>
              <a:ext uri="{FF2B5EF4-FFF2-40B4-BE49-F238E27FC236}">
                <a16:creationId xmlns:a16="http://schemas.microsoft.com/office/drawing/2014/main" id="{A225C0E6-6835-2943-80C3-60453A7DA2C5}"/>
              </a:ext>
            </a:extLst>
          </p:cNvPr>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7422794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20263082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67811808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4"/>
          </p:nvPr>
        </p:nvSpPr>
        <p:spPr>
          <a:xfrm>
            <a:off x="228599" y="1097279"/>
            <a:ext cx="4114799"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348589395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accent2"/>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1111286"/>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
        <p:nvSpPr>
          <p:cNvPr id="9" name="Title 1">
            <a:extLst>
              <a:ext uri="{FF2B5EF4-FFF2-40B4-BE49-F238E27FC236}">
                <a16:creationId xmlns:a16="http://schemas.microsoft.com/office/drawing/2014/main" id="{7CD0CDCA-A518-DA4F-901F-5A55BF27328A}"/>
              </a:ext>
            </a:extLst>
          </p:cNvPr>
          <p:cNvSpPr txBox="1">
            <a:spLocks/>
          </p:cNvSpPr>
          <p:nvPr userDrawn="1"/>
        </p:nvSpPr>
        <p:spPr>
          <a:xfrm>
            <a:off x="228600" y="201168"/>
            <a:ext cx="4114800" cy="959358"/>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291271354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37032480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6858000" y="4832418"/>
            <a:ext cx="2057400" cy="137160"/>
          </a:xfrm>
        </p:spPr>
        <p:txBody>
          <a:bodyPr/>
          <a:lstStyle>
            <a:lvl1pPr>
              <a:defRPr>
                <a:solidFill>
                  <a:schemeClr val="bg2"/>
                </a:solidFill>
              </a:defRPr>
            </a:lvl1pPr>
          </a:lstStyle>
          <a:p>
            <a:fld id="{D0BE6F14-FF48-0F4F-A8AA-2E3F25371E4A}" type="slidenum">
              <a:rPr lang="en-US" smtClean="0"/>
              <a:pPr/>
              <a:t>‹#›</a:t>
            </a:fld>
            <a:endParaRPr lang="en-US"/>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
        <p:nvSpPr>
          <p:cNvPr id="11" name="Title 1">
            <a:extLst>
              <a:ext uri="{FF2B5EF4-FFF2-40B4-BE49-F238E27FC236}">
                <a16:creationId xmlns:a16="http://schemas.microsoft.com/office/drawing/2014/main" id="{D60CBAC1-068B-1841-B085-1D542F51E61B}"/>
              </a:ext>
            </a:extLst>
          </p:cNvPr>
          <p:cNvSpPr>
            <a:spLocks noGrp="1"/>
          </p:cNvSpPr>
          <p:nvPr>
            <p:ph type="title"/>
          </p:nvPr>
        </p:nvSpPr>
        <p:spPr>
          <a:xfrm>
            <a:off x="228600" y="201168"/>
            <a:ext cx="4114800" cy="959358"/>
          </a:xfrm>
        </p:spPr>
        <p:txBody>
          <a:bodyPr/>
          <a:lstStyle/>
          <a:p>
            <a:r>
              <a:rPr lang="en-US"/>
              <a:t>Click to edit Master title style</a:t>
            </a:r>
            <a:endParaRPr lang="en-US" dirty="0"/>
          </a:p>
        </p:txBody>
      </p:sp>
    </p:spTree>
    <p:extLst>
      <p:ext uri="{BB962C8B-B14F-4D97-AF65-F5344CB8AC3E}">
        <p14:creationId xmlns:p14="http://schemas.microsoft.com/office/powerpoint/2010/main" val="313121957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pt-BR" dirty="0"/>
              <a:t>IBM Maximo / © 2020 IBM Corporation</a:t>
            </a:r>
            <a:endParaRPr lang="en-US" dirty="0"/>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16116695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
        <p:nvSpPr>
          <p:cNvPr id="9" name="Footer Placeholder 3"/>
          <p:cNvSpPr>
            <a:spLocks noGrp="1"/>
          </p:cNvSpPr>
          <p:nvPr>
            <p:ph type="ftr" sz="quarter" idx="11"/>
          </p:nvPr>
        </p:nvSpPr>
        <p:spPr>
          <a:xfrm>
            <a:off x="228600" y="4826480"/>
            <a:ext cx="6400800" cy="137160"/>
          </a:xfrm>
        </p:spPr>
        <p:txBody>
          <a:bodyPr/>
          <a:lstStyle>
            <a:lvl1pPr>
              <a:defRPr>
                <a:solidFill>
                  <a:schemeClr val="bg2"/>
                </a:solidFill>
              </a:defRPr>
            </a:lvl1pPr>
          </a:lstStyle>
          <a:p>
            <a:r>
              <a:rPr lang="pt-BR" dirty="0"/>
              <a:t>IBM Maximo / © 2020 IBM Corporation</a:t>
            </a:r>
            <a:endParaRPr lang="en-US" dirty="0"/>
          </a:p>
        </p:txBody>
      </p:sp>
    </p:spTree>
    <p:extLst>
      <p:ext uri="{BB962C8B-B14F-4D97-AF65-F5344CB8AC3E}">
        <p14:creationId xmlns:p14="http://schemas.microsoft.com/office/powerpoint/2010/main" val="329251726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40581971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58069312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3"/>
          <p:cNvSpPr>
            <a:spLocks noGrp="1"/>
          </p:cNvSpPr>
          <p:nvPr>
            <p:ph type="ftr" sz="quarter" idx="11"/>
          </p:nvPr>
        </p:nvSpPr>
        <p:spPr>
          <a:xfrm>
            <a:off x="228600" y="4826480"/>
            <a:ext cx="6400800" cy="137160"/>
          </a:xfrm>
        </p:spPr>
        <p:txBody>
          <a:bodyPr/>
          <a:lstStyle>
            <a:lvl1pPr>
              <a:defRPr>
                <a:solidFill>
                  <a:schemeClr val="bg2"/>
                </a:solidFill>
              </a:defRPr>
            </a:lvl1pPr>
          </a:lstStyle>
          <a:p>
            <a:r>
              <a:rPr lang="pt-BR" dirty="0"/>
              <a:t>IBM Maximo / © 2020 IBM Corporation</a:t>
            </a:r>
            <a:endParaRPr lang="en-US" dirty="0"/>
          </a:p>
        </p:txBody>
      </p:sp>
    </p:spTree>
    <p:extLst>
      <p:ext uri="{BB962C8B-B14F-4D97-AF65-F5344CB8AC3E}">
        <p14:creationId xmlns:p14="http://schemas.microsoft.com/office/powerpoint/2010/main" val="93283865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8" name="Footer Placeholder 3"/>
          <p:cNvSpPr>
            <a:spLocks noGrp="1"/>
          </p:cNvSpPr>
          <p:nvPr>
            <p:ph type="ftr" sz="quarter" idx="11"/>
          </p:nvPr>
        </p:nvSpPr>
        <p:spPr>
          <a:xfrm>
            <a:off x="228600" y="4826480"/>
            <a:ext cx="6400800" cy="137160"/>
          </a:xfrm>
        </p:spPr>
        <p:txBody>
          <a:bodyPr/>
          <a:lstStyle>
            <a:lvl1pPr>
              <a:defRPr>
                <a:solidFill>
                  <a:schemeClr val="bg2"/>
                </a:solidFill>
              </a:defRPr>
            </a:lvl1pPr>
          </a:lstStyle>
          <a:p>
            <a:r>
              <a:rPr lang="pt-BR" dirty="0"/>
              <a:t>IBM Maximo / © 2020 IBM Corporation</a:t>
            </a:r>
            <a:endParaRPr lang="en-US" dirty="0"/>
          </a:p>
        </p:txBody>
      </p:sp>
    </p:spTree>
    <p:extLst>
      <p:ext uri="{BB962C8B-B14F-4D97-AF65-F5344CB8AC3E}">
        <p14:creationId xmlns:p14="http://schemas.microsoft.com/office/powerpoint/2010/main" val="344906410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36945683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30524431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253008002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66224998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306627916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250100844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139538706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3CB55-6EFA-0940-8986-1C8A2E3CBC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00CD74-63C1-2247-A33E-4404AB46CF6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2A79CD-7498-4445-A14D-E2BCB819F39C}"/>
              </a:ext>
            </a:extLst>
          </p:cNvPr>
          <p:cNvSpPr>
            <a:spLocks noGrp="1"/>
          </p:cNvSpPr>
          <p:nvPr>
            <p:ph type="dt" sz="half" idx="10"/>
          </p:nvPr>
        </p:nvSpPr>
        <p:spPr/>
        <p:txBody>
          <a:bodyPr/>
          <a:lstStyle/>
          <a:p>
            <a:fld id="{0DDC3071-CEE1-2942-9088-5AD0E41CA432}" type="datetimeFigureOut">
              <a:rPr lang="en-US" smtClean="0"/>
              <a:t>6/24/2020</a:t>
            </a:fld>
            <a:endParaRPr lang="en-US"/>
          </a:p>
        </p:txBody>
      </p:sp>
      <p:sp>
        <p:nvSpPr>
          <p:cNvPr id="5" name="Footer Placeholder 4">
            <a:extLst>
              <a:ext uri="{FF2B5EF4-FFF2-40B4-BE49-F238E27FC236}">
                <a16:creationId xmlns:a16="http://schemas.microsoft.com/office/drawing/2014/main" id="{F1FE9187-4AA1-C345-B743-8D05497FDB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156217-FD26-D84F-A8E1-6654F8FAB958}"/>
              </a:ext>
            </a:extLst>
          </p:cNvPr>
          <p:cNvSpPr>
            <a:spLocks noGrp="1"/>
          </p:cNvSpPr>
          <p:nvPr>
            <p:ph type="sldNum" sz="quarter" idx="12"/>
          </p:nvPr>
        </p:nvSpPr>
        <p:spPr/>
        <p:txBody>
          <a:bodyPr/>
          <a:lstStyle/>
          <a:p>
            <a:fld id="{B1C5D1BA-1D20-6F45-8BE6-80F1C2D4BE5E}" type="slidenum">
              <a:rPr lang="en-US" smtClean="0"/>
              <a:t>‹#›</a:t>
            </a:fld>
            <a:endParaRPr lang="en-US"/>
          </a:p>
        </p:txBody>
      </p:sp>
    </p:spTree>
    <p:extLst>
      <p:ext uri="{BB962C8B-B14F-4D97-AF65-F5344CB8AC3E}">
        <p14:creationId xmlns:p14="http://schemas.microsoft.com/office/powerpoint/2010/main" val="16105415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208829595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5_Cover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119739" y="173736"/>
            <a:ext cx="2834640" cy="1600200"/>
          </a:xfrm>
        </p:spPr>
        <p:txBody>
          <a:bodyPr/>
          <a:lstStyle>
            <a:lvl1pPr marL="0" indent="0" algn="l">
              <a:spcBef>
                <a:spcPts val="0"/>
              </a:spcBef>
              <a:buNone/>
              <a:defRPr sz="2000" b="0" i="0">
                <a:solidFill>
                  <a:schemeClr val="accent3">
                    <a:lumMod val="60000"/>
                    <a:lumOff val="40000"/>
                  </a:schemeClr>
                </a:solidFill>
                <a:latin typeface="IBM Plex Sans Regular" charset="0"/>
                <a:cs typeface="IBM Plex Sans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1" name="Title 10"/>
          <p:cNvSpPr>
            <a:spLocks noGrp="1"/>
          </p:cNvSpPr>
          <p:nvPr>
            <p:ph type="title"/>
          </p:nvPr>
        </p:nvSpPr>
        <p:spPr>
          <a:xfrm>
            <a:off x="228600" y="173736"/>
            <a:ext cx="2834640" cy="1600200"/>
          </a:xfrm>
        </p:spPr>
        <p:txBody>
          <a:bodyPr/>
          <a:lstStyle>
            <a:lvl1pPr>
              <a:defRPr b="0" i="0">
                <a:latin typeface="IBM Plex Sans Regular" charset="0"/>
                <a:cs typeface="IBM Plex Sans Regular" charset="0"/>
              </a:defRPr>
            </a:lvl1pPr>
          </a:lstStyle>
          <a:p>
            <a:r>
              <a:rPr lang="en-US"/>
              <a:t>Click to edit Master title style</a:t>
            </a:r>
            <a:endParaRPr lang="en-US" dirty="0"/>
          </a:p>
        </p:txBody>
      </p:sp>
      <p:pic>
        <p:nvPicPr>
          <p:cNvPr id="4" name="Picture">
            <a:extLst>
              <a:ext uri="{FF2B5EF4-FFF2-40B4-BE49-F238E27FC236}">
                <a16:creationId xmlns:a16="http://schemas.microsoft.com/office/drawing/2014/main" id="{E73F72F2-904D-4BE1-9046-2481C5486DA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93812" y="4692553"/>
            <a:ext cx="521589" cy="208108"/>
          </a:xfrm>
          <a:prstGeom prst="rect">
            <a:avLst/>
          </a:prstGeom>
        </p:spPr>
      </p:pic>
    </p:spTree>
    <p:extLst>
      <p:ext uri="{BB962C8B-B14F-4D97-AF65-F5344CB8AC3E}">
        <p14:creationId xmlns:p14="http://schemas.microsoft.com/office/powerpoint/2010/main" val="3121961087"/>
      </p:ext>
    </p:extLst>
  </p:cSld>
  <p:clrMapOvr>
    <a:masterClrMapping/>
  </p:clrMapOvr>
  <p:hf sldNum="0" hdr="0" dt="0"/>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095310"/>
            <a:ext cx="8541385" cy="324199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endParaRPr lang="en-US" noProof="0" dirty="0"/>
          </a:p>
        </p:txBody>
      </p:sp>
      <p:sp>
        <p:nvSpPr>
          <p:cNvPr id="7" name="Title 6"/>
          <p:cNvSpPr>
            <a:spLocks noGrp="1"/>
          </p:cNvSpPr>
          <p:nvPr>
            <p:ph type="title"/>
          </p:nvPr>
        </p:nvSpPr>
        <p:spPr>
          <a:xfrm>
            <a:off x="228601" y="173736"/>
            <a:ext cx="4474777" cy="914400"/>
          </a:xfrm>
        </p:spPr>
        <p:txBody>
          <a:bodyPr/>
          <a:lstStyle/>
          <a:p>
            <a:r>
              <a:rPr lang="en-US" noProof="0"/>
              <a:t>Click to edit Master title style</a:t>
            </a:r>
          </a:p>
        </p:txBody>
      </p:sp>
      <p:sp>
        <p:nvSpPr>
          <p:cNvPr id="8" name="Slide Number Placeholder 2">
            <a:extLst>
              <a:ext uri="{FF2B5EF4-FFF2-40B4-BE49-F238E27FC236}">
                <a16:creationId xmlns:a16="http://schemas.microsoft.com/office/drawing/2014/main" id="{5B12F7A9-8431-4FFB-AC4D-9A88858C26DF}"/>
              </a:ext>
            </a:extLst>
          </p:cNvPr>
          <p:cNvSpPr>
            <a:spLocks noGrp="1"/>
          </p:cNvSpPr>
          <p:nvPr>
            <p:ph type="sldNum" sz="quarter" idx="11"/>
          </p:nvPr>
        </p:nvSpPr>
        <p:spPr>
          <a:xfrm>
            <a:off x="6858000" y="4826480"/>
            <a:ext cx="2057400" cy="137160"/>
          </a:xfrm>
        </p:spPr>
        <p:txBody>
          <a:bodyPr/>
          <a:lstStyle/>
          <a:p>
            <a:fld id="{D0BE6F14-FF48-0F4F-A8AA-2E3F25371E4A}" type="slidenum">
              <a:rPr lang="en-US" smtClean="0"/>
              <a:pPr/>
              <a:t>‹#›</a:t>
            </a:fld>
            <a:endParaRPr lang="en-US"/>
          </a:p>
        </p:txBody>
      </p:sp>
      <p:sp>
        <p:nvSpPr>
          <p:cNvPr id="9" name="Footer Placeholder 8">
            <a:extLst>
              <a:ext uri="{FF2B5EF4-FFF2-40B4-BE49-F238E27FC236}">
                <a16:creationId xmlns:a16="http://schemas.microsoft.com/office/drawing/2014/main" id="{24FE048F-B5DB-42A8-9C3B-ACA0FA5F35BC}"/>
              </a:ext>
            </a:extLst>
          </p:cNvPr>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dirty="0"/>
              <a:t>IBM Watson IoT / © 2020 IBM Corporation</a:t>
            </a:r>
            <a:endParaRPr lang="en-US" dirty="0"/>
          </a:p>
        </p:txBody>
      </p:sp>
    </p:spTree>
    <p:extLst>
      <p:ext uri="{BB962C8B-B14F-4D97-AF65-F5344CB8AC3E}">
        <p14:creationId xmlns:p14="http://schemas.microsoft.com/office/powerpoint/2010/main" val="122948505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9 IBM Corporation</a:t>
            </a:r>
          </a:p>
        </p:txBody>
      </p:sp>
    </p:spTree>
    <p:extLst>
      <p:ext uri="{BB962C8B-B14F-4D97-AF65-F5344CB8AC3E}">
        <p14:creationId xmlns:p14="http://schemas.microsoft.com/office/powerpoint/2010/main" val="6272994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9 IBM Corporation</a:t>
            </a:r>
          </a:p>
        </p:txBody>
      </p:sp>
    </p:spTree>
    <p:extLst>
      <p:ext uri="{BB962C8B-B14F-4D97-AF65-F5344CB8AC3E}">
        <p14:creationId xmlns:p14="http://schemas.microsoft.com/office/powerpoint/2010/main" val="168462336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Condensed title &amp; text">
    <p:spTree>
      <p:nvGrpSpPr>
        <p:cNvPr id="1" name=""/>
        <p:cNvGrpSpPr/>
        <p:nvPr/>
      </p:nvGrpSpPr>
      <p:grpSpPr>
        <a:xfrm>
          <a:off x="0" y="0"/>
          <a:ext cx="0" cy="0"/>
          <a:chOff x="0" y="0"/>
          <a:chExt cx="0" cy="0"/>
        </a:xfrm>
      </p:grpSpPr>
      <p:sp>
        <p:nvSpPr>
          <p:cNvPr id="11" name="Title 1"/>
          <p:cNvSpPr>
            <a:spLocks noGrp="1"/>
          </p:cNvSpPr>
          <p:nvPr>
            <p:ph type="title"/>
          </p:nvPr>
        </p:nvSpPr>
        <p:spPr>
          <a:xfrm>
            <a:off x="457200" y="765"/>
            <a:ext cx="6477000" cy="459892"/>
          </a:xfrm>
          <a:prstGeom prst="rect">
            <a:avLst/>
          </a:prstGeom>
        </p:spPr>
        <p:txBody>
          <a:bodyPr/>
          <a:lstStyle>
            <a:lvl1pPr>
              <a:defRPr sz="2100"/>
            </a:lvl1pPr>
          </a:lstStyle>
          <a:p>
            <a:r>
              <a:rPr lang="en-US"/>
              <a:t>Click to edit Master title style</a:t>
            </a:r>
            <a:endParaRPr lang="en-US" dirty="0"/>
          </a:p>
        </p:txBody>
      </p:sp>
      <p:sp>
        <p:nvSpPr>
          <p:cNvPr id="3" name="Content Placeholder 2"/>
          <p:cNvSpPr>
            <a:spLocks noGrp="1"/>
          </p:cNvSpPr>
          <p:nvPr>
            <p:ph sz="quarter" idx="16"/>
          </p:nvPr>
        </p:nvSpPr>
        <p:spPr>
          <a:xfrm>
            <a:off x="457200" y="838224"/>
            <a:ext cx="8224838" cy="37830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7"/>
          </p:nvPr>
        </p:nvSpPr>
        <p:spPr>
          <a:xfrm>
            <a:off x="457200" y="4767264"/>
            <a:ext cx="2133600" cy="274637"/>
          </a:xfrm>
          <a:prstGeom prst="rect">
            <a:avLst/>
          </a:prstGeom>
        </p:spPr>
        <p:txBody>
          <a:bodyPr/>
          <a:lstStyle>
            <a:lvl1pPr>
              <a:defRPr/>
            </a:lvl1pPr>
          </a:lstStyle>
          <a:p>
            <a:pPr>
              <a:defRPr/>
            </a:pPr>
            <a:fld id="{1B9E8913-430A-4633-AC5C-4510F6B96ADF}" type="datetime1">
              <a:rPr lang="en-US"/>
              <a:pPr>
                <a:defRPr/>
              </a:pPr>
              <a:t>6/24/2020</a:t>
            </a:fld>
            <a:endParaRPr lang="en-US"/>
          </a:p>
        </p:txBody>
      </p:sp>
      <p:sp>
        <p:nvSpPr>
          <p:cNvPr id="5" name="Slide Number Placeholder 5"/>
          <p:cNvSpPr>
            <a:spLocks noGrp="1"/>
          </p:cNvSpPr>
          <p:nvPr>
            <p:ph type="sldNum" sz="quarter" idx="18"/>
          </p:nvPr>
        </p:nvSpPr>
        <p:spPr>
          <a:xfrm>
            <a:off x="8226427" y="4625976"/>
            <a:ext cx="455613" cy="273050"/>
          </a:xfrm>
          <a:prstGeom prst="rect">
            <a:avLst/>
          </a:prstGeom>
        </p:spPr>
        <p:txBody>
          <a:bodyPr/>
          <a:lstStyle>
            <a:lvl1pPr>
              <a:defRPr/>
            </a:lvl1pPr>
          </a:lstStyle>
          <a:p>
            <a:pPr>
              <a:defRPr/>
            </a:pPr>
            <a:fld id="{2F52DD4A-E62C-4EAF-96F7-946702EBB509}" type="slidenum">
              <a:rPr lang="en-US"/>
              <a:pPr>
                <a:defRPr/>
              </a:pPr>
              <a:t>‹#›</a:t>
            </a:fld>
            <a:endParaRPr lang="en-US"/>
          </a:p>
        </p:txBody>
      </p:sp>
    </p:spTree>
    <p:extLst>
      <p:ext uri="{BB962C8B-B14F-4D97-AF65-F5344CB8AC3E}">
        <p14:creationId xmlns:p14="http://schemas.microsoft.com/office/powerpoint/2010/main" val="188544685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9 IBM Corporation</a:t>
            </a:r>
          </a:p>
        </p:txBody>
      </p:sp>
    </p:spTree>
    <p:extLst>
      <p:ext uri="{BB962C8B-B14F-4D97-AF65-F5344CB8AC3E}">
        <p14:creationId xmlns:p14="http://schemas.microsoft.com/office/powerpoint/2010/main" val="76169306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9 IBM Corporation</a:t>
            </a:r>
          </a:p>
        </p:txBody>
      </p:sp>
    </p:spTree>
    <p:extLst>
      <p:ext uri="{BB962C8B-B14F-4D97-AF65-F5344CB8AC3E}">
        <p14:creationId xmlns:p14="http://schemas.microsoft.com/office/powerpoint/2010/main" val="225059277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9 IBM Corporation</a:t>
            </a:r>
          </a:p>
        </p:txBody>
      </p:sp>
    </p:spTree>
    <p:extLst>
      <p:ext uri="{BB962C8B-B14F-4D97-AF65-F5344CB8AC3E}">
        <p14:creationId xmlns:p14="http://schemas.microsoft.com/office/powerpoint/2010/main" val="162392695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cSld name="1_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4"/>
            <a:ext cx="4114800" cy="1003807"/>
          </a:xfrm>
        </p:spPr>
        <p:txBody>
          <a:bodyPr/>
          <a:lstStyle>
            <a:lvl1pPr>
              <a:defRPr sz="1600">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pPr defTabSz="457200">
              <a:defRPr/>
            </a:pPr>
            <a:fld id="{D0BE6F14-FF48-0F4F-A8AA-2E3F25371E4A}" type="slidenum">
              <a:rPr lang="en-US" smtClean="0">
                <a:solidFill>
                  <a:srgbClr val="000000"/>
                </a:solidFill>
              </a:rPr>
              <a:pPr defTabSz="457200">
                <a:defRPr/>
              </a:pPr>
              <a:t>‹#›</a:t>
            </a:fld>
            <a:endParaRPr lang="en-US">
              <a:solidFill>
                <a:srgbClr val="000000"/>
              </a:solidFill>
            </a:endParaRPr>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a:t>Click icon to add picture</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pPr defTabSz="457200">
              <a:defRPr/>
            </a:pPr>
            <a:r>
              <a:rPr lang="de-DE">
                <a:solidFill>
                  <a:srgbClr val="000000"/>
                </a:solidFill>
              </a:rPr>
              <a:t>IBM Watson IoT / © 2018 IBM Corporation</a:t>
            </a:r>
            <a:endParaRPr lang="en-US" dirty="0">
              <a:solidFill>
                <a:srgbClr val="000000"/>
              </a:solidFill>
            </a:endParaRPr>
          </a:p>
        </p:txBody>
      </p:sp>
    </p:spTree>
    <p:extLst>
      <p:ext uri="{BB962C8B-B14F-4D97-AF65-F5344CB8AC3E}">
        <p14:creationId xmlns:p14="http://schemas.microsoft.com/office/powerpoint/2010/main" val="27624018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above) + content (2-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097280"/>
            <a:ext cx="4251960" cy="32419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endParaRPr lang="en-US"/>
          </a:p>
        </p:txBody>
      </p:sp>
      <p:sp>
        <p:nvSpPr>
          <p:cNvPr id="7" name="Title 6"/>
          <p:cNvSpPr>
            <a:spLocks noGrp="1"/>
          </p:cNvSpPr>
          <p:nvPr>
            <p:ph type="title"/>
          </p:nvPr>
        </p:nvSpPr>
        <p:spPr>
          <a:xfrm>
            <a:off x="228601" y="173736"/>
            <a:ext cx="4474777" cy="914400"/>
          </a:xfrm>
        </p:spPr>
        <p:txBody>
          <a:bodyPr/>
          <a:lstStyle/>
          <a:p>
            <a:r>
              <a:rPr lang="en-US" dirty="0"/>
              <a:t>Click to edit Master title style</a:t>
            </a:r>
          </a:p>
        </p:txBody>
      </p:sp>
      <p:sp>
        <p:nvSpPr>
          <p:cNvPr id="9" name="Content Placeholder 2"/>
          <p:cNvSpPr>
            <a:spLocks noGrp="1"/>
          </p:cNvSpPr>
          <p:nvPr>
            <p:ph idx="14"/>
          </p:nvPr>
        </p:nvSpPr>
        <p:spPr>
          <a:xfrm>
            <a:off x="4568793" y="1097280"/>
            <a:ext cx="4251960" cy="32419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2">
            <a:extLst>
              <a:ext uri="{FF2B5EF4-FFF2-40B4-BE49-F238E27FC236}">
                <a16:creationId xmlns:a16="http://schemas.microsoft.com/office/drawing/2014/main" id="{32408255-FA1A-4F29-A5F1-701E8BD4E4D2}"/>
              </a:ext>
            </a:extLst>
          </p:cNvPr>
          <p:cNvSpPr>
            <a:spLocks noGrp="1"/>
          </p:cNvSpPr>
          <p:nvPr>
            <p:ph type="sldNum" sz="quarter" idx="15"/>
          </p:nvPr>
        </p:nvSpPr>
        <p:spPr>
          <a:xfrm>
            <a:off x="6858000" y="4826480"/>
            <a:ext cx="2057400" cy="137160"/>
          </a:xfrm>
        </p:spPr>
        <p:txBody>
          <a:bodyPr/>
          <a:lstStyle/>
          <a:p>
            <a:fld id="{D0BE6F14-FF48-0F4F-A8AA-2E3F25371E4A}" type="slidenum">
              <a:rPr lang="en-US" smtClean="0"/>
              <a:pPr/>
              <a:t>‹#›</a:t>
            </a:fld>
            <a:endParaRPr lang="en-US"/>
          </a:p>
        </p:txBody>
      </p:sp>
      <p:sp>
        <p:nvSpPr>
          <p:cNvPr id="10" name="Footer Placeholder 8">
            <a:extLst>
              <a:ext uri="{FF2B5EF4-FFF2-40B4-BE49-F238E27FC236}">
                <a16:creationId xmlns:a16="http://schemas.microsoft.com/office/drawing/2014/main" id="{88759552-A8D4-42EF-9AD0-F7B1D15BE451}"/>
              </a:ext>
            </a:extLst>
          </p:cNvPr>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10925583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9E339-6A6C-5E46-8F19-F358160B65A1}"/>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39A0BD63-F584-EE4A-B2EF-B5BD55D816A6}"/>
              </a:ext>
            </a:extLst>
          </p:cNvPr>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a:extLst>
              <a:ext uri="{FF2B5EF4-FFF2-40B4-BE49-F238E27FC236}">
                <a16:creationId xmlns:a16="http://schemas.microsoft.com/office/drawing/2014/main" id="{03DA2475-5D9A-4945-B926-CAD1A25494F0}"/>
              </a:ext>
            </a:extLst>
          </p:cNvPr>
          <p:cNvSpPr>
            <a:spLocks noGrp="1"/>
          </p:cNvSpPr>
          <p:nvPr>
            <p:ph type="ftr" sz="quarter" idx="11"/>
          </p:nvPr>
        </p:nvSpPr>
        <p:spPr/>
        <p:txBody>
          <a:bodyPr/>
          <a:lstStyle/>
          <a:p>
            <a:r>
              <a:rPr lang="pt-BR" dirty="0"/>
              <a:t>IBM Maximo / © 2020 IBM Corporation</a:t>
            </a:r>
            <a:endParaRPr lang="en-US" dirty="0"/>
          </a:p>
        </p:txBody>
      </p:sp>
    </p:spTree>
    <p:extLst>
      <p:ext uri="{BB962C8B-B14F-4D97-AF65-F5344CB8AC3E}">
        <p14:creationId xmlns:p14="http://schemas.microsoft.com/office/powerpoint/2010/main" val="24871989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352265532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Agenda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194"/>
          <a:ext cx="1587" cy="1190"/>
        </p:xfrm>
        <a:graphic>
          <a:graphicData uri="http://schemas.openxmlformats.org/presentationml/2006/ole">
            <mc:AlternateContent xmlns:mc="http://schemas.openxmlformats.org/markup-compatibility/2006">
              <mc:Choice xmlns:v="urn:schemas-microsoft-com:vml" Requires="v">
                <p:oleObj spid="_x0000_s5149" name="think-cell Slide" r:id="rId4" imgW="216" imgH="216" progId="TCLayout.ActiveDocument.1">
                  <p:embed/>
                </p:oleObj>
              </mc:Choice>
              <mc:Fallback>
                <p:oleObj name="think-cell Slide" r:id="rId4" imgW="216" imgH="216" progId="TCLayout.ActiveDocument.1">
                  <p:embed/>
                  <p:pic>
                    <p:nvPicPr>
                      <p:cNvPr id="5" name="Object 4" hidden="1"/>
                      <p:cNvPicPr/>
                      <p:nvPr/>
                    </p:nvPicPr>
                    <p:blipFill>
                      <a:blip r:embed="rId5"/>
                      <a:stretch>
                        <a:fillRect/>
                      </a:stretch>
                    </p:blipFill>
                    <p:spPr>
                      <a:xfrm>
                        <a:off x="1589" y="1194"/>
                        <a:ext cx="1587" cy="1190"/>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69E83247-ADFA-479A-9785-1BA293DBD3EA}"/>
              </a:ext>
            </a:extLst>
          </p:cNvPr>
          <p:cNvSpPr>
            <a:spLocks noGrp="1"/>
          </p:cNvSpPr>
          <p:nvPr>
            <p:ph type="body" sz="quarter" idx="10" hasCustomPrompt="1"/>
          </p:nvPr>
        </p:nvSpPr>
        <p:spPr>
          <a:xfrm>
            <a:off x="219082" y="4844145"/>
            <a:ext cx="8315319" cy="299357"/>
          </a:xfrm>
        </p:spPr>
        <p:txBody>
          <a:bodyPr anchor="b"/>
          <a:lstStyle>
            <a:lvl1pPr>
              <a:spcBef>
                <a:spcPts val="0"/>
              </a:spcBef>
              <a:defRPr sz="825" b="0">
                <a:solidFill>
                  <a:schemeClr val="tx1">
                    <a:lumMod val="50000"/>
                    <a:lumOff val="50000"/>
                  </a:schemeClr>
                </a:solidFill>
              </a:defRPr>
            </a:lvl1pPr>
          </a:lstStyle>
          <a:p>
            <a:pPr lvl="0"/>
            <a:r>
              <a:rPr lang="en-US" b="0" dirty="0"/>
              <a:t>Notes:</a:t>
            </a:r>
          </a:p>
          <a:p>
            <a:pPr lvl="0"/>
            <a:r>
              <a:rPr lang="en-US" b="0" dirty="0"/>
              <a:t>Sources:</a:t>
            </a:r>
            <a:endParaRPr lang="en-US" dirty="0"/>
          </a:p>
        </p:txBody>
      </p:sp>
    </p:spTree>
    <p:extLst>
      <p:ext uri="{BB962C8B-B14F-4D97-AF65-F5344CB8AC3E}">
        <p14:creationId xmlns:p14="http://schemas.microsoft.com/office/powerpoint/2010/main" val="14706480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cSld name="Divider">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chemeClr val="tx1"/>
                </a:solidFill>
              </a:defRPr>
            </a:lvl1pPr>
          </a:lstStyle>
          <a:p>
            <a:pPr defTabSz="457200">
              <a:defRPr/>
            </a:pPr>
            <a:fld id="{D0BE6F14-FF48-0F4F-A8AA-2E3F25371E4A}" type="slidenum">
              <a:rPr lang="en-US" smtClean="0">
                <a:solidFill>
                  <a:srgbClr val="000000"/>
                </a:solidFill>
              </a:rPr>
              <a:pPr defTabSz="457200">
                <a:defRPr/>
              </a:pPr>
              <a:t>‹#›</a:t>
            </a:fld>
            <a:endParaRPr lang="en-US">
              <a:solidFill>
                <a:srgbClr val="000000"/>
              </a:solidFill>
            </a:endParaRPr>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a:t>Click to edit Master title style</a:t>
            </a:r>
            <a:endParaRPr lang="en-US" dirty="0"/>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pPr defTabSz="457200">
              <a:defRPr/>
            </a:pPr>
            <a:r>
              <a:rPr lang="de-DE">
                <a:solidFill>
                  <a:srgbClr val="000000"/>
                </a:solidFill>
              </a:rPr>
              <a:t>IBM Watson IoT / © 2018 IBM Corporation</a:t>
            </a:r>
            <a:endParaRPr lang="en-US" dirty="0">
              <a:solidFill>
                <a:srgbClr val="000000"/>
              </a:solidFill>
            </a:endParaRPr>
          </a:p>
        </p:txBody>
      </p:sp>
    </p:spTree>
    <p:extLst>
      <p:ext uri="{BB962C8B-B14F-4D97-AF65-F5344CB8AC3E}">
        <p14:creationId xmlns:p14="http://schemas.microsoft.com/office/powerpoint/2010/main" val="20668329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2_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228600" y="192025"/>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2"/>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102996493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itle (above) + 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107556" y="4718304"/>
            <a:ext cx="1809432" cy="201168"/>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000000"/>
                </a:solidFill>
                <a:effectLst/>
                <a:uLnTx/>
                <a:uFillTx/>
                <a:latin typeface="IBM Plex Sans Regular" charset="0"/>
                <a:ea typeface="+mn-ea"/>
              </a:rPr>
              <a:t>IBM Watson IoT / © 2018 IBM Corporation</a:t>
            </a:r>
            <a:endParaRPr kumimoji="0" lang="en-US" sz="600" b="0" i="0" u="none" strike="noStrike" kern="1200" cap="none" spc="0" normalizeH="0" baseline="0" noProof="0">
              <a:ln>
                <a:noFill/>
              </a:ln>
              <a:solidFill>
                <a:srgbClr val="000000"/>
              </a:solidFill>
              <a:effectLst/>
              <a:uLnTx/>
              <a:uFillTx/>
              <a:latin typeface="IBM Plex Sans Regular" charset="0"/>
              <a:ea typeface="+mn-ea"/>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DBDE34-E9B5-E04F-B662-69720E4BCB53}" type="slidenum">
              <a:rPr kumimoji="0" lang="en-US" sz="600" b="0" i="0" u="none" strike="noStrike" kern="1200" cap="none" spc="0" normalizeH="0" baseline="0" noProof="0" smtClean="0">
                <a:ln>
                  <a:noFill/>
                </a:ln>
                <a:solidFill>
                  <a:srgbClr val="000000"/>
                </a:solidFill>
                <a:effectLst/>
                <a:uLnTx/>
                <a:uFillTx/>
                <a:latin typeface="IBM Plex Sans Regular"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000000"/>
              </a:solidFill>
              <a:effectLst/>
              <a:uLnTx/>
              <a:uFillTx/>
              <a:latin typeface="IBM Plex Sans Regular" charset="0"/>
              <a:ea typeface="+mn-ea"/>
            </a:endParaRPr>
          </a:p>
        </p:txBody>
      </p:sp>
      <p:sp>
        <p:nvSpPr>
          <p:cNvPr id="7" name="Title 6"/>
          <p:cNvSpPr>
            <a:spLocks noGrp="1"/>
          </p:cNvSpPr>
          <p:nvPr>
            <p:ph type="title"/>
          </p:nvPr>
        </p:nvSpPr>
        <p:spPr>
          <a:xfrm>
            <a:off x="228600" y="173736"/>
            <a:ext cx="4474777" cy="914400"/>
          </a:xfrm>
        </p:spPr>
        <p:txBody>
          <a:bodyPr/>
          <a:lstStyle/>
          <a:p>
            <a:r>
              <a:rPr lang="en-US" dirty="0"/>
              <a:t>Click to edit Master title style</a:t>
            </a:r>
          </a:p>
        </p:txBody>
      </p:sp>
    </p:spTree>
    <p:extLst>
      <p:ext uri="{BB962C8B-B14F-4D97-AF65-F5344CB8AC3E}">
        <p14:creationId xmlns:p14="http://schemas.microsoft.com/office/powerpoint/2010/main" val="239504499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4" name="Title 3"/>
          <p:cNvSpPr>
            <a:spLocks noGrp="1"/>
          </p:cNvSpPr>
          <p:nvPr>
            <p:ph type="title"/>
          </p:nvPr>
        </p:nvSpPr>
        <p:spPr>
          <a:xfrm>
            <a:off x="228600" y="203782"/>
            <a:ext cx="4114801" cy="4479344"/>
          </a:xfrm>
        </p:spPr>
        <p:txBody>
          <a:bodyPr/>
          <a:lstStyle>
            <a:lvl1pPr>
              <a:lnSpc>
                <a:spcPct val="90000"/>
              </a:lnSpc>
              <a:defRPr sz="2400" b="0">
                <a:solidFill>
                  <a:schemeClr val="tx1"/>
                </a:solidFill>
              </a:defRPr>
            </a:lvl1pPr>
          </a:lstStyle>
          <a:p>
            <a:r>
              <a:rPr lang="en-US"/>
              <a:t>Click to edit Master title style</a:t>
            </a:r>
            <a:endParaRPr lang="en-US" dirty="0"/>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3238" y="4316522"/>
            <a:ext cx="685800" cy="635509"/>
          </a:xfrm>
          <a:prstGeom prst="rect">
            <a:avLst/>
          </a:prstGeom>
        </p:spPr>
      </p:pic>
    </p:spTree>
    <p:extLst>
      <p:ext uri="{BB962C8B-B14F-4D97-AF65-F5344CB8AC3E}">
        <p14:creationId xmlns:p14="http://schemas.microsoft.com/office/powerpoint/2010/main" val="7752996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a:t>Click to edit Master title style</a:t>
            </a:r>
            <a:endParaRPr lang="en-US" dirty="0"/>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86205355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IBM Watson IoT / © 2018 IBM Corporation</a:t>
            </a:r>
            <a:endParaRPr lang="en-US" dirty="0"/>
          </a:p>
        </p:txBody>
      </p:sp>
    </p:spTree>
    <p:extLst>
      <p:ext uri="{BB962C8B-B14F-4D97-AF65-F5344CB8AC3E}">
        <p14:creationId xmlns:p14="http://schemas.microsoft.com/office/powerpoint/2010/main" val="43262599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076" algn="dec"/>
              </a:tabLst>
              <a:defRPr/>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076"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1100"/>
              </a:spcBef>
              <a:spcAft>
                <a:spcPts val="0"/>
              </a:spcAft>
              <a:buClrTx/>
              <a:buSzTx/>
              <a:buFont typeface="Arial"/>
              <a:buNone/>
              <a:tabLst>
                <a:tab pos="40232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409385455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409749904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3"/>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a:t>Drag picture to placeholder or click icon to add</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13178759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308635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7"/>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63957336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5187462" cy="4520805"/>
          </a:xfrm>
        </p:spPr>
        <p:txBody>
          <a:bodyPr/>
          <a:lstStyle>
            <a:lvl1pPr marL="117472" indent="-117472">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92844061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4"/>
            <a:ext cx="4114800" cy="300037"/>
          </a:xfrm>
        </p:spPr>
        <p:txBody>
          <a:bodyPr/>
          <a:lstStyle>
            <a:lvl1pPr>
              <a:defRPr sz="1100"/>
            </a:lvl1pPr>
          </a:lstStyle>
          <a:p>
            <a:pPr lvl="0"/>
            <a:r>
              <a:rPr lang="en-US"/>
              <a:t>Click to edit Master text styles</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341999982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228600" y="1124713"/>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3"/>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15825950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1"/>
            <a:ext cx="4114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96815379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Content Placeholder 5"/>
          <p:cNvSpPr>
            <a:spLocks noGrp="1"/>
          </p:cNvSpPr>
          <p:nvPr>
            <p:ph sz="quarter" idx="12"/>
          </p:nvPr>
        </p:nvSpPr>
        <p:spPr>
          <a:xfrm>
            <a:off x="228600" y="995519"/>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9"/>
            <a:ext cx="4114800" cy="35664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323132216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70"/>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373906143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411480"/>
            <a:ext cx="4114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1"/>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24078631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4"/>
          </p:nvPr>
        </p:nvSpPr>
        <p:spPr>
          <a:xfrm>
            <a:off x="228600" y="1097280"/>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80"/>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363067046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17571663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106350035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accent2"/>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1111287"/>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9"/>
            <a:ext cx="4114800" cy="300037"/>
          </a:xfrm>
        </p:spPr>
        <p:txBody>
          <a:bodyPr/>
          <a:lstStyle>
            <a:lvl1pPr>
              <a:defRPr sz="1100"/>
            </a:lvl1pPr>
          </a:lstStyle>
          <a:p>
            <a:pPr lvl="0"/>
            <a:r>
              <a:rPr lang="en-US"/>
              <a:t>Click to edit Master text styles</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306018176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325071577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9"/>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66549744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171285446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6858000" y="4832418"/>
            <a:ext cx="2057400" cy="137160"/>
          </a:xfrm>
        </p:spPr>
        <p:txBody>
          <a:bodyPr/>
          <a:lstStyle>
            <a:lvl1pPr>
              <a:defRPr>
                <a:solidFill>
                  <a:schemeClr val="bg2"/>
                </a:solidFill>
              </a:defRPr>
            </a:lvl1p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228600" y="182881"/>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1"/>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358086055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IBM Watson IoT / © 2018 IBM Corporation</a:t>
            </a:r>
            <a:endParaRPr lang="en-US" dirty="0"/>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0"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08846552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2"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itle 5"/>
          <p:cNvSpPr>
            <a:spLocks noGrp="1"/>
          </p:cNvSpPr>
          <p:nvPr>
            <p:ph type="title"/>
          </p:nvPr>
        </p:nvSpPr>
        <p:spPr>
          <a:xfrm>
            <a:off x="0"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
        <p:nvSpPr>
          <p:cNvPr id="9" name="Footer Placeholder 3"/>
          <p:cNvSpPr>
            <a:spLocks noGrp="1"/>
          </p:cNvSpPr>
          <p:nvPr>
            <p:ph type="ftr" sz="quarter" idx="11"/>
          </p:nvPr>
        </p:nvSpPr>
        <p:spPr>
          <a:xfrm>
            <a:off x="228600" y="4826480"/>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116761143"/>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itle 5"/>
          <p:cNvSpPr>
            <a:spLocks noGrp="1"/>
          </p:cNvSpPr>
          <p:nvPr>
            <p:ph type="title"/>
          </p:nvPr>
        </p:nvSpPr>
        <p:spPr>
          <a:xfrm>
            <a:off x="0"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305701107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3"/>
          <p:cNvSpPr>
            <a:spLocks noGrp="1"/>
          </p:cNvSpPr>
          <p:nvPr>
            <p:ph type="ftr" sz="quarter" idx="11"/>
          </p:nvPr>
        </p:nvSpPr>
        <p:spPr>
          <a:xfrm>
            <a:off x="228600" y="4826480"/>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114204712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8" name="Footer Placeholder 3"/>
          <p:cNvSpPr>
            <a:spLocks noGrp="1"/>
          </p:cNvSpPr>
          <p:nvPr>
            <p:ph type="ftr" sz="quarter" idx="11"/>
          </p:nvPr>
        </p:nvSpPr>
        <p:spPr>
          <a:xfrm>
            <a:off x="228600" y="4826480"/>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14445974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424074077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097281"/>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424022697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116489"/>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1"/>
            <a:ext cx="6400800" cy="3824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168226812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116489"/>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338741140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99619403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2" indent="-117472">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824097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92025"/>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6"/>
            <a:ext cx="6400800" cy="4597400"/>
          </a:xfrm>
        </p:spPr>
        <p:txBody>
          <a:bodyPr/>
          <a:lstStyle/>
          <a:p>
            <a:r>
              <a:rPr lang="en-US"/>
              <a:t>Click icon to add table</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70585286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176138678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870600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076" algn="dec"/>
              </a:tabLst>
              <a:defRPr sz="1100"/>
            </a:lvl1pPr>
            <a:lvl2pPr marL="173034" indent="-173034">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189" rtl="0" eaLnBrk="1" fontAlgn="auto" latinLnBrk="0" hangingPunct="1">
              <a:lnSpc>
                <a:spcPct val="100000"/>
              </a:lnSpc>
              <a:spcBef>
                <a:spcPts val="0"/>
              </a:spcBef>
              <a:spcAft>
                <a:spcPts val="0"/>
              </a:spcAft>
              <a:buClrTx/>
              <a:buSzTx/>
              <a:buFont typeface="Arial"/>
              <a:buNone/>
              <a:tabLst>
                <a:tab pos="4023260" algn="r"/>
              </a:tabLst>
              <a:defRPr/>
            </a:pPr>
            <a:r>
              <a:rPr lang="en-US" dirty="0"/>
              <a:t>Click to edit Master text styles</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38701317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53106" y="1573759"/>
            <a:ext cx="1636776" cy="1516746"/>
          </a:xfrm>
          <a:prstGeom prst="rect">
            <a:avLst/>
          </a:prstGeom>
        </p:spPr>
      </p:pic>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7639167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3CB55-6EFA-0940-8986-1C8A2E3CBC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00CD74-63C1-2247-A33E-4404AB46CF6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2A79CD-7498-4445-A14D-E2BCB819F39C}"/>
              </a:ext>
            </a:extLst>
          </p:cNvPr>
          <p:cNvSpPr>
            <a:spLocks noGrp="1"/>
          </p:cNvSpPr>
          <p:nvPr>
            <p:ph type="dt" sz="half" idx="10"/>
          </p:nvPr>
        </p:nvSpPr>
        <p:spPr/>
        <p:txBody>
          <a:bodyPr/>
          <a:lstStyle/>
          <a:p>
            <a:fld id="{0DDC3071-CEE1-2942-9088-5AD0E41CA432}" type="datetimeFigureOut">
              <a:rPr lang="en-US" smtClean="0"/>
              <a:t>6/24/2020</a:t>
            </a:fld>
            <a:endParaRPr lang="en-US"/>
          </a:p>
        </p:txBody>
      </p:sp>
      <p:sp>
        <p:nvSpPr>
          <p:cNvPr id="5" name="Footer Placeholder 4">
            <a:extLst>
              <a:ext uri="{FF2B5EF4-FFF2-40B4-BE49-F238E27FC236}">
                <a16:creationId xmlns:a16="http://schemas.microsoft.com/office/drawing/2014/main" id="{F1FE9187-4AA1-C345-B743-8D05497FDB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156217-FD26-D84F-A8E1-6654F8FAB958}"/>
              </a:ext>
            </a:extLst>
          </p:cNvPr>
          <p:cNvSpPr>
            <a:spLocks noGrp="1"/>
          </p:cNvSpPr>
          <p:nvPr>
            <p:ph type="sldNum" sz="quarter" idx="12"/>
          </p:nvPr>
        </p:nvSpPr>
        <p:spPr/>
        <p:txBody>
          <a:bodyPr/>
          <a:lstStyle/>
          <a:p>
            <a:fld id="{B1C5D1BA-1D20-6F45-8BE6-80F1C2D4BE5E}" type="slidenum">
              <a:rPr lang="en-US" smtClean="0"/>
              <a:t>‹#›</a:t>
            </a:fld>
            <a:endParaRPr lang="en-US"/>
          </a:p>
        </p:txBody>
      </p:sp>
    </p:spTree>
    <p:extLst>
      <p:ext uri="{BB962C8B-B14F-4D97-AF65-F5344CB8AC3E}">
        <p14:creationId xmlns:p14="http://schemas.microsoft.com/office/powerpoint/2010/main" val="67398824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tx1"/>
                </a:solidFill>
              </a:defRPr>
            </a:lvl1pPr>
          </a:lstStyle>
          <a:p>
            <a:r>
              <a:rPr lang="en-US"/>
              <a:t>Click to edit Master title style</a:t>
            </a:r>
            <a:endParaRPr lang="en-US" dirty="0"/>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3238" y="4316521"/>
            <a:ext cx="685800" cy="635509"/>
          </a:xfrm>
          <a:prstGeom prst="rect">
            <a:avLst/>
          </a:prstGeom>
        </p:spPr>
      </p:pic>
    </p:spTree>
    <p:extLst>
      <p:ext uri="{BB962C8B-B14F-4D97-AF65-F5344CB8AC3E}">
        <p14:creationId xmlns:p14="http://schemas.microsoft.com/office/powerpoint/2010/main" val="280219588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a:t>Click to edit Master title style</a:t>
            </a:r>
            <a:endParaRPr lang="en-US" dirty="0"/>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183920172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en-US"/>
              <a:t>IBM Watson IoT / © 2018 IBM Corporation</a:t>
            </a:r>
            <a:endParaRPr lang="en-US" dirty="0"/>
          </a:p>
        </p:txBody>
      </p:sp>
    </p:spTree>
    <p:extLst>
      <p:ext uri="{BB962C8B-B14F-4D97-AF65-F5344CB8AC3E}">
        <p14:creationId xmlns:p14="http://schemas.microsoft.com/office/powerpoint/2010/main" val="288282723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407822048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198751386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a:t>Drag picture to placeholder or click icon to add</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372947157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45226783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421485652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Click to edit Master text styles</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63289411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37316422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5_Cover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119739" y="173736"/>
            <a:ext cx="2834640" cy="1600200"/>
          </a:xfrm>
        </p:spPr>
        <p:txBody>
          <a:bodyPr/>
          <a:lstStyle>
            <a:lvl1pPr marL="0" indent="0" algn="l">
              <a:spcBef>
                <a:spcPts val="0"/>
              </a:spcBef>
              <a:buNone/>
              <a:defRPr sz="2000" b="0" i="0">
                <a:solidFill>
                  <a:schemeClr val="accent3">
                    <a:lumMod val="60000"/>
                    <a:lumOff val="40000"/>
                  </a:schemeClr>
                </a:solidFill>
                <a:latin typeface="IBM Plex Sans Regular" charset="0"/>
                <a:cs typeface="IBM Plex Sans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1" name="Title 10"/>
          <p:cNvSpPr>
            <a:spLocks noGrp="1"/>
          </p:cNvSpPr>
          <p:nvPr>
            <p:ph type="title"/>
          </p:nvPr>
        </p:nvSpPr>
        <p:spPr>
          <a:xfrm>
            <a:off x="228600" y="173736"/>
            <a:ext cx="2834640" cy="1600200"/>
          </a:xfrm>
        </p:spPr>
        <p:txBody>
          <a:bodyPr/>
          <a:lstStyle>
            <a:lvl1pPr>
              <a:defRPr b="0" i="0">
                <a:latin typeface="IBM Plex Sans Regular" charset="0"/>
                <a:cs typeface="IBM Plex Sans Regular" charset="0"/>
              </a:defRPr>
            </a:lvl1pPr>
          </a:lstStyle>
          <a:p>
            <a:r>
              <a:rPr lang="en-US"/>
              <a:t>Click to edit Master title style</a:t>
            </a:r>
            <a:endParaRPr lang="en-US" dirty="0"/>
          </a:p>
        </p:txBody>
      </p:sp>
      <p:pic>
        <p:nvPicPr>
          <p:cNvPr id="4" name="Picture">
            <a:extLst>
              <a:ext uri="{FF2B5EF4-FFF2-40B4-BE49-F238E27FC236}">
                <a16:creationId xmlns:a16="http://schemas.microsoft.com/office/drawing/2014/main" id="{E73F72F2-904D-4BE1-9046-2481C5486DA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93812" y="4692553"/>
            <a:ext cx="521589" cy="208108"/>
          </a:xfrm>
          <a:prstGeom prst="rect">
            <a:avLst/>
          </a:prstGeom>
        </p:spPr>
      </p:pic>
    </p:spTree>
    <p:extLst>
      <p:ext uri="{BB962C8B-B14F-4D97-AF65-F5344CB8AC3E}">
        <p14:creationId xmlns:p14="http://schemas.microsoft.com/office/powerpoint/2010/main" val="4209834033"/>
      </p:ext>
    </p:extLst>
  </p:cSld>
  <p:clrMapOvr>
    <a:masterClrMapping/>
  </p:clrMapOvr>
  <p:hf sldNum="0" hdr="0" dt="0"/>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83863171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Click to 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1877215716"/>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23144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411480"/>
            <a:ext cx="4114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40238087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71551725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45595467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accent2"/>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1111286"/>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64850561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59399975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317418150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14521369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9 IBM Corporation</a:t>
            </a:r>
          </a:p>
        </p:txBody>
      </p:sp>
    </p:spTree>
    <p:extLst>
      <p:ext uri="{BB962C8B-B14F-4D97-AF65-F5344CB8AC3E}">
        <p14:creationId xmlns:p14="http://schemas.microsoft.com/office/powerpoint/2010/main" val="48443579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6858000" y="4832418"/>
            <a:ext cx="2057400" cy="137160"/>
          </a:xfrm>
        </p:spPr>
        <p:txBody>
          <a:bodyPr/>
          <a:lstStyle>
            <a:lvl1pPr>
              <a:defRPr>
                <a:solidFill>
                  <a:schemeClr val="bg2"/>
                </a:solidFill>
              </a:defRPr>
            </a:lvl1p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84173179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IBM Watson IoT / © 2018 IBM Corporation</a:t>
            </a:r>
            <a:endParaRPr lang="en-US" dirty="0"/>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08754685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
        <p:nvSpPr>
          <p:cNvPr id="9" name="Footer Placeholder 3"/>
          <p:cNvSpPr>
            <a:spLocks noGrp="1"/>
          </p:cNvSpPr>
          <p:nvPr>
            <p:ph type="ftr" sz="quarter" idx="11"/>
          </p:nvPr>
        </p:nvSpPr>
        <p:spPr>
          <a:xfrm>
            <a:off x="228600" y="4826480"/>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43250911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411618686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3"/>
          <p:cNvSpPr>
            <a:spLocks noGrp="1"/>
          </p:cNvSpPr>
          <p:nvPr>
            <p:ph type="ftr" sz="quarter" idx="11"/>
          </p:nvPr>
        </p:nvSpPr>
        <p:spPr>
          <a:xfrm>
            <a:off x="228600" y="4826480"/>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138036329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8" name="Footer Placeholder 3"/>
          <p:cNvSpPr>
            <a:spLocks noGrp="1"/>
          </p:cNvSpPr>
          <p:nvPr>
            <p:ph type="ftr" sz="quarter" idx="11"/>
          </p:nvPr>
        </p:nvSpPr>
        <p:spPr>
          <a:xfrm>
            <a:off x="228600" y="4826480"/>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101587591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138523733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408635114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33420623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4572000" y="0"/>
            <a:ext cx="4572000" cy="5143500"/>
          </a:xfrm>
        </p:spPr>
        <p:txBody>
          <a:bodyPr/>
          <a:lstStyle/>
          <a:p>
            <a:r>
              <a:rPr lang="en-US"/>
              <a:t>Drag picture to placeholder or click icon to add</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32691383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9 IBM Corporation</a:t>
            </a:r>
          </a:p>
        </p:txBody>
      </p:sp>
    </p:spTree>
    <p:extLst>
      <p:ext uri="{BB962C8B-B14F-4D97-AF65-F5344CB8AC3E}">
        <p14:creationId xmlns:p14="http://schemas.microsoft.com/office/powerpoint/2010/main" val="80229696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4700392" y="1090961"/>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103821052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305238631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32694285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9461015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120134660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53106" y="1573759"/>
            <a:ext cx="1636776" cy="1516746"/>
          </a:xfrm>
          <a:prstGeom prst="rect">
            <a:avLst/>
          </a:prstGeom>
        </p:spPr>
      </p:pic>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44631918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pic>
        <p:nvPicPr>
          <p:cNvPr id="6" name="Picture 5">
            <a:extLst>
              <a:ext uri="{FF2B5EF4-FFF2-40B4-BE49-F238E27FC236}">
                <a16:creationId xmlns:a16="http://schemas.microsoft.com/office/drawing/2014/main" id="{3932BEAA-73C1-BC4D-8772-9FD32CEB0C18}"/>
              </a:ext>
            </a:extLst>
          </p:cNvPr>
          <p:cNvPicPr>
            <a:picLocks noChangeAspect="1"/>
          </p:cNvPicPr>
          <p:nvPr userDrawn="1"/>
        </p:nvPicPr>
        <p:blipFill>
          <a:blip r:embed="rId2"/>
          <a:stretch>
            <a:fillRect/>
          </a:stretch>
        </p:blipFill>
        <p:spPr>
          <a:xfrm>
            <a:off x="7016818" y="4351898"/>
            <a:ext cx="2127182" cy="791602"/>
          </a:xfrm>
          <a:prstGeom prst="rect">
            <a:avLst/>
          </a:prstGeom>
        </p:spPr>
      </p:pic>
    </p:spTree>
    <p:extLst>
      <p:ext uri="{BB962C8B-B14F-4D97-AF65-F5344CB8AC3E}">
        <p14:creationId xmlns:p14="http://schemas.microsoft.com/office/powerpoint/2010/main" val="129109647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
        <p:nvSpPr>
          <p:cNvPr id="7"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pic>
        <p:nvPicPr>
          <p:cNvPr id="6" name="Picture 5">
            <a:extLst>
              <a:ext uri="{FF2B5EF4-FFF2-40B4-BE49-F238E27FC236}">
                <a16:creationId xmlns:a16="http://schemas.microsoft.com/office/drawing/2014/main" id="{1618D174-8931-4046-B16E-E9F9EADA1133}"/>
              </a:ext>
            </a:extLst>
          </p:cNvPr>
          <p:cNvPicPr>
            <a:picLocks noChangeAspect="1"/>
          </p:cNvPicPr>
          <p:nvPr userDrawn="1"/>
        </p:nvPicPr>
        <p:blipFill>
          <a:blip r:embed="rId2"/>
          <a:stretch>
            <a:fillRect/>
          </a:stretch>
        </p:blipFill>
        <p:spPr>
          <a:xfrm>
            <a:off x="7016818" y="4351898"/>
            <a:ext cx="2127182" cy="791602"/>
          </a:xfrm>
          <a:prstGeom prst="rect">
            <a:avLst/>
          </a:prstGeom>
        </p:spPr>
      </p:pic>
    </p:spTree>
    <p:extLst>
      <p:ext uri="{BB962C8B-B14F-4D97-AF65-F5344CB8AC3E}">
        <p14:creationId xmlns:p14="http://schemas.microsoft.com/office/powerpoint/2010/main" val="84992326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3_Cover Slide">
    <p:bg>
      <p:bgPr>
        <a:solidFill>
          <a:schemeClr val="bg2"/>
        </a:solidFill>
        <a:effectLst/>
      </p:bgPr>
    </p:bg>
    <p:spTree>
      <p:nvGrpSpPr>
        <p:cNvPr id="1" name=""/>
        <p:cNvGrpSpPr/>
        <p:nvPr/>
      </p:nvGrpSpPr>
      <p:grpSpPr>
        <a:xfrm>
          <a:off x="0" y="0"/>
          <a:ext cx="0" cy="0"/>
          <a:chOff x="0" y="0"/>
          <a:chExt cx="0" cy="0"/>
        </a:xfrm>
      </p:grpSpPr>
      <p:sp>
        <p:nvSpPr>
          <p:cNvPr id="11" name="Rectangle 10"/>
          <p:cNvSpPr/>
          <p:nvPr userDrawn="1"/>
        </p:nvSpPr>
        <p:spPr>
          <a:xfrm rot="10800000">
            <a:off x="7079162" y="0"/>
            <a:ext cx="2064836" cy="5143500"/>
          </a:xfrm>
          <a:prstGeom prst="rect">
            <a:avLst/>
          </a:prstGeom>
          <a:gradFill>
            <a:gsLst>
              <a:gs pos="100000">
                <a:srgbClr val="8582FF"/>
              </a:gs>
              <a:gs pos="85000">
                <a:srgbClr val="5E79FF"/>
              </a:gs>
              <a:gs pos="0">
                <a:schemeClr val="accent2"/>
              </a:gs>
            </a:gsLst>
            <a:lin ang="5400000" scaled="0"/>
          </a:gra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2" name="Rectangle 1"/>
          <p:cNvSpPr/>
          <p:nvPr userDrawn="1"/>
        </p:nvSpPr>
        <p:spPr>
          <a:xfrm>
            <a:off x="-7437" y="0"/>
            <a:ext cx="7086600" cy="5143500"/>
          </a:xfrm>
          <a:prstGeom prst="rect">
            <a:avLst/>
          </a:prstGeom>
          <a:gradFill>
            <a:gsLst>
              <a:gs pos="100000">
                <a:srgbClr val="8582FF"/>
              </a:gs>
              <a:gs pos="85000">
                <a:srgbClr val="5E79FF"/>
              </a:gs>
              <a:gs pos="0">
                <a:schemeClr val="accent2"/>
              </a:gs>
            </a:gsLst>
            <a:lin ang="5400000" scaled="0"/>
          </a:gra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4" name="Title 3"/>
          <p:cNvSpPr>
            <a:spLocks noGrp="1"/>
          </p:cNvSpPr>
          <p:nvPr>
            <p:ph type="title"/>
          </p:nvPr>
        </p:nvSpPr>
        <p:spPr>
          <a:xfrm>
            <a:off x="221162" y="203781"/>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sp>
        <p:nvSpPr>
          <p:cNvPr id="5" name="Footer Placeholder 1"/>
          <p:cNvSpPr>
            <a:spLocks noGrp="1"/>
          </p:cNvSpPr>
          <p:nvPr>
            <p:ph type="ftr" sz="quarter" idx="11"/>
          </p:nvPr>
        </p:nvSpPr>
        <p:spPr>
          <a:xfrm>
            <a:off x="221163" y="4828032"/>
            <a:ext cx="6400800" cy="137160"/>
          </a:xfrm>
        </p:spPr>
        <p:txBody>
          <a:bodyPr/>
          <a:lstStyle>
            <a:lvl1pPr>
              <a:defRPr>
                <a:solidFill>
                  <a:schemeClr val="bg2"/>
                </a:solidFill>
              </a:defRPr>
            </a:lvl1pPr>
          </a:lstStyle>
          <a:p>
            <a:r>
              <a:rPr lang="en-US"/>
              <a:t>IBM Watson IoT / © 2018 IBM Corporation</a:t>
            </a:r>
            <a:endParaRPr lang="en-US" dirty="0"/>
          </a:p>
        </p:txBody>
      </p:sp>
      <p:pic>
        <p:nvPicPr>
          <p:cNvPr id="7" name="Picture 6">
            <a:extLst>
              <a:ext uri="{FF2B5EF4-FFF2-40B4-BE49-F238E27FC236}">
                <a16:creationId xmlns:a16="http://schemas.microsoft.com/office/drawing/2014/main" id="{77E0CEE7-05DA-1540-9B82-2624C1EEADD1}"/>
              </a:ext>
            </a:extLst>
          </p:cNvPr>
          <p:cNvPicPr>
            <a:picLocks noChangeAspect="1"/>
          </p:cNvPicPr>
          <p:nvPr userDrawn="1"/>
        </p:nvPicPr>
        <p:blipFill>
          <a:blip r:embed="rId2"/>
          <a:stretch>
            <a:fillRect/>
          </a:stretch>
        </p:blipFill>
        <p:spPr>
          <a:xfrm>
            <a:off x="7016818" y="4351898"/>
            <a:ext cx="2127182" cy="791602"/>
          </a:xfrm>
          <a:prstGeom prst="rect">
            <a:avLst/>
          </a:prstGeom>
        </p:spPr>
      </p:pic>
    </p:spTree>
    <p:extLst>
      <p:ext uri="{BB962C8B-B14F-4D97-AF65-F5344CB8AC3E}">
        <p14:creationId xmlns:p14="http://schemas.microsoft.com/office/powerpoint/2010/main" val="157042943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2_Cover Slide">
    <p:bg>
      <p:bgPr>
        <a:gradFill>
          <a:gsLst>
            <a:gs pos="0">
              <a:schemeClr val="accent2"/>
            </a:gs>
            <a:gs pos="100000">
              <a:srgbClr val="7D80FF"/>
            </a:gs>
            <a:gs pos="100000">
              <a:schemeClr val="accent4"/>
            </a:gs>
          </a:gsLst>
          <a:lin ang="0" scaled="0"/>
        </a:gra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228599" y="203781"/>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pic>
        <p:nvPicPr>
          <p:cNvPr id="6" name="Picture 5">
            <a:extLst>
              <a:ext uri="{FF2B5EF4-FFF2-40B4-BE49-F238E27FC236}">
                <a16:creationId xmlns:a16="http://schemas.microsoft.com/office/drawing/2014/main" id="{6FA5FAB9-E464-DB4D-A39A-24B23DE92A10}"/>
              </a:ext>
            </a:extLst>
          </p:cNvPr>
          <p:cNvPicPr>
            <a:picLocks noChangeAspect="1"/>
          </p:cNvPicPr>
          <p:nvPr userDrawn="1"/>
        </p:nvPicPr>
        <p:blipFill>
          <a:blip r:embed="rId2"/>
          <a:stretch>
            <a:fillRect/>
          </a:stretch>
        </p:blipFill>
        <p:spPr>
          <a:xfrm>
            <a:off x="7016818" y="4351898"/>
            <a:ext cx="2127182" cy="791602"/>
          </a:xfrm>
          <a:prstGeom prst="rect">
            <a:avLst/>
          </a:prstGeom>
        </p:spPr>
      </p:pic>
    </p:spTree>
    <p:extLst>
      <p:ext uri="{BB962C8B-B14F-4D97-AF65-F5344CB8AC3E}">
        <p14:creationId xmlns:p14="http://schemas.microsoft.com/office/powerpoint/2010/main" val="37349311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Divider">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chemeClr val="tx1"/>
                </a:solidFill>
              </a:defRPr>
            </a:lvl1pPr>
          </a:lstStyle>
          <a:p>
            <a:pPr defTabSz="457200">
              <a:defRPr/>
            </a:pPr>
            <a:fld id="{D0BE6F14-FF48-0F4F-A8AA-2E3F25371E4A}" type="slidenum">
              <a:rPr lang="en-US" smtClean="0">
                <a:solidFill>
                  <a:srgbClr val="000000"/>
                </a:solidFill>
              </a:rPr>
              <a:pPr defTabSz="457200">
                <a:defRPr/>
              </a:pPr>
              <a:t>‹#›</a:t>
            </a:fld>
            <a:endParaRPr lang="en-US">
              <a:solidFill>
                <a:srgbClr val="000000"/>
              </a:solidFill>
            </a:endParaRPr>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a:t>Click to edit Master title style</a:t>
            </a:r>
            <a:endParaRPr lang="en-US" dirty="0"/>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pPr defTabSz="457200">
              <a:defRPr/>
            </a:pPr>
            <a:r>
              <a:rPr lang="de-DE">
                <a:solidFill>
                  <a:srgbClr val="000000"/>
                </a:solidFill>
              </a:rPr>
              <a:t>IBM Watson IoT / © 2018 IBM Corporation</a:t>
            </a:r>
            <a:endParaRPr lang="en-US" dirty="0">
              <a:solidFill>
                <a:srgbClr val="000000"/>
              </a:solidFill>
            </a:endParaRPr>
          </a:p>
        </p:txBody>
      </p:sp>
    </p:spTree>
    <p:extLst>
      <p:ext uri="{BB962C8B-B14F-4D97-AF65-F5344CB8AC3E}">
        <p14:creationId xmlns:p14="http://schemas.microsoft.com/office/powerpoint/2010/main" val="342317776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bg2"/>
                </a:solidFill>
              </a:defRPr>
            </a:lvl1pPr>
          </a:lstStyle>
          <a:p>
            <a:r>
              <a:rPr lang="en-US"/>
              <a:t>Click to edit Master title style</a:t>
            </a:r>
            <a:endParaRPr lang="en-US" dirty="0"/>
          </a:p>
        </p:txBody>
      </p:sp>
      <p:sp>
        <p:nvSpPr>
          <p:cNvPr id="6" name="Footer Placeholder 1"/>
          <p:cNvSpPr>
            <a:spLocks noGrp="1"/>
          </p:cNvSpPr>
          <p:nvPr>
            <p:ph type="ftr" sz="quarter" idx="12"/>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186609970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262684162"/>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Edit Master text styles</a:t>
            </a:r>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19580628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2"/>
            <a:ext cx="4114800" cy="1003807"/>
          </a:xfrm>
        </p:spPr>
        <p:txBody>
          <a:bodyPr/>
          <a:lstStyle>
            <a:lvl1pPr>
              <a:defRPr sz="1600">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8" name="Text Placeholder 7"/>
          <p:cNvSpPr>
            <a:spLocks noGrp="1"/>
          </p:cNvSpPr>
          <p:nvPr>
            <p:ph type="body" sz="quarter" idx="12"/>
          </p:nvPr>
        </p:nvSpPr>
        <p:spPr>
          <a:xfrm>
            <a:off x="228600" y="1554480"/>
            <a:ext cx="4114800" cy="3108960"/>
          </a:xfrm>
        </p:spPr>
        <p:txBody>
          <a:bodyPr/>
          <a:lstStyle>
            <a:lvl1pPr>
              <a:lnSpc>
                <a:spcPct val="90000"/>
              </a:lnSpc>
              <a:spcBef>
                <a:spcPts val="0"/>
              </a:spcBef>
              <a:defRPr sz="9600" b="1" baseline="0">
                <a:solidFill>
                  <a:schemeClr val="bg2"/>
                </a:solidFill>
              </a:defRPr>
            </a:lvl1pPr>
          </a:lstStyle>
          <a:p>
            <a:pPr lvl="0"/>
            <a:r>
              <a:rPr lang="en-US"/>
              <a:t>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bg2"/>
                </a:solidFill>
              </a:defRPr>
            </a:lvl1pPr>
          </a:lstStyle>
          <a:p>
            <a:r>
              <a:rPr lang="en-US"/>
              <a:t>Click icon to add picture</a:t>
            </a:r>
            <a:endParaRPr lang="en-US" dirty="0"/>
          </a:p>
        </p:txBody>
      </p:sp>
      <p:sp>
        <p:nvSpPr>
          <p:cNvPr id="11"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976454522"/>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174576325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5187462" cy="4520805"/>
          </a:xfrm>
        </p:spPr>
        <p:txBody>
          <a:bodyPr/>
          <a:lstStyle>
            <a:lvl1pPr marL="117475" indent="-117475">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6"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30487177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0563"/>
            <a:ext cx="4114800" cy="300037"/>
          </a:xfrm>
        </p:spPr>
        <p:txBody>
          <a:bodyPr/>
          <a:lstStyle>
            <a:lvl1pPr>
              <a:defRPr sz="1100"/>
            </a:lvl1pPr>
          </a:lstStyle>
          <a:p>
            <a:pPr lvl="0"/>
            <a:r>
              <a:rPr lang="en-US"/>
              <a:t>Edit Master text styles</a:t>
            </a:r>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410700121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619070816"/>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70"/>
            <a:ext cx="4114800" cy="358965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10778408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pPr/>
              <a:t>‹#›</a:t>
            </a:fld>
            <a:endParaRPr lang="en-US"/>
          </a:p>
        </p:txBody>
      </p:sp>
      <p:sp>
        <p:nvSpPr>
          <p:cNvPr id="6" name="Content Placeholder 5"/>
          <p:cNvSpPr>
            <a:spLocks noGrp="1"/>
          </p:cNvSpPr>
          <p:nvPr>
            <p:ph sz="quarter" idx="12"/>
          </p:nvPr>
        </p:nvSpPr>
        <p:spPr>
          <a:xfrm>
            <a:off x="228600" y="995518"/>
            <a:ext cx="4114800" cy="3687607"/>
          </a:xfrm>
        </p:spPr>
        <p:txBody>
          <a:bodyPr/>
          <a:lstStyle>
            <a:lvl1pPr>
              <a:defRPr sz="2400"/>
            </a:lvl1pPr>
          </a:lstStyle>
          <a:p>
            <a:pPr lvl="0"/>
            <a:r>
              <a:rPr lang="en-US"/>
              <a:t>Edit Master text styles</a:t>
            </a:r>
          </a:p>
        </p:txBody>
      </p:sp>
      <p:sp>
        <p:nvSpPr>
          <p:cNvPr id="8" name="Content Placeholder 7"/>
          <p:cNvSpPr>
            <a:spLocks noGrp="1"/>
          </p:cNvSpPr>
          <p:nvPr>
            <p:ph sz="quarter" idx="13"/>
          </p:nvPr>
        </p:nvSpPr>
        <p:spPr>
          <a:xfrm>
            <a:off x="4800600" y="1116648"/>
            <a:ext cx="4114800" cy="3566477"/>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0677961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2_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228600" y="192025"/>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2"/>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32144016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93886399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411480"/>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7" name="Text Placeholder 6"/>
          <p:cNvSpPr>
            <a:spLocks noGrp="1"/>
          </p:cNvSpPr>
          <p:nvPr>
            <p:ph type="body" sz="quarter" idx="14"/>
          </p:nvPr>
        </p:nvSpPr>
        <p:spPr>
          <a:xfrm>
            <a:off x="228600" y="1097280"/>
            <a:ext cx="4114800" cy="3585845"/>
          </a:xfrm>
        </p:spPr>
        <p:txBody>
          <a:bodyPr/>
          <a:lstStyle>
            <a:lvl1pPr>
              <a:defRPr sz="1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03941963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4"/>
          </p:nvPr>
        </p:nvSpPr>
        <p:spPr>
          <a:xfrm>
            <a:off x="228600" y="1097279"/>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79"/>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665962682"/>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10" name="Text Placeholder 9"/>
          <p:cNvSpPr>
            <a:spLocks noGrp="1"/>
          </p:cNvSpPr>
          <p:nvPr>
            <p:ph type="body" sz="quarter" idx="16"/>
          </p:nvPr>
        </p:nvSpPr>
        <p:spPr>
          <a:xfrm>
            <a:off x="7086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175991572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Edit Master text styles</a:t>
            </a:r>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11492976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572000" y="0"/>
            <a:ext cx="4572000" cy="5143500"/>
          </a:xfrm>
        </p:spPr>
        <p:txBody>
          <a:bodyPr/>
          <a:lstStyle/>
          <a:p>
            <a:r>
              <a:rPr lang="en-US"/>
              <a:t>Click icon to add picture</a:t>
            </a:r>
          </a:p>
        </p:txBody>
      </p:sp>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80652822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30603247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381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2532004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12" name="Text Placeholder 11"/>
          <p:cNvSpPr>
            <a:spLocks noGrp="1"/>
          </p:cNvSpPr>
          <p:nvPr>
            <p:ph type="body" sz="quarter" idx="13"/>
          </p:nvPr>
        </p:nvSpPr>
        <p:spPr>
          <a:xfrm>
            <a:off x="228600" y="182880"/>
            <a:ext cx="4114800" cy="300037"/>
          </a:xfrm>
        </p:spPr>
        <p:txBody>
          <a:bodyPr/>
          <a:lstStyle>
            <a:lvl1pPr>
              <a:defRPr sz="1600"/>
            </a:lvl1pPr>
          </a:lstStyle>
          <a:p>
            <a:pPr lvl="0"/>
            <a:r>
              <a:rPr lang="en-US"/>
              <a:t>Edit Master text styles</a:t>
            </a:r>
          </a:p>
        </p:txBody>
      </p:sp>
      <p:sp>
        <p:nvSpPr>
          <p:cNvPr id="7" name="Text Placeholder 6"/>
          <p:cNvSpPr>
            <a:spLocks noGrp="1"/>
          </p:cNvSpPr>
          <p:nvPr>
            <p:ph type="body" sz="quarter" idx="14"/>
          </p:nvPr>
        </p:nvSpPr>
        <p:spPr>
          <a:xfrm>
            <a:off x="228600" y="1097280"/>
            <a:ext cx="4114800" cy="3488731"/>
          </a:xfrm>
        </p:spPr>
        <p:txBody>
          <a:bodyPr/>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9"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254460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4572000" cy="2111375"/>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
        <p:nvSpPr>
          <p:cNvPr id="9"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5622428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23950"/>
            <a:ext cx="8686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1664016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bove) + 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107556" y="4718304"/>
            <a:ext cx="1809432" cy="201168"/>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a:ln>
                  <a:noFill/>
                </a:ln>
                <a:solidFill>
                  <a:srgbClr val="000000"/>
                </a:solidFill>
                <a:effectLst/>
                <a:uLnTx/>
                <a:uFillTx/>
                <a:latin typeface="IBM Plex Sans Regular" charset="0"/>
                <a:ea typeface="+mn-ea"/>
              </a:rPr>
              <a:t>IBM Watson IoT / © 2018 IBM Corporation</a:t>
            </a:r>
            <a:endParaRPr kumimoji="0" lang="en-US" sz="600" b="0" i="0" u="none" strike="noStrike" kern="1200" cap="none" spc="0" normalizeH="0" baseline="0" noProof="0">
              <a:ln>
                <a:noFill/>
              </a:ln>
              <a:solidFill>
                <a:srgbClr val="000000"/>
              </a:solidFill>
              <a:effectLst/>
              <a:uLnTx/>
              <a:uFillTx/>
              <a:latin typeface="IBM Plex Sans Regular" charset="0"/>
              <a:ea typeface="+mn-ea"/>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DBDE34-E9B5-E04F-B662-69720E4BCB53}" type="slidenum">
              <a:rPr kumimoji="0" lang="en-US" sz="600" b="0" i="0" u="none" strike="noStrike" kern="1200" cap="none" spc="0" normalizeH="0" baseline="0" noProof="0" smtClean="0">
                <a:ln>
                  <a:noFill/>
                </a:ln>
                <a:solidFill>
                  <a:srgbClr val="000000"/>
                </a:solidFill>
                <a:effectLst/>
                <a:uLnTx/>
                <a:uFillTx/>
                <a:latin typeface="IBM Plex Sans Regular"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000000"/>
              </a:solidFill>
              <a:effectLst/>
              <a:uLnTx/>
              <a:uFillTx/>
              <a:latin typeface="IBM Plex Sans Regular" charset="0"/>
              <a:ea typeface="+mn-ea"/>
            </a:endParaRPr>
          </a:p>
        </p:txBody>
      </p:sp>
      <p:sp>
        <p:nvSpPr>
          <p:cNvPr id="7" name="Title 6"/>
          <p:cNvSpPr>
            <a:spLocks noGrp="1"/>
          </p:cNvSpPr>
          <p:nvPr>
            <p:ph type="title"/>
          </p:nvPr>
        </p:nvSpPr>
        <p:spPr>
          <a:xfrm>
            <a:off x="228600" y="173736"/>
            <a:ext cx="4474777" cy="914400"/>
          </a:xfrm>
        </p:spPr>
        <p:txBody>
          <a:bodyPr/>
          <a:lstStyle/>
          <a:p>
            <a:r>
              <a:rPr lang="en-US" dirty="0"/>
              <a:t>Click to edit Master title style</a:t>
            </a:r>
          </a:p>
        </p:txBody>
      </p:sp>
    </p:spTree>
    <p:extLst>
      <p:ext uri="{BB962C8B-B14F-4D97-AF65-F5344CB8AC3E}">
        <p14:creationId xmlns:p14="http://schemas.microsoft.com/office/powerpoint/2010/main" val="60567541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4572001"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
        <p:nvSpPr>
          <p:cNvPr id="9"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69868991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160409212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23628759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92024"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35019386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228600" y="1097280"/>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33215465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420025742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18578697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24712"/>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4572000" y="0"/>
            <a:ext cx="4572000" cy="5143500"/>
          </a:xfrm>
        </p:spPr>
        <p:txBody>
          <a:bodyPr/>
          <a:lstStyle/>
          <a:p>
            <a:r>
              <a:rPr lang="en-US"/>
              <a:t>Click icon to add picture</a:t>
            </a:r>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35373048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2"/>
          </p:nvPr>
        </p:nvSpPr>
        <p:spPr>
          <a:xfrm>
            <a:off x="228600" y="1097280"/>
            <a:ext cx="1828800" cy="3502152"/>
          </a:xfrm>
        </p:spPr>
        <p:txBody>
          <a:bodyPr/>
          <a:lstStyle>
            <a:lvl1pPr>
              <a:defRPr sz="1600"/>
            </a:lvl1pPr>
            <a:lvl2pPr>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2514600" y="1116013"/>
            <a:ext cx="1828800" cy="3456432"/>
          </a:xfrm>
        </p:spPr>
        <p:txBody>
          <a:bodyPr/>
          <a:lstStyle>
            <a:lvl1pPr>
              <a:defRPr sz="1400"/>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4700392" y="1051560"/>
            <a:ext cx="4215008" cy="3456432"/>
          </a:xfrm>
        </p:spPr>
        <p:txBody>
          <a:bodyPr/>
          <a:lstStyle>
            <a:lvl1pPr marL="117475" indent="-117475">
              <a:tabLst/>
              <a:defRPr sz="2400"/>
            </a:lvl1pPr>
            <a:lvl2pPr marL="0" indent="0">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207698652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228600" y="192024"/>
            <a:ext cx="1828800" cy="440899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2514600" y="225425"/>
            <a:ext cx="6400800" cy="4597400"/>
          </a:xfrm>
        </p:spPr>
        <p:txBody>
          <a:bodyPr/>
          <a:lstStyle/>
          <a:p>
            <a:r>
              <a:rPr lang="en-US"/>
              <a:t>Click icon to add table</a:t>
            </a:r>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9346508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pic>
        <p:nvPicPr>
          <p:cNvPr id="6" name="Pictur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93812" y="4692553"/>
            <a:ext cx="521589" cy="208108"/>
          </a:xfrm>
          <a:prstGeom prst="rect">
            <a:avLst/>
          </a:prstGeom>
        </p:spPr>
      </p:pic>
    </p:spTree>
    <p:extLst>
      <p:ext uri="{BB962C8B-B14F-4D97-AF65-F5344CB8AC3E}">
        <p14:creationId xmlns:p14="http://schemas.microsoft.com/office/powerpoint/2010/main" val="135346879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184268147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058958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2">
            <a:lumMod val="1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43000"/>
            <a:ext cx="4114800" cy="3584448"/>
          </a:xfrm>
        </p:spPr>
        <p:txBody>
          <a:bodyPr/>
          <a:lstStyle>
            <a:lvl1pPr marL="0" indent="0">
              <a:spcBef>
                <a:spcPts val="0"/>
              </a:spcBef>
              <a:tabLst>
                <a:tab pos="3940175" algn="dec"/>
              </a:tabLst>
              <a:defRPr sz="1100"/>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Edit Master text styles</a:t>
            </a:r>
          </a:p>
        </p:txBody>
      </p:sp>
      <p:sp>
        <p:nvSpPr>
          <p:cNvPr id="7"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spTree>
    <p:extLst>
      <p:ext uri="{BB962C8B-B14F-4D97-AF65-F5344CB8AC3E}">
        <p14:creationId xmlns:p14="http://schemas.microsoft.com/office/powerpoint/2010/main" val="351075494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r>
              <a:rPr lang="en-US"/>
              <a:t>IBM Watson IoT / © 2018 IBM Corporation</a:t>
            </a:r>
            <a:endParaRPr lang="en-US" dirty="0"/>
          </a:p>
        </p:txBody>
      </p:sp>
      <p:pic>
        <p:nvPicPr>
          <p:cNvPr id="6" name="Picture 5">
            <a:extLst>
              <a:ext uri="{FF2B5EF4-FFF2-40B4-BE49-F238E27FC236}">
                <a16:creationId xmlns:a16="http://schemas.microsoft.com/office/drawing/2014/main" id="{9C3F8E0F-C873-1F49-B920-2B2212E0D459}"/>
              </a:ext>
            </a:extLst>
          </p:cNvPr>
          <p:cNvPicPr>
            <a:picLocks noChangeAspect="1"/>
          </p:cNvPicPr>
          <p:nvPr userDrawn="1"/>
        </p:nvPicPr>
        <p:blipFill>
          <a:blip r:embed="rId2"/>
          <a:stretch>
            <a:fillRect/>
          </a:stretch>
        </p:blipFill>
        <p:spPr>
          <a:xfrm>
            <a:off x="2977521" y="1806255"/>
            <a:ext cx="3194311" cy="1188720"/>
          </a:xfrm>
          <a:prstGeom prst="rect">
            <a:avLst/>
          </a:prstGeom>
        </p:spPr>
      </p:pic>
    </p:spTree>
    <p:extLst>
      <p:ext uri="{BB962C8B-B14F-4D97-AF65-F5344CB8AC3E}">
        <p14:creationId xmlns:p14="http://schemas.microsoft.com/office/powerpoint/2010/main" val="217500407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3-9_Title and Content">
    <p:spTree>
      <p:nvGrpSpPr>
        <p:cNvPr id="1" name=""/>
        <p:cNvGrpSpPr/>
        <p:nvPr/>
      </p:nvGrpSpPr>
      <p:grpSpPr>
        <a:xfrm>
          <a:off x="0" y="0"/>
          <a:ext cx="0" cy="0"/>
          <a:chOff x="0" y="0"/>
          <a:chExt cx="0" cy="0"/>
        </a:xfrm>
      </p:grpSpPr>
      <p:sp>
        <p:nvSpPr>
          <p:cNvPr id="4" name="Rectangle 3"/>
          <p:cNvSpPr/>
          <p:nvPr userDrawn="1"/>
        </p:nvSpPr>
        <p:spPr>
          <a:xfrm flipH="1">
            <a:off x="0" y="0"/>
            <a:ext cx="2286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844" b="0" i="0" dirty="0">
              <a:latin typeface="Arial Regular" charset="0"/>
            </a:endParaRPr>
          </a:p>
        </p:txBody>
      </p:sp>
      <p:sp>
        <p:nvSpPr>
          <p:cNvPr id="2" name="Title 1"/>
          <p:cNvSpPr>
            <a:spLocks noGrp="1"/>
          </p:cNvSpPr>
          <p:nvPr>
            <p:ph type="title"/>
          </p:nvPr>
        </p:nvSpPr>
        <p:spPr>
          <a:xfrm>
            <a:off x="285750" y="1285875"/>
            <a:ext cx="1857375" cy="2286000"/>
          </a:xfrm>
        </p:spPr>
        <p:txBody>
          <a:bodyPr tIns="228600">
            <a:noAutofit/>
          </a:bodyPr>
          <a:lstStyle>
            <a:lvl1pPr>
              <a:defRPr>
                <a:solidFill>
                  <a:schemeClr val="bg2"/>
                </a:solidFill>
              </a:defRPr>
            </a:lvl1pPr>
          </a:lstStyle>
          <a:p>
            <a:r>
              <a:rPr lang="en-US" dirty="0"/>
              <a:t>Click to edit Master title style</a:t>
            </a:r>
          </a:p>
        </p:txBody>
      </p:sp>
      <p:sp>
        <p:nvSpPr>
          <p:cNvPr id="5" name="Text Placeholder 4"/>
          <p:cNvSpPr>
            <a:spLocks noGrp="1"/>
          </p:cNvSpPr>
          <p:nvPr>
            <p:ph type="body" sz="quarter" idx="11"/>
          </p:nvPr>
        </p:nvSpPr>
        <p:spPr>
          <a:xfrm>
            <a:off x="285750" y="165735"/>
            <a:ext cx="1857375" cy="514350"/>
          </a:xfrm>
        </p:spPr>
        <p:txBody>
          <a:bodyPr lIns="0" tIns="0" rIns="0">
            <a:noAutofit/>
          </a:bodyPr>
          <a:lstStyle>
            <a:lvl1pPr>
              <a:defRPr sz="1000">
                <a:solidFill>
                  <a:schemeClr val="accent1"/>
                </a:solidFill>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11" name="Content Placeholder 2"/>
          <p:cNvSpPr>
            <a:spLocks noGrp="1"/>
          </p:cNvSpPr>
          <p:nvPr>
            <p:ph idx="13"/>
          </p:nvPr>
        </p:nvSpPr>
        <p:spPr>
          <a:xfrm>
            <a:off x="6858000" y="0"/>
            <a:ext cx="2286000" cy="5143500"/>
          </a:xfrm>
        </p:spPr>
        <p:txBody>
          <a:bodyPr lIns="228600" tIns="2057400" rIns="9144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dirty="0"/>
          </a:p>
        </p:txBody>
      </p:sp>
      <p:sp>
        <p:nvSpPr>
          <p:cNvPr id="17" name="Text Placeholder 23"/>
          <p:cNvSpPr>
            <a:spLocks noGrp="1"/>
          </p:cNvSpPr>
          <p:nvPr>
            <p:ph type="body" sz="quarter" idx="15" hasCustomPrompt="1"/>
          </p:nvPr>
        </p:nvSpPr>
        <p:spPr>
          <a:xfrm>
            <a:off x="285750" y="4572000"/>
            <a:ext cx="1885951" cy="302895"/>
          </a:xfrm>
        </p:spPr>
        <p:txBody>
          <a:bodyPr vert="horz" lIns="0" tIns="0" rIns="0" bIns="0" rtlCol="0" anchor="b">
            <a:noAutofit/>
          </a:bodyPr>
          <a:lstStyle>
            <a:lvl1pPr>
              <a:defRPr lang="en-US" sz="500" dirty="0" smtClean="0">
                <a:solidFill>
                  <a:schemeClr val="tx1">
                    <a:alpha val="70000"/>
                  </a:schemeClr>
                </a:solidFill>
              </a:defRPr>
            </a:lvl1pPr>
          </a:lstStyle>
          <a:p>
            <a:pPr lvl="0"/>
            <a:r>
              <a:rPr lang="en-US" dirty="0"/>
              <a:t>Source: Edit source here</a:t>
            </a:r>
          </a:p>
        </p:txBody>
      </p:sp>
      <p:grpSp>
        <p:nvGrpSpPr>
          <p:cNvPr id="13" name="Group 12"/>
          <p:cNvGrpSpPr/>
          <p:nvPr userDrawn="1"/>
        </p:nvGrpSpPr>
        <p:grpSpPr>
          <a:xfrm>
            <a:off x="571500" y="4937285"/>
            <a:ext cx="1695844" cy="137857"/>
            <a:chOff x="914400" y="7899655"/>
            <a:chExt cx="2713350" cy="220571"/>
          </a:xfrm>
        </p:grpSpPr>
        <p:sp>
          <p:nvSpPr>
            <p:cNvPr id="14" name="Footer Placeholder 3"/>
            <p:cNvSpPr txBox="1">
              <a:spLocks/>
            </p:cNvSpPr>
            <p:nvPr userDrawn="1"/>
          </p:nvSpPr>
          <p:spPr>
            <a:xfrm>
              <a:off x="914400" y="7900416"/>
              <a:ext cx="2284416" cy="219051"/>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499" b="0" i="0" dirty="0">
                  <a:solidFill>
                    <a:schemeClr val="bg2"/>
                  </a:solidFill>
                  <a:latin typeface="IBM Plex Sans" charset="0"/>
                  <a:ea typeface="IBM Plex Sans" charset="0"/>
                  <a:cs typeface="IBM Plex Sans" charset="0"/>
                </a:rPr>
                <a:t>©</a:t>
              </a:r>
              <a:r>
                <a:rPr lang="en-US" sz="250" b="0" i="0" dirty="0">
                  <a:solidFill>
                    <a:schemeClr val="bg2"/>
                  </a:solidFill>
                  <a:latin typeface="IBM Plex Sans" charset="0"/>
                  <a:ea typeface="IBM Plex Sans" charset="0"/>
                  <a:cs typeface="IBM Plex Sans" charset="0"/>
                </a:rPr>
                <a:t> </a:t>
              </a:r>
              <a:r>
                <a:rPr lang="en-US" sz="499" b="0" i="0" dirty="0">
                  <a:solidFill>
                    <a:schemeClr val="bg2"/>
                  </a:solidFill>
                  <a:latin typeface="IBM Plex Sans" charset="0"/>
                  <a:ea typeface="IBM Plex Sans" charset="0"/>
                  <a:cs typeface="IBM Plex Sans" charset="0"/>
                </a:rPr>
                <a:t>2018 IBM Corporation</a:t>
              </a:r>
              <a:r>
                <a:rPr lang="en-US" sz="499" b="0" i="0" baseline="0" dirty="0">
                  <a:solidFill>
                    <a:schemeClr val="bg2"/>
                  </a:solidFill>
                  <a:latin typeface="IBM Plex Sans" charset="0"/>
                  <a:ea typeface="IBM Plex Sans" charset="0"/>
                  <a:cs typeface="IBM Plex Sans" charset="0"/>
                </a:rPr>
                <a:t>              </a:t>
              </a:r>
              <a:r>
                <a:rPr lang="en-US" sz="499" b="0" i="0" dirty="0">
                  <a:solidFill>
                    <a:schemeClr val="bg2"/>
                  </a:solidFill>
                  <a:latin typeface="IBM Plex Sans" charset="0"/>
                  <a:ea typeface="IBM Plex Sans" charset="0"/>
                  <a:cs typeface="IBM Plex Sans" charset="0"/>
                </a:rPr>
                <a:t> </a:t>
              </a:r>
            </a:p>
          </p:txBody>
        </p:sp>
        <p:sp>
          <p:nvSpPr>
            <p:cNvPr id="16" name="Date Placeholder 2"/>
            <p:cNvSpPr txBox="1">
              <a:spLocks/>
            </p:cNvSpPr>
            <p:nvPr userDrawn="1"/>
          </p:nvSpPr>
          <p:spPr>
            <a:xfrm>
              <a:off x="2256150" y="7899655"/>
              <a:ext cx="1371600" cy="220571"/>
            </a:xfrm>
            <a:prstGeom prst="rect">
              <a:avLst/>
            </a:prstGeom>
          </p:spPr>
          <p:txBody>
            <a:bodyPr lIns="0" tIns="0" rIns="0" bIns="0" anchor="ct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fontAlgn="auto">
                <a:spcBef>
                  <a:spcPts val="0"/>
                </a:spcBef>
                <a:spcAft>
                  <a:spcPts val="0"/>
                </a:spcAft>
                <a:tabLst/>
                <a:defRPr/>
              </a:pPr>
              <a:r>
                <a:rPr lang="en-US" sz="499" b="0" i="0" dirty="0">
                  <a:solidFill>
                    <a:schemeClr val="bg2"/>
                  </a:solidFill>
                  <a:latin typeface="IBM Plex Sans" charset="0"/>
                  <a:ea typeface="IBM Plex Sans" charset="0"/>
                  <a:cs typeface="IBM Plex Sans" charset="0"/>
                </a:rPr>
                <a:t> </a:t>
              </a:r>
              <a:fld id="{7C9968D1-C8E5-4FE3-AED4-7D4518C301B3}" type="datetime3">
                <a:rPr lang="en-US" sz="499" b="0" i="0" smtClean="0">
                  <a:solidFill>
                    <a:schemeClr val="bg2"/>
                  </a:solidFill>
                  <a:latin typeface="IBM Plex Sans" charset="0"/>
                  <a:ea typeface="IBM Plex Sans" charset="0"/>
                  <a:cs typeface="IBM Plex Sans" charset="0"/>
                </a:rPr>
                <a:pPr marL="0" indent="0" fontAlgn="auto">
                  <a:spcBef>
                    <a:spcPts val="0"/>
                  </a:spcBef>
                  <a:spcAft>
                    <a:spcPts val="0"/>
                  </a:spcAft>
                  <a:tabLst/>
                  <a:defRPr/>
                </a:pPr>
                <a:t>24 June 2020</a:t>
              </a:fld>
              <a:endParaRPr lang="en-US" sz="499" b="0" i="0" dirty="0">
                <a:solidFill>
                  <a:schemeClr val="bg2"/>
                </a:solidFill>
                <a:latin typeface="IBM Plex Sans" charset="0"/>
                <a:ea typeface="IBM Plex Sans" charset="0"/>
                <a:cs typeface="IBM Plex Sans" charset="0"/>
              </a:endParaRPr>
            </a:p>
          </p:txBody>
        </p:sp>
      </p:grpSp>
      <p:sp>
        <p:nvSpPr>
          <p:cNvPr id="18" name="Slide Number Placeholder 2"/>
          <p:cNvSpPr txBox="1">
            <a:spLocks/>
          </p:cNvSpPr>
          <p:nvPr userDrawn="1"/>
        </p:nvSpPr>
        <p:spPr>
          <a:xfrm>
            <a:off x="284287" y="4933620"/>
            <a:ext cx="204924"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500" b="0" i="0" smtClean="0">
                <a:solidFill>
                  <a:schemeClr val="bg2"/>
                </a:solidFill>
                <a:latin typeface="IBM Plex Sans" charset="0"/>
                <a:ea typeface="IBM Plex Sans" charset="0"/>
                <a:cs typeface="IBM Plex Sans" charset="0"/>
              </a:rPr>
              <a:pPr algn="l"/>
              <a:t>‹#›</a:t>
            </a:fld>
            <a:endParaRPr lang="en-US" sz="500" b="0" i="0" dirty="0">
              <a:solidFill>
                <a:schemeClr val="bg2"/>
              </a:solidFill>
              <a:latin typeface="IBM Plex Sans" charset="0"/>
              <a:ea typeface="IBM Plex Sans" charset="0"/>
              <a:cs typeface="IBM Plex Sans" charset="0"/>
            </a:endParaRPr>
          </a:p>
        </p:txBody>
      </p:sp>
      <p:sp>
        <p:nvSpPr>
          <p:cNvPr id="19" name="Content Placeholder 2"/>
          <p:cNvSpPr>
            <a:spLocks noGrp="1"/>
          </p:cNvSpPr>
          <p:nvPr>
            <p:ph idx="10"/>
          </p:nvPr>
        </p:nvSpPr>
        <p:spPr>
          <a:xfrm>
            <a:off x="466725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20" name="Content Placeholder 2"/>
          <p:cNvSpPr>
            <a:spLocks noGrp="1"/>
          </p:cNvSpPr>
          <p:nvPr>
            <p:ph idx="12"/>
          </p:nvPr>
        </p:nvSpPr>
        <p:spPr>
          <a:xfrm>
            <a:off x="24765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Tree>
    <p:extLst>
      <p:ext uri="{BB962C8B-B14F-4D97-AF65-F5344CB8AC3E}">
        <p14:creationId xmlns:p14="http://schemas.microsoft.com/office/powerpoint/2010/main" val="78375148"/>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2286000" y="0"/>
            <a:ext cx="6858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7150" tIns="28575" rIns="57150" bIns="28575" numCol="1" spcCol="0" rtlCol="0" fromWordArt="0" anchor="ctr" anchorCtr="0" forceAA="0" compatLnSpc="1">
            <a:prstTxWarp prst="textNoShape">
              <a:avLst/>
            </a:prstTxWarp>
            <a:noAutofit/>
          </a:bodyPr>
          <a:lstStyle/>
          <a:p>
            <a:pPr algn="ctr"/>
            <a:endParaRPr lang="en-US" sz="1125" b="0" i="0" dirty="0">
              <a:latin typeface="Arial Regular" charset="0"/>
            </a:endParaRPr>
          </a:p>
        </p:txBody>
      </p:sp>
      <p:sp>
        <p:nvSpPr>
          <p:cNvPr id="2" name="Title 1"/>
          <p:cNvSpPr>
            <a:spLocks noGrp="1"/>
          </p:cNvSpPr>
          <p:nvPr>
            <p:ph type="title"/>
          </p:nvPr>
        </p:nvSpPr>
        <p:spPr>
          <a:xfrm>
            <a:off x="285750" y="1285875"/>
            <a:ext cx="1857375" cy="2286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285750" y="165735"/>
            <a:ext cx="1857375" cy="514350"/>
          </a:xfrm>
        </p:spPr>
        <p:txBody>
          <a:bodyPr lIns="0" tIns="0" rIns="0">
            <a:noAutofit/>
          </a:bodyPr>
          <a:lstStyle>
            <a:lvl1pPr>
              <a:defRPr sz="1000">
                <a:solidFill>
                  <a:schemeClr val="accent1"/>
                </a:solidFill>
              </a:defRPr>
            </a:lvl1pPr>
            <a:lvl2pPr>
              <a:defRPr sz="1000">
                <a:solidFill>
                  <a:schemeClr val="accent1"/>
                </a:solidFill>
              </a:defRPr>
            </a:lvl2pPr>
            <a:lvl3pPr>
              <a:defRPr sz="1000">
                <a:solidFill>
                  <a:schemeClr val="accent1"/>
                </a:solidFill>
              </a:defRPr>
            </a:lvl3pPr>
            <a:lvl4pPr>
              <a:defRPr sz="1000">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285750" y="4572000"/>
            <a:ext cx="1885951" cy="302895"/>
          </a:xfrm>
        </p:spPr>
        <p:txBody>
          <a:bodyPr vert="horz" lIns="0" tIns="0" rIns="0" bIns="0" rtlCol="0" anchor="b">
            <a:noAutofit/>
          </a:bodyPr>
          <a:lstStyle>
            <a:lvl1pPr>
              <a:defRPr lang="en-US" sz="500"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2428875" y="4937761"/>
            <a:ext cx="1427760" cy="136907"/>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500" b="0" i="0" dirty="0">
                <a:solidFill>
                  <a:schemeClr val="bg2">
                    <a:alpha val="60000"/>
                  </a:schemeClr>
                </a:solidFill>
                <a:latin typeface="IBM Plex Sans" charset="0"/>
                <a:ea typeface="IBM Plex Sans" charset="0"/>
                <a:cs typeface="IBM Plex Sans" charset="0"/>
              </a:rPr>
              <a:t>IBM Services</a:t>
            </a:r>
          </a:p>
        </p:txBody>
      </p:sp>
      <p:sp>
        <p:nvSpPr>
          <p:cNvPr id="9" name="Content Placeholder 2"/>
          <p:cNvSpPr>
            <a:spLocks noGrp="1"/>
          </p:cNvSpPr>
          <p:nvPr>
            <p:ph idx="10"/>
          </p:nvPr>
        </p:nvSpPr>
        <p:spPr>
          <a:xfrm>
            <a:off x="466725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0" name="Content Placeholder 2"/>
          <p:cNvSpPr>
            <a:spLocks noGrp="1"/>
          </p:cNvSpPr>
          <p:nvPr>
            <p:ph idx="12"/>
          </p:nvPr>
        </p:nvSpPr>
        <p:spPr>
          <a:xfrm>
            <a:off x="24765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sp>
        <p:nvSpPr>
          <p:cNvPr id="11" name="Content Placeholder 2"/>
          <p:cNvSpPr>
            <a:spLocks noGrp="1"/>
          </p:cNvSpPr>
          <p:nvPr>
            <p:ph idx="13"/>
          </p:nvPr>
        </p:nvSpPr>
        <p:spPr>
          <a:xfrm>
            <a:off x="6858000" y="1285875"/>
            <a:ext cx="2000250" cy="3286125"/>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04265" y="4886335"/>
            <a:ext cx="353824" cy="142876"/>
          </a:xfrm>
          <a:prstGeom prst="rect">
            <a:avLst/>
          </a:prstGeom>
        </p:spPr>
      </p:pic>
    </p:spTree>
    <p:extLst>
      <p:ext uri="{BB962C8B-B14F-4D97-AF65-F5344CB8AC3E}">
        <p14:creationId xmlns:p14="http://schemas.microsoft.com/office/powerpoint/2010/main" val="14365822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621044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425772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a:lvl1pPr>
          </a:lstStyle>
          <a:p>
            <a:pPr lvl="0"/>
            <a:r>
              <a:rPr lang="en-US"/>
              <a:t>Click to edit Master text styles</a:t>
            </a:r>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294239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a:lvl1pPr>
          </a:lstStyle>
          <a:p>
            <a:pPr lvl="0"/>
            <a:r>
              <a:rPr lang="en-US"/>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a:t>Click icon to add pictur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40106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1"/>
            </a:lvl1p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644456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2472375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756421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7" y="1243584"/>
            <a:ext cx="4123876"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011732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B59037D-4928-9140-B226-F9BEC1D37A99}"/>
              </a:ext>
            </a:extLst>
          </p:cNvPr>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a:extLst>
              <a:ext uri="{FF2B5EF4-FFF2-40B4-BE49-F238E27FC236}">
                <a16:creationId xmlns:a16="http://schemas.microsoft.com/office/drawing/2014/main" id="{0E089D61-8552-7C47-AFCC-0DA3CBA83F0F}"/>
              </a:ext>
            </a:extLst>
          </p:cNvPr>
          <p:cNvSpPr>
            <a:spLocks noGrp="1"/>
          </p:cNvSpPr>
          <p:nvPr>
            <p:ph type="ftr" sz="quarter" idx="11"/>
          </p:nvPr>
        </p:nvSpPr>
        <p:spPr/>
        <p:txBody>
          <a:bodyPr/>
          <a:lstStyle/>
          <a:p>
            <a:r>
              <a:rPr lang="pt-BR" dirty="0"/>
              <a:t>IBM Maximo / © 2020 IBM Corporation</a:t>
            </a:r>
            <a:endParaRPr lang="en-US" dirty="0"/>
          </a:p>
        </p:txBody>
      </p:sp>
      <p:sp>
        <p:nvSpPr>
          <p:cNvPr id="5" name="Title 1">
            <a:extLst>
              <a:ext uri="{FF2B5EF4-FFF2-40B4-BE49-F238E27FC236}">
                <a16:creationId xmlns:a16="http://schemas.microsoft.com/office/drawing/2014/main" id="{DC9898F7-AED9-394B-AB80-EE933BFD8C3E}"/>
              </a:ext>
            </a:extLst>
          </p:cNvPr>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6" name="Text Placeholder 7">
            <a:extLst>
              <a:ext uri="{FF2B5EF4-FFF2-40B4-BE49-F238E27FC236}">
                <a16:creationId xmlns:a16="http://schemas.microsoft.com/office/drawing/2014/main" id="{E646F2BF-5278-2C4C-B245-6B3A8AC43152}"/>
              </a:ext>
            </a:extLst>
          </p:cNvPr>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a:extLst>
              <a:ext uri="{FF2B5EF4-FFF2-40B4-BE49-F238E27FC236}">
                <a16:creationId xmlns:a16="http://schemas.microsoft.com/office/drawing/2014/main" id="{8F4BA69D-55CE-E446-8ABD-745656983210}"/>
              </a:ext>
            </a:extLst>
          </p:cNvPr>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94209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7814313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353177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3225673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859331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p>
            <a:r>
              <a:rPr lang="en-US"/>
              <a:t>Click to edit Master title style</a:t>
            </a:r>
            <a:endParaRPr lang="en-US" dirty="0"/>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b="0" i="0" dirty="0">
              <a:solidFill>
                <a:srgbClr val="FFFFFF"/>
              </a:solidFill>
              <a:latin typeface="IBM Plex Sans" panose="020B0503050203000203" pitchFamily="34" charset="0"/>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659296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6067482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11911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9467146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888010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2570163"/>
            <a:ext cx="4572000" cy="2573337"/>
          </a:xfrm>
          <a:solidFill>
            <a:schemeClr val="tx1"/>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8436756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B5D7F-E1EC-2544-8967-E2B183DBD38D}"/>
              </a:ext>
            </a:extLst>
          </p:cNvPr>
          <p:cNvSpPr>
            <a:spLocks noGrp="1"/>
          </p:cNvSpPr>
          <p:nvPr>
            <p:ph type="title"/>
          </p:nvPr>
        </p:nvSpPr>
        <p:spPr>
          <a:xfrm>
            <a:off x="228600" y="201168"/>
            <a:ext cx="8686800" cy="616979"/>
          </a:xfrm>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id="{94826DD9-84E8-E048-BED5-4DFCECD3B0FF}"/>
              </a:ext>
            </a:extLst>
          </p:cNvPr>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a:extLst>
              <a:ext uri="{FF2B5EF4-FFF2-40B4-BE49-F238E27FC236}">
                <a16:creationId xmlns:a16="http://schemas.microsoft.com/office/drawing/2014/main" id="{29E8209D-5D66-2146-BB98-3859A7E331ED}"/>
              </a:ext>
            </a:extLst>
          </p:cNvPr>
          <p:cNvSpPr>
            <a:spLocks noGrp="1"/>
          </p:cNvSpPr>
          <p:nvPr>
            <p:ph type="ftr" sz="quarter" idx="11"/>
          </p:nvPr>
        </p:nvSpPr>
        <p:spPr/>
        <p:txBody>
          <a:bodyPr/>
          <a:lstStyle/>
          <a:p>
            <a:r>
              <a:rPr lang="pt-BR" dirty="0"/>
              <a:t>IBM Maximo / © 2020 IBM Corporation</a:t>
            </a:r>
            <a:endParaRPr lang="en-US" dirty="0"/>
          </a:p>
        </p:txBody>
      </p:sp>
      <p:sp>
        <p:nvSpPr>
          <p:cNvPr id="5" name="Text Placeholder 5">
            <a:extLst>
              <a:ext uri="{FF2B5EF4-FFF2-40B4-BE49-F238E27FC236}">
                <a16:creationId xmlns:a16="http://schemas.microsoft.com/office/drawing/2014/main" id="{068B53F9-40BA-084C-A9E5-58D6FA1F7D5B}"/>
              </a:ext>
            </a:extLst>
          </p:cNvPr>
          <p:cNvSpPr>
            <a:spLocks noGrp="1"/>
          </p:cNvSpPr>
          <p:nvPr>
            <p:ph type="body" sz="quarter" idx="12"/>
          </p:nvPr>
        </p:nvSpPr>
        <p:spPr>
          <a:xfrm>
            <a:off x="4800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6">
            <a:extLst>
              <a:ext uri="{FF2B5EF4-FFF2-40B4-BE49-F238E27FC236}">
                <a16:creationId xmlns:a16="http://schemas.microsoft.com/office/drawing/2014/main" id="{5E5183B3-8D59-C946-98CE-C719455C40DA}"/>
              </a:ext>
            </a:extLst>
          </p:cNvPr>
          <p:cNvSpPr>
            <a:spLocks noGrp="1"/>
          </p:cNvSpPr>
          <p:nvPr>
            <p:ph type="body" sz="quarter" idx="14"/>
          </p:nvPr>
        </p:nvSpPr>
        <p:spPr>
          <a:xfrm>
            <a:off x="228600" y="1093469"/>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7">
            <a:extLst>
              <a:ext uri="{FF2B5EF4-FFF2-40B4-BE49-F238E27FC236}">
                <a16:creationId xmlns:a16="http://schemas.microsoft.com/office/drawing/2014/main" id="{0FE279AC-B507-754E-A150-C18E400E56F1}"/>
              </a:ext>
            </a:extLst>
          </p:cNvPr>
          <p:cNvSpPr>
            <a:spLocks noGrp="1"/>
          </p:cNvSpPr>
          <p:nvPr>
            <p:ph type="body" sz="quarter" idx="15"/>
          </p:nvPr>
        </p:nvSpPr>
        <p:spPr>
          <a:xfrm>
            <a:off x="2514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9">
            <a:extLst>
              <a:ext uri="{FF2B5EF4-FFF2-40B4-BE49-F238E27FC236}">
                <a16:creationId xmlns:a16="http://schemas.microsoft.com/office/drawing/2014/main" id="{A225C0E6-6835-2943-80C3-60453A7DA2C5}"/>
              </a:ext>
            </a:extLst>
          </p:cNvPr>
          <p:cNvSpPr>
            <a:spLocks noGrp="1"/>
          </p:cNvSpPr>
          <p:nvPr>
            <p:ph type="body" sz="quarter" idx="16"/>
          </p:nvPr>
        </p:nvSpPr>
        <p:spPr>
          <a:xfrm>
            <a:off x="7086600" y="1093469"/>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40802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4800"/>
            </a:lvl1pPr>
          </a:lstStyle>
          <a:p>
            <a:r>
              <a:rPr lang="en-US"/>
              <a:t>Click to edit Master title style</a:t>
            </a:r>
            <a:endParaRPr lang="en-US" dirty="0"/>
          </a:p>
        </p:txBody>
      </p:sp>
      <p:sp>
        <p:nvSpPr>
          <p:cNvPr id="13" name="Content Placeholder 1"/>
          <p:cNvSpPr>
            <a:spLocks noGrp="1"/>
          </p:cNvSpPr>
          <p:nvPr>
            <p:ph sz="quarter" idx="20"/>
          </p:nvPr>
        </p:nvSpPr>
        <p:spPr>
          <a:xfrm>
            <a:off x="0" y="2570163"/>
            <a:ext cx="2286000" cy="2573337"/>
          </a:xfrm>
          <a:solidFill>
            <a:srgbClr val="061F80"/>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2286001" y="2570163"/>
            <a:ext cx="2286000" cy="2573337"/>
          </a:xfrm>
          <a:solidFill>
            <a:srgbClr val="054ADA"/>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solidFill>
            <a:schemeClr val="accent2"/>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6858000" y="2570162"/>
            <a:ext cx="2286000" cy="2573338"/>
          </a:xfrm>
          <a:solidFill>
            <a:srgbClr val="6EA6FF"/>
          </a:solidFill>
          <a:ln>
            <a:noFill/>
          </a:ln>
        </p:spPr>
        <p:txBody>
          <a:bodyPr lIns="219456" tIns="201168" rIns="228600" bIns="228600"/>
          <a:lstStyle>
            <a:lvl1pPr>
              <a:defRPr>
                <a:solidFill>
                  <a:schemeClr val="tx1"/>
                </a:solidFill>
              </a:defRPr>
            </a:lvl1pPr>
          </a:lstStyle>
          <a:p>
            <a:pPr lvl="0"/>
            <a:r>
              <a:rPr lang="en-US"/>
              <a:t>Click to edit Master text styles</a:t>
            </a:r>
          </a:p>
        </p:txBody>
      </p:sp>
      <p:sp>
        <p:nvSpPr>
          <p:cNvPr id="3" name="Footer Placeholder"/>
          <p:cNvSpPr>
            <a:spLocks noGrp="1"/>
          </p:cNvSpPr>
          <p:nvPr>
            <p:ph type="ftr" sz="quarter" idx="10"/>
          </p:nvPr>
        </p:nvSpPr>
        <p:spPr/>
        <p:txBody>
          <a:bodyPr/>
          <a:lstStyle>
            <a:lvl1pPr>
              <a:defRPr>
                <a:solidFill>
                  <a:schemeClr val="bg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tx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558288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2"/>
          </a:solidFill>
        </p:spPr>
        <p:txBody>
          <a:bodyPr lIns="210312" tIns="201168" rIns="228600" bIns="228600"/>
          <a:lstStyle>
            <a:lvl1pPr>
              <a:defRPr>
                <a:solidFill>
                  <a:schemeClr val="tx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689611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a:t>Click icon to add picture</a:t>
            </a:r>
            <a:endParaRPr lang="en-US" dirty="0"/>
          </a:p>
        </p:txBody>
      </p:sp>
      <p:sp>
        <p:nvSpPr>
          <p:cNvPr id="6" name="Text Placeholder"/>
          <p:cNvSpPr>
            <a:spLocks noGrp="1"/>
          </p:cNvSpPr>
          <p:nvPr>
            <p:ph type="body" sz="quarter" idx="12"/>
          </p:nvPr>
        </p:nvSpPr>
        <p:spPr>
          <a:xfrm>
            <a:off x="-3" y="2571750"/>
            <a:ext cx="2286003" cy="2571750"/>
          </a:xfrm>
          <a:solidFill>
            <a:schemeClr val="tx2"/>
          </a:solidFill>
        </p:spPr>
        <p:txBody>
          <a:bodyPr lIns="219456" tIns="201168" rIns="228600" bIns="228600"/>
          <a:lstStyle>
            <a:lvl1pPr>
              <a:buClr>
                <a:schemeClr val="tx1"/>
              </a:buClr>
              <a:defRPr>
                <a:solidFill>
                  <a:schemeClr val="tx1"/>
                </a:solidFill>
              </a:defRPr>
            </a:lvl1pPr>
            <a:lvl2pPr>
              <a:buClr>
                <a:schemeClr val="tx1"/>
              </a:buClr>
              <a:defRPr sz="1000">
                <a:solidFill>
                  <a:schemeClr val="tx1"/>
                </a:solidFill>
              </a:defRPr>
            </a:lvl2pPr>
            <a:lvl3pPr>
              <a:buClr>
                <a:schemeClr val="tx1"/>
              </a:buClr>
              <a:defRPr sz="1000">
                <a:solidFill>
                  <a:schemeClr val="tx1"/>
                </a:solidFill>
              </a:defRPr>
            </a:lvl3pPr>
            <a:lvl4pPr>
              <a:buClr>
                <a:schemeClr val="tx1"/>
              </a:buClr>
              <a:defRPr sz="1000">
                <a:solidFill>
                  <a:schemeClr val="tx1"/>
                </a:solidFill>
              </a:defRPr>
            </a:lvl4pPr>
            <a:lvl5pPr>
              <a:buClr>
                <a:schemeClr val="tx1"/>
              </a:buCl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70577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chemeClr val="accent2"/>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54ADA"/>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rgbClr val="0530AD"/>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061F80"/>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lvl1pPr>
              <a:defRPr>
                <a:solidFill>
                  <a:schemeClr val="bg1"/>
                </a:solidFill>
              </a:defRPr>
            </a:lvl1pPr>
          </a:lstStyle>
          <a:p>
            <a:endParaRPr lang="en-US" dirty="0"/>
          </a:p>
        </p:txBody>
      </p:sp>
      <p:sp>
        <p:nvSpPr>
          <p:cNvPr id="4" name="Slide Number Placeholder"/>
          <p:cNvSpPr>
            <a:spLocks noGrp="1"/>
          </p:cNvSpPr>
          <p:nvPr>
            <p:ph type="sldNum" sz="quarter" idx="11"/>
          </p:nvPr>
        </p:nvSpPr>
        <p:spPr/>
        <p:txBody>
          <a:bodyPr/>
          <a:lstStyle>
            <a:lvl1pPr>
              <a:defRPr>
                <a:solidFill>
                  <a:schemeClr val="bg1"/>
                </a:solidFill>
              </a:defRPr>
            </a:lvl1p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3419920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15127645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4053700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20692085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0371989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a:t>Click icon to add table</a:t>
            </a:r>
            <a:endParaRPr lang="en-US" dirty="0"/>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193007294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8019623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6"/>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4011527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
        <p:nvSpPr>
          <p:cNvPr id="2" name="Footer Placeholder">
            <a:extLst>
              <a:ext uri="{FF2B5EF4-FFF2-40B4-BE49-F238E27FC236}">
                <a16:creationId xmlns:a16="http://schemas.microsoft.com/office/drawing/2014/main" id="{D9B89433-AD2B-4629-AE31-71F7A761B6D7}"/>
              </a:ext>
            </a:extLst>
          </p:cNvPr>
          <p:cNvSpPr>
            <a:spLocks noGrp="1"/>
          </p:cNvSpPr>
          <p:nvPr>
            <p:ph type="ftr" sz="quarter" idx="10"/>
          </p:nvPr>
        </p:nvSpPr>
        <p:spPr>
          <a:xfrm>
            <a:off x="228666" y="4787900"/>
            <a:ext cx="4114735" cy="166687"/>
          </a:xfrm>
        </p:spPr>
        <p:txBody>
          <a:bodyPr/>
          <a:lstStyle/>
          <a:p>
            <a:endParaRPr lang="en-US" dirty="0"/>
          </a:p>
        </p:txBody>
      </p:sp>
    </p:spTree>
    <p:extLst>
      <p:ext uri="{BB962C8B-B14F-4D97-AF65-F5344CB8AC3E}">
        <p14:creationId xmlns:p14="http://schemas.microsoft.com/office/powerpoint/2010/main" val="11533011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Click to edit Master text styles</a:t>
            </a:r>
          </a:p>
        </p:txBody>
      </p:sp>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557351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ximo sign-off">
    <p:spTree>
      <p:nvGrpSpPr>
        <p:cNvPr id="1" name=""/>
        <p:cNvGrpSpPr/>
        <p:nvPr/>
      </p:nvGrpSpPr>
      <p:grpSpPr>
        <a:xfrm>
          <a:off x="0" y="0"/>
          <a:ext cx="0" cy="0"/>
          <a:chOff x="0" y="0"/>
          <a:chExt cx="0" cy="0"/>
        </a:xfrm>
      </p:grpSpPr>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pic>
        <p:nvPicPr>
          <p:cNvPr id="6" name="Graphic 5">
            <a:extLst>
              <a:ext uri="{FF2B5EF4-FFF2-40B4-BE49-F238E27FC236}">
                <a16:creationId xmlns:a16="http://schemas.microsoft.com/office/drawing/2014/main" id="{8E3C9EF3-00C1-A94C-A277-222CC3EBDE15}"/>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612573" y="1592489"/>
            <a:ext cx="3911800" cy="1617436"/>
          </a:xfrm>
          <a:prstGeom prst="rect">
            <a:avLst/>
          </a:prstGeom>
        </p:spPr>
      </p:pic>
    </p:spTree>
    <p:extLst>
      <p:ext uri="{BB962C8B-B14F-4D97-AF65-F5344CB8AC3E}">
        <p14:creationId xmlns:p14="http://schemas.microsoft.com/office/powerpoint/2010/main" val="26276950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23196" y="2312885"/>
            <a:ext cx="1297608" cy="517732"/>
          </a:xfrm>
          <a:prstGeom prst="rect">
            <a:avLst/>
          </a:prstGeom>
        </p:spPr>
      </p:pic>
      <p:sp>
        <p:nvSpPr>
          <p:cNvPr id="3" name="Footer Placeholder"/>
          <p:cNvSpPr>
            <a:spLocks noGrp="1"/>
          </p:cNvSpPr>
          <p:nvPr>
            <p:ph type="ftr" sz="quarter" idx="10"/>
          </p:nvPr>
        </p:nvSpPr>
        <p:spPr/>
        <p:txBody>
          <a:bodyPr/>
          <a:lstStyle/>
          <a:p>
            <a:endParaRPr lang="en-US" dirty="0"/>
          </a:p>
        </p:txBody>
      </p:sp>
      <p:sp>
        <p:nvSpPr>
          <p:cNvPr id="4" name="Slide Number Placeholder"/>
          <p:cNvSpPr>
            <a:spLocks noGrp="1"/>
          </p:cNvSpPr>
          <p:nvPr>
            <p:ph type="sldNum" sz="quarter" idx="11"/>
          </p:nvPr>
        </p:nvSpPr>
        <p:spPr/>
        <p:txBody>
          <a:bodyPr/>
          <a:lstStyle/>
          <a:p>
            <a:fld id="{59395FB3-9C97-154F-86B2-7E381B951268}" type="slidenum">
              <a:rPr lang="en-US" smtClean="0"/>
              <a:pPr/>
              <a:t>‹#›</a:t>
            </a:fld>
            <a:endParaRPr lang="en-US" dirty="0"/>
          </a:p>
        </p:txBody>
      </p:sp>
    </p:spTree>
    <p:extLst>
      <p:ext uri="{BB962C8B-B14F-4D97-AF65-F5344CB8AC3E}">
        <p14:creationId xmlns:p14="http://schemas.microsoft.com/office/powerpoint/2010/main" val="399104720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bove) + content (1-column)">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1" y="1095310"/>
            <a:ext cx="8541385" cy="3241992"/>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0"/>
          </p:nvPr>
        </p:nvSpPr>
        <p:spPr/>
        <p:txBody>
          <a:bodyPr/>
          <a:lstStyle/>
          <a:p>
            <a:endParaRPr lang="en-US" noProof="0" dirty="0"/>
          </a:p>
        </p:txBody>
      </p:sp>
      <p:sp>
        <p:nvSpPr>
          <p:cNvPr id="7" name="Title 6"/>
          <p:cNvSpPr>
            <a:spLocks noGrp="1"/>
          </p:cNvSpPr>
          <p:nvPr>
            <p:ph type="title"/>
          </p:nvPr>
        </p:nvSpPr>
        <p:spPr>
          <a:xfrm>
            <a:off x="228601" y="173736"/>
            <a:ext cx="4474777" cy="914400"/>
          </a:xfrm>
        </p:spPr>
        <p:txBody>
          <a:bodyPr/>
          <a:lstStyle/>
          <a:p>
            <a:r>
              <a:rPr lang="en-US" noProof="0"/>
              <a:t>Click to edit Master title style</a:t>
            </a:r>
          </a:p>
        </p:txBody>
      </p:sp>
      <p:sp>
        <p:nvSpPr>
          <p:cNvPr id="8" name="Slide Number Placeholder 2">
            <a:extLst>
              <a:ext uri="{FF2B5EF4-FFF2-40B4-BE49-F238E27FC236}">
                <a16:creationId xmlns:a16="http://schemas.microsoft.com/office/drawing/2014/main" id="{5B12F7A9-8431-4FFB-AC4D-9A88858C26DF}"/>
              </a:ext>
            </a:extLst>
          </p:cNvPr>
          <p:cNvSpPr>
            <a:spLocks noGrp="1"/>
          </p:cNvSpPr>
          <p:nvPr>
            <p:ph type="sldNum" sz="quarter" idx="11"/>
          </p:nvPr>
        </p:nvSpPr>
        <p:spPr>
          <a:xfrm>
            <a:off x="6858000" y="4826480"/>
            <a:ext cx="2057400" cy="137160"/>
          </a:xfrm>
        </p:spPr>
        <p:txBody>
          <a:bodyPr/>
          <a:lstStyle/>
          <a:p>
            <a:fld id="{D0BE6F14-FF48-0F4F-A8AA-2E3F25371E4A}" type="slidenum">
              <a:rPr lang="en-US" smtClean="0"/>
              <a:pPr/>
              <a:t>‹#›</a:t>
            </a:fld>
            <a:endParaRPr lang="en-US"/>
          </a:p>
        </p:txBody>
      </p:sp>
      <p:sp>
        <p:nvSpPr>
          <p:cNvPr id="9" name="Footer Placeholder 8">
            <a:extLst>
              <a:ext uri="{FF2B5EF4-FFF2-40B4-BE49-F238E27FC236}">
                <a16:creationId xmlns:a16="http://schemas.microsoft.com/office/drawing/2014/main" id="{24FE048F-B5DB-42A8-9C3B-ACA0FA5F35BC}"/>
              </a:ext>
            </a:extLst>
          </p:cNvPr>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endParaRPr lang="en-US" dirty="0"/>
          </a:p>
        </p:txBody>
      </p:sp>
    </p:spTree>
    <p:extLst>
      <p:ext uri="{BB962C8B-B14F-4D97-AF65-F5344CB8AC3E}">
        <p14:creationId xmlns:p14="http://schemas.microsoft.com/office/powerpoint/2010/main" val="395561366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1_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8"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1"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
        <p:nvSpPr>
          <p:cNvPr id="9"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endParaRPr lang="en-US"/>
          </a:p>
        </p:txBody>
      </p:sp>
    </p:spTree>
    <p:extLst>
      <p:ext uri="{BB962C8B-B14F-4D97-AF65-F5344CB8AC3E}">
        <p14:creationId xmlns:p14="http://schemas.microsoft.com/office/powerpoint/2010/main" val="15913374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03 Title and Content (above)">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097280"/>
            <a:ext cx="8595360" cy="3429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227012" y="179388"/>
            <a:ext cx="5684188" cy="914400"/>
          </a:xfrm>
          <a:solidFill>
            <a:srgbClr val="FFFFFF"/>
          </a:solidFill>
        </p:spPr>
        <p:txBody>
          <a:bodyPr/>
          <a:lstStyle/>
          <a:p>
            <a:r>
              <a:rPr lang="en-US"/>
              <a:t>Click to edit Master title style</a:t>
            </a:r>
            <a:endParaRPr lang="en-US" dirty="0"/>
          </a:p>
        </p:txBody>
      </p:sp>
    </p:spTree>
    <p:extLst>
      <p:ext uri="{BB962C8B-B14F-4D97-AF65-F5344CB8AC3E}">
        <p14:creationId xmlns:p14="http://schemas.microsoft.com/office/powerpoint/2010/main" val="3637978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ondensed title &amp; text">
    <p:spTree>
      <p:nvGrpSpPr>
        <p:cNvPr id="1" name=""/>
        <p:cNvGrpSpPr/>
        <p:nvPr/>
      </p:nvGrpSpPr>
      <p:grpSpPr>
        <a:xfrm>
          <a:off x="0" y="0"/>
          <a:ext cx="0" cy="0"/>
          <a:chOff x="0" y="0"/>
          <a:chExt cx="0" cy="0"/>
        </a:xfrm>
      </p:grpSpPr>
      <p:sp>
        <p:nvSpPr>
          <p:cNvPr id="11" name="Title 1"/>
          <p:cNvSpPr>
            <a:spLocks noGrp="1"/>
          </p:cNvSpPr>
          <p:nvPr>
            <p:ph type="title"/>
          </p:nvPr>
        </p:nvSpPr>
        <p:spPr>
          <a:xfrm>
            <a:off x="457200" y="765"/>
            <a:ext cx="6477000" cy="459892"/>
          </a:xfrm>
          <a:prstGeom prst="rect">
            <a:avLst/>
          </a:prstGeom>
        </p:spPr>
        <p:txBody>
          <a:bodyPr/>
          <a:lstStyle>
            <a:lvl1pPr>
              <a:defRPr sz="2100"/>
            </a:lvl1pPr>
          </a:lstStyle>
          <a:p>
            <a:r>
              <a:rPr lang="en-US"/>
              <a:t>Click to edit Master title style</a:t>
            </a:r>
            <a:endParaRPr lang="en-US" dirty="0"/>
          </a:p>
        </p:txBody>
      </p:sp>
      <p:sp>
        <p:nvSpPr>
          <p:cNvPr id="3" name="Content Placeholder 2"/>
          <p:cNvSpPr>
            <a:spLocks noGrp="1"/>
          </p:cNvSpPr>
          <p:nvPr>
            <p:ph sz="quarter" idx="16"/>
          </p:nvPr>
        </p:nvSpPr>
        <p:spPr>
          <a:xfrm>
            <a:off x="457200" y="838224"/>
            <a:ext cx="8224838" cy="37830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7"/>
          </p:nvPr>
        </p:nvSpPr>
        <p:spPr>
          <a:xfrm>
            <a:off x="457200" y="4767264"/>
            <a:ext cx="2133600" cy="274637"/>
          </a:xfrm>
          <a:prstGeom prst="rect">
            <a:avLst/>
          </a:prstGeom>
        </p:spPr>
        <p:txBody>
          <a:bodyPr/>
          <a:lstStyle>
            <a:lvl1pPr>
              <a:defRPr/>
            </a:lvl1pPr>
          </a:lstStyle>
          <a:p>
            <a:pPr>
              <a:defRPr/>
            </a:pPr>
            <a:endParaRPr lang="en-US"/>
          </a:p>
        </p:txBody>
      </p:sp>
      <p:sp>
        <p:nvSpPr>
          <p:cNvPr id="5" name="Slide Number Placeholder 5"/>
          <p:cNvSpPr>
            <a:spLocks noGrp="1"/>
          </p:cNvSpPr>
          <p:nvPr>
            <p:ph type="sldNum" sz="quarter" idx="18"/>
          </p:nvPr>
        </p:nvSpPr>
        <p:spPr>
          <a:xfrm>
            <a:off x="8226427" y="4625976"/>
            <a:ext cx="455613" cy="273050"/>
          </a:xfrm>
          <a:prstGeom prst="rect">
            <a:avLst/>
          </a:prstGeom>
        </p:spPr>
        <p:txBody>
          <a:bodyPr/>
          <a:lstStyle>
            <a:lvl1pPr>
              <a:defRPr/>
            </a:lvl1pPr>
          </a:lstStyle>
          <a:p>
            <a:pPr>
              <a:defRPr/>
            </a:pPr>
            <a:fld id="{2F52DD4A-E62C-4EAF-96F7-946702EBB509}" type="slidenum">
              <a:rPr lang="en-US"/>
              <a:pPr>
                <a:defRPr/>
              </a:pPr>
              <a:t>‹#›</a:t>
            </a:fld>
            <a:endParaRPr lang="en-US"/>
          </a:p>
        </p:txBody>
      </p:sp>
    </p:spTree>
    <p:extLst>
      <p:ext uri="{BB962C8B-B14F-4D97-AF65-F5344CB8AC3E}">
        <p14:creationId xmlns:p14="http://schemas.microsoft.com/office/powerpoint/2010/main" val="377787802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a:t>Fifth level</a:t>
            </a:r>
            <a:endParaRPr lang="en-US" dirty="0"/>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Edit Master text styles</a:t>
            </a:r>
          </a:p>
          <a:p>
            <a:pPr marL="0" marR="0" lvl="1"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Second level</a:t>
            </a:r>
          </a:p>
          <a:p>
            <a:pPr marL="0" marR="0" lvl="2"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Third level</a:t>
            </a:r>
          </a:p>
          <a:p>
            <a:pPr marL="0" marR="0" lvl="3"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ourth level</a:t>
            </a:r>
          </a:p>
          <a:p>
            <a:pPr marL="0" marR="0" lvl="4"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a:t>Fifth level</a:t>
            </a:r>
            <a:endParaRPr lang="en-US" dirty="0"/>
          </a:p>
        </p:txBody>
      </p:sp>
      <p:sp>
        <p:nvSpPr>
          <p:cNvPr id="8"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endParaRPr lang="en-US"/>
          </a:p>
        </p:txBody>
      </p:sp>
    </p:spTree>
    <p:extLst>
      <p:ext uri="{BB962C8B-B14F-4D97-AF65-F5344CB8AC3E}">
        <p14:creationId xmlns:p14="http://schemas.microsoft.com/office/powerpoint/2010/main" val="181058857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2_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228600" y="192025"/>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2"/>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endParaRPr lang="en-US"/>
          </a:p>
        </p:txBody>
      </p:sp>
    </p:spTree>
    <p:extLst>
      <p:ext uri="{BB962C8B-B14F-4D97-AF65-F5344CB8AC3E}">
        <p14:creationId xmlns:p14="http://schemas.microsoft.com/office/powerpoint/2010/main" val="16346776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228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2"/>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15469899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bove) + blank">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107556" y="4718304"/>
            <a:ext cx="1809432" cy="201168"/>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00000"/>
              </a:solidFill>
              <a:effectLst/>
              <a:uLnTx/>
              <a:uFillTx/>
              <a:latin typeface="IBM Plex Sans Regular" charset="0"/>
              <a:ea typeface="+mn-ea"/>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DBDE34-E9B5-E04F-B662-69720E4BCB53}" type="slidenum">
              <a:rPr kumimoji="0" lang="en-US" sz="600" b="0" i="0" u="none" strike="noStrike" kern="1200" cap="none" spc="0" normalizeH="0" baseline="0" noProof="0" smtClean="0">
                <a:ln>
                  <a:noFill/>
                </a:ln>
                <a:solidFill>
                  <a:srgbClr val="000000"/>
                </a:solidFill>
                <a:effectLst/>
                <a:uLnTx/>
                <a:uFillTx/>
                <a:latin typeface="IBM Plex Sans Regular" charset="0"/>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000000"/>
              </a:solidFill>
              <a:effectLst/>
              <a:uLnTx/>
              <a:uFillTx/>
              <a:latin typeface="IBM Plex Sans Regular" charset="0"/>
              <a:ea typeface="+mn-ea"/>
            </a:endParaRPr>
          </a:p>
        </p:txBody>
      </p:sp>
      <p:sp>
        <p:nvSpPr>
          <p:cNvPr id="7" name="Title 6"/>
          <p:cNvSpPr>
            <a:spLocks noGrp="1"/>
          </p:cNvSpPr>
          <p:nvPr>
            <p:ph type="title"/>
          </p:nvPr>
        </p:nvSpPr>
        <p:spPr>
          <a:xfrm>
            <a:off x="228600" y="173736"/>
            <a:ext cx="4474777" cy="914400"/>
          </a:xfrm>
        </p:spPr>
        <p:txBody>
          <a:bodyPr/>
          <a:lstStyle/>
          <a:p>
            <a:r>
              <a:rPr lang="en-US" dirty="0"/>
              <a:t>Click to edit Master title style</a:t>
            </a:r>
          </a:p>
        </p:txBody>
      </p:sp>
    </p:spTree>
    <p:extLst>
      <p:ext uri="{BB962C8B-B14F-4D97-AF65-F5344CB8AC3E}">
        <p14:creationId xmlns:p14="http://schemas.microsoft.com/office/powerpoint/2010/main" val="34370653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B24B37-AB57-A747-927B-BD9C8105267B}" type="slidenum">
              <a:rPr lang="en-US" smtClean="0"/>
              <a:t>‹#›</a:t>
            </a:fld>
            <a:endParaRPr lang="en-US"/>
          </a:p>
        </p:txBody>
      </p:sp>
    </p:spTree>
    <p:extLst>
      <p:ext uri="{BB962C8B-B14F-4D97-AF65-F5344CB8AC3E}">
        <p14:creationId xmlns:p14="http://schemas.microsoft.com/office/powerpoint/2010/main" val="26082827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2_Cover Slide">
    <p:spTree>
      <p:nvGrpSpPr>
        <p:cNvPr id="1" name=""/>
        <p:cNvGrpSpPr/>
        <p:nvPr/>
      </p:nvGrpSpPr>
      <p:grpSpPr>
        <a:xfrm>
          <a:off x="0" y="0"/>
          <a:ext cx="0" cy="0"/>
          <a:chOff x="0" y="0"/>
          <a:chExt cx="0" cy="0"/>
        </a:xfrm>
      </p:grpSpPr>
      <p:sp>
        <p:nvSpPr>
          <p:cNvPr id="4" name="Title 3"/>
          <p:cNvSpPr>
            <a:spLocks noGrp="1"/>
          </p:cNvSpPr>
          <p:nvPr>
            <p:ph type="title"/>
          </p:nvPr>
        </p:nvSpPr>
        <p:spPr>
          <a:xfrm>
            <a:off x="228601" y="203781"/>
            <a:ext cx="4114801" cy="4479344"/>
          </a:xfrm>
        </p:spPr>
        <p:txBody>
          <a:bodyPr/>
          <a:lstStyle>
            <a:lvl1pPr>
              <a:lnSpc>
                <a:spcPct val="90000"/>
              </a:lnSpc>
              <a:defRPr sz="2400" b="0">
                <a:solidFill>
                  <a:schemeClr val="bg2"/>
                </a:solidFill>
              </a:defRPr>
            </a:lvl1pPr>
          </a:lstStyle>
          <a:p>
            <a:r>
              <a:rPr lang="en-US"/>
              <a:t>Click to edit Master title style</a:t>
            </a:r>
            <a:endParaRPr lang="en-US" dirty="0"/>
          </a:p>
        </p:txBody>
      </p:sp>
      <p:sp>
        <p:nvSpPr>
          <p:cNvPr id="5" name="Footer Placeholder 1"/>
          <p:cNvSpPr>
            <a:spLocks noGrp="1"/>
          </p:cNvSpPr>
          <p:nvPr>
            <p:ph type="ftr" sz="quarter" idx="11"/>
          </p:nvPr>
        </p:nvSpPr>
        <p:spPr>
          <a:xfrm>
            <a:off x="228600" y="4828032"/>
            <a:ext cx="6400800" cy="137160"/>
          </a:xfrm>
        </p:spPr>
        <p:txBody>
          <a:bodyPr/>
          <a:lstStyle>
            <a:lvl1pPr>
              <a:defRPr>
                <a:solidFill>
                  <a:schemeClr val="bg2"/>
                </a:solidFill>
              </a:defRPr>
            </a:lvl1pPr>
          </a:lstStyle>
          <a:p>
            <a:endParaRPr lang="en-US"/>
          </a:p>
        </p:txBody>
      </p:sp>
      <p:pic>
        <p:nvPicPr>
          <p:cNvPr id="6" name="Picture 5">
            <a:extLst>
              <a:ext uri="{FF2B5EF4-FFF2-40B4-BE49-F238E27FC236}">
                <a16:creationId xmlns:a16="http://schemas.microsoft.com/office/drawing/2014/main" id="{6FA5FAB9-E464-DB4D-A39A-24B23DE92A1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016818" y="4351898"/>
            <a:ext cx="2127183" cy="791602"/>
          </a:xfrm>
          <a:prstGeom prst="rect">
            <a:avLst/>
          </a:prstGeom>
        </p:spPr>
      </p:pic>
    </p:spTree>
    <p:extLst>
      <p:ext uri="{BB962C8B-B14F-4D97-AF65-F5344CB8AC3E}">
        <p14:creationId xmlns:p14="http://schemas.microsoft.com/office/powerpoint/2010/main" val="185080536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4" name="Title 3"/>
          <p:cNvSpPr>
            <a:spLocks noGrp="1"/>
          </p:cNvSpPr>
          <p:nvPr>
            <p:ph type="title"/>
          </p:nvPr>
        </p:nvSpPr>
        <p:spPr>
          <a:xfrm>
            <a:off x="228601" y="203781"/>
            <a:ext cx="4114801" cy="4479344"/>
          </a:xfrm>
        </p:spPr>
        <p:txBody>
          <a:bodyPr/>
          <a:lstStyle>
            <a:lvl1pPr>
              <a:lnSpc>
                <a:spcPct val="90000"/>
              </a:lnSpc>
              <a:defRPr sz="2400" b="0">
                <a:solidFill>
                  <a:schemeClr val="tx1"/>
                </a:solidFill>
              </a:defRPr>
            </a:lvl1pPr>
          </a:lstStyle>
          <a:p>
            <a:r>
              <a:rPr lang="en-US"/>
              <a:t>Click to edit Master title style</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3812" y="4705352"/>
            <a:ext cx="521589" cy="211455"/>
          </a:xfrm>
          <a:prstGeom prst="rect">
            <a:avLst/>
          </a:prstGeom>
        </p:spPr>
      </p:pic>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13239" y="4316523"/>
            <a:ext cx="685800" cy="635509"/>
          </a:xfrm>
          <a:prstGeom prst="rect">
            <a:avLst/>
          </a:prstGeom>
        </p:spPr>
      </p:pic>
    </p:spTree>
    <p:extLst>
      <p:ext uri="{BB962C8B-B14F-4D97-AF65-F5344CB8AC3E}">
        <p14:creationId xmlns:p14="http://schemas.microsoft.com/office/powerpoint/2010/main" val="296828109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228600" y="201168"/>
            <a:ext cx="4114800" cy="4493752"/>
          </a:xfrm>
        </p:spPr>
        <p:txBody>
          <a:bodyPr/>
          <a:lstStyle>
            <a:lvl1pPr>
              <a:lnSpc>
                <a:spcPct val="90000"/>
              </a:lnSpc>
              <a:defRPr>
                <a:solidFill>
                  <a:schemeClr val="tx1"/>
                </a:solidFill>
              </a:defRPr>
            </a:lvl1pPr>
          </a:lstStyle>
          <a:p>
            <a:r>
              <a:rPr lang="en-US"/>
              <a:t>Click to edit Master title style</a:t>
            </a:r>
            <a:endParaRPr lang="en-US" dirty="0"/>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31127804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55726"/>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123950"/>
            <a:ext cx="4114800" cy="3584448"/>
          </a:xfrm>
        </p:spPr>
        <p:txBody>
          <a:bodyPr/>
          <a:lstStyle>
            <a:lvl1pPr marL="0" indent="0">
              <a:spcBef>
                <a:spcPts val="0"/>
              </a:spcBef>
              <a:tabLst>
                <a:tab pos="3940175" algn="dec"/>
              </a:tabLst>
              <a:defRPr/>
            </a:lvl1pPr>
            <a:lvl2pPr marL="173038" indent="-173038">
              <a:spcBef>
                <a:spcPts val="0"/>
              </a:spcBef>
              <a:tabLst/>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4800600" y="1123950"/>
            <a:ext cx="4114800" cy="3584448"/>
          </a:xfrm>
        </p:spPr>
        <p:txBody>
          <a:bodyPr/>
          <a:lstStyle>
            <a:lvl1pPr marL="0" indent="0">
              <a:spcBef>
                <a:spcPts val="0"/>
              </a:spcBef>
              <a:tabLst>
                <a:tab pos="394017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457200" rtl="0" eaLnBrk="1" fontAlgn="auto" latinLnBrk="0" hangingPunct="1">
              <a:lnSpc>
                <a:spcPct val="100000"/>
              </a:lnSpc>
              <a:spcBef>
                <a:spcPts val="1100"/>
              </a:spcBef>
              <a:spcAft>
                <a:spcPts val="0"/>
              </a:spcAft>
              <a:buClrTx/>
              <a:buSzTx/>
              <a:buFont typeface="Arial"/>
              <a:buNone/>
              <a:tabLst>
                <a:tab pos="4023360"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25239487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4"/>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a:t>Click to edit Master text styles</a:t>
            </a:r>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97821580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228600" y="210314"/>
            <a:ext cx="4114800" cy="1003807"/>
          </a:xfrm>
        </p:spPr>
        <p:txBody>
          <a:bodyPr/>
          <a:lstStyle>
            <a:lvl1pPr>
              <a:defRPr sz="1600">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228600" y="1511555"/>
            <a:ext cx="4114800" cy="3108960"/>
          </a:xfrm>
        </p:spPr>
        <p:txBody>
          <a:bodyPr/>
          <a:lstStyle>
            <a:lvl1pPr>
              <a:lnSpc>
                <a:spcPct val="90000"/>
              </a:lnSpc>
              <a:spcBef>
                <a:spcPts val="0"/>
              </a:spcBef>
              <a:defRPr sz="9600" b="1" baseline="0">
                <a:solidFill>
                  <a:schemeClr val="tx1"/>
                </a:solidFill>
              </a:defRPr>
            </a:lvl1pPr>
          </a:lstStyle>
          <a:p>
            <a:pPr lvl="0"/>
            <a:r>
              <a:rPr lang="en-US" dirty="0"/>
              <a:t>Click to edit Master text styles</a:t>
            </a:r>
          </a:p>
        </p:txBody>
      </p:sp>
      <p:sp>
        <p:nvSpPr>
          <p:cNvPr id="6" name="Picture Placeholder 5"/>
          <p:cNvSpPr>
            <a:spLocks noGrp="1"/>
          </p:cNvSpPr>
          <p:nvPr>
            <p:ph type="pic" sz="quarter" idx="13"/>
          </p:nvPr>
        </p:nvSpPr>
        <p:spPr>
          <a:xfrm>
            <a:off x="4572000" y="0"/>
            <a:ext cx="4572000" cy="5143500"/>
          </a:xfrm>
        </p:spPr>
        <p:txBody>
          <a:bodyPr/>
          <a:lstStyle>
            <a:lvl1pPr>
              <a:defRPr>
                <a:solidFill>
                  <a:schemeClr val="tx1"/>
                </a:solidFill>
              </a:defRPr>
            </a:lvl1pPr>
          </a:lstStyle>
          <a:p>
            <a:r>
              <a:rPr lang="en-US"/>
              <a:t>Drag picture to placeholder or click icon to add</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247110722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65178"/>
            <a:ext cx="8686800" cy="4473575"/>
          </a:xfrm>
        </p:spPr>
        <p:txBody>
          <a:bodyPr/>
          <a:lstStyle>
            <a:lvl1pPr>
              <a:lnSpc>
                <a:spcPct val="90000"/>
              </a:lnSpc>
              <a:defRPr sz="96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11807102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228601" y="201170"/>
            <a:ext cx="5187463" cy="4520805"/>
          </a:xfrm>
        </p:spPr>
        <p:txBody>
          <a:bodyPr/>
          <a:lstStyle>
            <a:lvl1pPr marL="117475" indent="-117475">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27042407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4"/>
          </p:nvPr>
        </p:nvSpPr>
        <p:spPr>
          <a:xfrm>
            <a:off x="228599" y="1097279"/>
            <a:ext cx="4114799"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159482162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432805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493776"/>
            <a:ext cx="4114800" cy="4199730"/>
          </a:xfrm>
        </p:spPr>
        <p:txBody>
          <a:bodyPr/>
          <a:lstStyle>
            <a:lvl1pPr>
              <a:spcBef>
                <a:spcPts val="1100"/>
              </a:spcBef>
              <a:spcAft>
                <a:spcPts val="0"/>
              </a:spcAft>
              <a:defRPr/>
            </a:lvl1pPr>
            <a:lvl2pPr>
              <a:spcBef>
                <a:spcPts val="1100"/>
              </a:spcBef>
              <a:defRPr/>
            </a:lvl2pPr>
            <a:lvl3pPr>
              <a:spcBef>
                <a:spcPts val="1100"/>
              </a:spcBef>
              <a:defRPr/>
            </a:lvl3pPr>
            <a:lvl4pPr>
              <a:spcBef>
                <a:spcPts val="1100"/>
              </a:spcBef>
              <a:defRPr/>
            </a:lvl4pPr>
            <a:lvl5pPr>
              <a:spcBef>
                <a:spcPts val="11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0565"/>
            <a:ext cx="4114800" cy="300037"/>
          </a:xfrm>
        </p:spPr>
        <p:txBody>
          <a:bodyPr/>
          <a:lstStyle>
            <a:lvl1pPr>
              <a:defRPr sz="1100"/>
            </a:lvl1pPr>
          </a:lstStyle>
          <a:p>
            <a:pPr lvl="0"/>
            <a:r>
              <a:rPr lang="en-US"/>
              <a:t>Click to edit Master text styles</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407527903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9593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228600" y="1124714"/>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4800600" y="1124714"/>
            <a:ext cx="4114800" cy="3585845"/>
          </a:xfrm>
        </p:spPr>
        <p:txBody>
          <a:bodyPr/>
          <a:lstStyle>
            <a:lvl1pPr>
              <a:spcBef>
                <a:spcPts val="0"/>
              </a:spcBef>
              <a:defRPr sz="1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234319887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1093470"/>
            <a:ext cx="4114800" cy="3589656"/>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2"/>
            <a:ext cx="4114800" cy="3589655"/>
          </a:xfrm>
        </p:spPr>
        <p:txBody>
          <a:bodyPr/>
          <a:lstStyle>
            <a:lvl1pPr>
              <a:defRPr sz="16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1306727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50215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Content Placeholder 5"/>
          <p:cNvSpPr>
            <a:spLocks noGrp="1"/>
          </p:cNvSpPr>
          <p:nvPr>
            <p:ph sz="quarter" idx="12"/>
          </p:nvPr>
        </p:nvSpPr>
        <p:spPr>
          <a:xfrm>
            <a:off x="228600" y="995520"/>
            <a:ext cx="4114800" cy="3687607"/>
          </a:xfrm>
        </p:spPr>
        <p:txBody>
          <a:bodyPr/>
          <a:lstStyle>
            <a:lvl1pPr>
              <a:defRPr sz="2400"/>
            </a:lvl1pPr>
          </a:lstStyle>
          <a:p>
            <a:pPr lvl="0"/>
            <a:r>
              <a:rPr lang="en-US" dirty="0"/>
              <a:t>Click to edit Master text styles</a:t>
            </a:r>
          </a:p>
        </p:txBody>
      </p:sp>
      <p:sp>
        <p:nvSpPr>
          <p:cNvPr id="8" name="Content Placeholder 7"/>
          <p:cNvSpPr>
            <a:spLocks noGrp="1"/>
          </p:cNvSpPr>
          <p:nvPr>
            <p:ph sz="quarter" idx="13"/>
          </p:nvPr>
        </p:nvSpPr>
        <p:spPr>
          <a:xfrm>
            <a:off x="4800600" y="1116650"/>
            <a:ext cx="4114800" cy="3566477"/>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190069583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6400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1093471"/>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3471"/>
            <a:ext cx="1828800" cy="358965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3471"/>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7086600" y="1093471"/>
            <a:ext cx="1828800" cy="358965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385868439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411480"/>
            <a:ext cx="4114800" cy="6400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7" name="Text Placeholder 6"/>
          <p:cNvSpPr>
            <a:spLocks noGrp="1"/>
          </p:cNvSpPr>
          <p:nvPr>
            <p:ph type="body" sz="quarter" idx="14"/>
          </p:nvPr>
        </p:nvSpPr>
        <p:spPr>
          <a:xfrm>
            <a:off x="228600" y="1097282"/>
            <a:ext cx="4114800" cy="3585845"/>
          </a:xfrm>
        </p:spPr>
        <p:txBody>
          <a:bodyPr/>
          <a:lstStyle>
            <a:lvl1pPr>
              <a:defRPr sz="1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321845018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6400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4"/>
          </p:nvPr>
        </p:nvSpPr>
        <p:spPr>
          <a:xfrm>
            <a:off x="228600" y="1097281"/>
            <a:ext cx="1828800" cy="3585845"/>
          </a:xfrm>
        </p:spPr>
        <p:txBody>
          <a:bodyPr/>
          <a:lstStyle>
            <a:lvl1pPr>
              <a:spcBef>
                <a:spcPts val="1100"/>
              </a:spcBef>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2514600" y="1097281"/>
            <a:ext cx="1828800" cy="35858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Picture Placeholder 8"/>
          <p:cNvSpPr>
            <a:spLocks noGrp="1"/>
          </p:cNvSpPr>
          <p:nvPr>
            <p:ph type="pic" sz="quarter" idx="16"/>
          </p:nvPr>
        </p:nvSpPr>
        <p:spPr>
          <a:xfrm>
            <a:off x="4572000" y="0"/>
            <a:ext cx="4572000" cy="5143500"/>
          </a:xfrm>
        </p:spPr>
        <p:txBody>
          <a:bodyPr/>
          <a:lstStyle/>
          <a:p>
            <a:r>
              <a:rPr lang="en-US"/>
              <a:t>Drag picture to placeholder or click icon to add</a:t>
            </a:r>
          </a:p>
        </p:txBody>
      </p:sp>
      <p:sp>
        <p:nvSpPr>
          <p:cNvPr id="10"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19840338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1097282"/>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10" name="Text Placeholder 9"/>
          <p:cNvSpPr>
            <a:spLocks noGrp="1"/>
          </p:cNvSpPr>
          <p:nvPr>
            <p:ph type="body" sz="quarter" idx="16"/>
          </p:nvPr>
        </p:nvSpPr>
        <p:spPr>
          <a:xfrm>
            <a:off x="7086600" y="1097282"/>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6160807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1124712"/>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228600" y="201168"/>
            <a:ext cx="4114800" cy="300037"/>
          </a:xfrm>
        </p:spPr>
        <p:txBody>
          <a:bodyPr/>
          <a:lstStyle>
            <a:lvl1pPr>
              <a:defRPr sz="1100"/>
            </a:lvl1pPr>
          </a:lstStyle>
          <a:p>
            <a:pPr lvl="0"/>
            <a:r>
              <a:rPr lang="en-US"/>
              <a:t>Click to edit Master text styles</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402590428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70"/>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8" name="Picture Placeholder 7"/>
          <p:cNvSpPr>
            <a:spLocks noGrp="1"/>
          </p:cNvSpPr>
          <p:nvPr>
            <p:ph type="pic" sz="quarter" idx="15"/>
          </p:nvPr>
        </p:nvSpPr>
        <p:spPr>
          <a:xfrm>
            <a:off x="4572000" y="0"/>
            <a:ext cx="4572000" cy="5143500"/>
          </a:xfrm>
        </p:spPr>
        <p:txBody>
          <a:bodyPr/>
          <a:lstStyle/>
          <a:p>
            <a:r>
              <a:rPr lang="en-US"/>
              <a:t>Drag picture to placeholder or click icon to add</a:t>
            </a:r>
          </a:p>
        </p:txBody>
      </p:sp>
      <p:sp>
        <p:nvSpPr>
          <p:cNvPr id="6"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2084114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text (dark background)">
    <p:spTree>
      <p:nvGrpSpPr>
        <p:cNvPr id="1" name=""/>
        <p:cNvGrpSpPr/>
        <p:nvPr/>
      </p:nvGrpSpPr>
      <p:grpSpPr>
        <a:xfrm>
          <a:off x="0" y="0"/>
          <a:ext cx="0" cy="0"/>
          <a:chOff x="0" y="0"/>
          <a:chExt cx="0" cy="0"/>
        </a:xfrm>
      </p:grpSpPr>
      <p:sp>
        <p:nvSpPr>
          <p:cNvPr id="5" name="Rectangle 4"/>
          <p:cNvSpPr/>
          <p:nvPr/>
        </p:nvSpPr>
        <p:spPr>
          <a:xfrm>
            <a:off x="4572000" y="0"/>
            <a:ext cx="4572000" cy="5143500"/>
          </a:xfrm>
          <a:prstGeom prst="rect">
            <a:avLst/>
          </a:prstGeom>
          <a:solidFill>
            <a:schemeClr val="accent2"/>
          </a:solidFill>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Title 1"/>
          <p:cNvSpPr>
            <a:spLocks noGrp="1"/>
          </p:cNvSpPr>
          <p:nvPr>
            <p:ph type="title"/>
          </p:nvPr>
        </p:nvSpPr>
        <p:spPr>
          <a:xfrm>
            <a:off x="228600" y="1033272"/>
            <a:ext cx="4114800" cy="356616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4800600" y="1111286"/>
            <a:ext cx="4114800" cy="3501445"/>
          </a:xfrm>
        </p:spPr>
        <p:txBody>
          <a:bodyPr/>
          <a:lstStyle>
            <a:lvl1pPr>
              <a:defRPr>
                <a:solidFill>
                  <a:schemeClr val="bg2"/>
                </a:solidFill>
              </a:defRPr>
            </a:lvl1pPr>
            <a:lvl2pPr marL="0" indent="0">
              <a:spcBef>
                <a:spcPts val="1100"/>
              </a:spcBef>
              <a:buFontTx/>
              <a:buNone/>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
        <p:nvSpPr>
          <p:cNvPr id="9" name="Title 1">
            <a:extLst>
              <a:ext uri="{FF2B5EF4-FFF2-40B4-BE49-F238E27FC236}">
                <a16:creationId xmlns:a16="http://schemas.microsoft.com/office/drawing/2014/main" id="{7CD0CDCA-A518-DA4F-901F-5A55BF27328A}"/>
              </a:ext>
            </a:extLst>
          </p:cNvPr>
          <p:cNvSpPr txBox="1">
            <a:spLocks/>
          </p:cNvSpPr>
          <p:nvPr userDrawn="1"/>
        </p:nvSpPr>
        <p:spPr>
          <a:xfrm>
            <a:off x="228600" y="201168"/>
            <a:ext cx="4114800" cy="959358"/>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r>
              <a:rPr lang="en-US"/>
              <a:t>Click to edit Master title style</a:t>
            </a:r>
            <a:endParaRPr lang="en-US" dirty="0"/>
          </a:p>
        </p:txBody>
      </p:sp>
    </p:spTree>
    <p:extLst>
      <p:ext uri="{BB962C8B-B14F-4D97-AF65-F5344CB8AC3E}">
        <p14:creationId xmlns:p14="http://schemas.microsoft.com/office/powerpoint/2010/main" val="310486940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70"/>
            <a:ext cx="4114800" cy="4402899"/>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186866702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228601" y="201168"/>
            <a:ext cx="8540647" cy="381000"/>
          </a:xfrm>
        </p:spPr>
        <p:txBody>
          <a:bodyPr/>
          <a:lstStyle>
            <a:lvl1pPr>
              <a:defRPr sz="2000">
                <a:solidFill>
                  <a:schemeClr val="accent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dirty="0"/>
              <a:t>IBM Watson </a:t>
            </a:r>
            <a:r>
              <a:rPr lang="de-DE" dirty="0" err="1"/>
              <a:t>IoT</a:t>
            </a:r>
            <a:r>
              <a:rPr lang="de-DE" dirty="0"/>
              <a:t> / © 2020 IBM Corporation</a:t>
            </a:r>
            <a:endParaRPr lang="en-US" dirty="0"/>
          </a:p>
        </p:txBody>
      </p:sp>
    </p:spTree>
    <p:extLst>
      <p:ext uri="{BB962C8B-B14F-4D97-AF65-F5344CB8AC3E}">
        <p14:creationId xmlns:p14="http://schemas.microsoft.com/office/powerpoint/2010/main" val="306824075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228600" y="192025"/>
            <a:ext cx="4114800" cy="300037"/>
          </a:xfrm>
        </p:spPr>
        <p:txBody>
          <a:bodyPr/>
          <a:lstStyle>
            <a:lvl1pPr>
              <a:defRPr sz="1600"/>
            </a:lvl1pPr>
          </a:lstStyle>
          <a:p>
            <a:pPr lvl="0"/>
            <a:r>
              <a:rPr lang="en-US" dirty="0"/>
              <a:t>Click to edit Master text styles</a:t>
            </a:r>
          </a:p>
        </p:txBody>
      </p:sp>
      <p:sp>
        <p:nvSpPr>
          <p:cNvPr id="7" name="Text Placeholder 6"/>
          <p:cNvSpPr>
            <a:spLocks noGrp="1"/>
          </p:cNvSpPr>
          <p:nvPr>
            <p:ph type="body" sz="quarter" idx="14"/>
          </p:nvPr>
        </p:nvSpPr>
        <p:spPr>
          <a:xfrm>
            <a:off x="228600" y="1097282"/>
            <a:ext cx="4114800" cy="3488731"/>
          </a:xfrm>
        </p:spPr>
        <p:txBody>
          <a:bodyPr/>
          <a:lstStyle>
            <a:lvl1pPr>
              <a:defRPr sz="16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6858000" y="0"/>
            <a:ext cx="2286000" cy="2571750"/>
          </a:xfrm>
          <a:solidFill>
            <a:schemeClr val="bg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accent3"/>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305052213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4572001" y="2571750"/>
            <a:ext cx="4572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4572000" cy="2571750"/>
          </a:xfrm>
          <a:solidFill>
            <a:schemeClr val="tx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8" name="Content Placeholder 7"/>
          <p:cNvSpPr>
            <a:spLocks noGrp="1"/>
          </p:cNvSpPr>
          <p:nvPr>
            <p:ph sz="quarter" idx="15"/>
          </p:nvPr>
        </p:nvSpPr>
        <p:spPr>
          <a:xfrm>
            <a:off x="6858000" y="0"/>
            <a:ext cx="2286000" cy="2571750"/>
          </a:xfrm>
          <a:solidFill>
            <a:schemeClr val="tx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4572000" y="0"/>
            <a:ext cx="2286000" cy="2571750"/>
          </a:xfrm>
          <a:solidFill>
            <a:schemeClr val="tx2">
              <a:lumMod val="50000"/>
            </a:schemeClr>
          </a:solidFill>
        </p:spPr>
        <p:txBody>
          <a:bodyPr lIns="228600" tIns="192024" rIns="228600" bIns="228600"/>
          <a:lstStyle>
            <a:lvl1pPr>
              <a:defRPr sz="1400">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4571999" cy="257175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
        <p:nvSpPr>
          <p:cNvPr id="9" name="Footer Placeholder 3"/>
          <p:cNvSpPr>
            <a:spLocks noGrp="1"/>
          </p:cNvSpPr>
          <p:nvPr>
            <p:ph type="ftr" sz="quarter" idx="11"/>
          </p:nvPr>
        </p:nvSpPr>
        <p:spPr>
          <a:xfrm>
            <a:off x="228600" y="4826480"/>
            <a:ext cx="6400800" cy="137160"/>
          </a:xfrm>
        </p:spPr>
        <p:txBody>
          <a:bodyPr/>
          <a:lstStyle>
            <a:lvl1pPr>
              <a:defRPr>
                <a:solidFill>
                  <a:schemeClr val="bg2"/>
                </a:solidFill>
              </a:defRPr>
            </a:lvl1pPr>
          </a:lstStyle>
          <a:p>
            <a:r>
              <a:rPr lang="de-DE"/>
              <a:t>IBM Watson IoT / © 2019 IBM Corporation</a:t>
            </a:r>
            <a:endParaRPr lang="en-US"/>
          </a:p>
        </p:txBody>
      </p:sp>
    </p:spTree>
    <p:extLst>
      <p:ext uri="{BB962C8B-B14F-4D97-AF65-F5344CB8AC3E}">
        <p14:creationId xmlns:p14="http://schemas.microsoft.com/office/powerpoint/2010/main" val="274701748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857999" y="2571750"/>
            <a:ext cx="2286000" cy="2571750"/>
          </a:xfrm>
          <a:solidFill>
            <a:schemeClr val="accent1"/>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2286000" y="2571750"/>
            <a:ext cx="2286000" cy="2571750"/>
          </a:xfrm>
          <a:solidFill>
            <a:schemeClr val="accent3"/>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4572002" y="2571750"/>
            <a:ext cx="2285997" cy="2571750"/>
          </a:xfrm>
          <a:solidFill>
            <a:schemeClr val="accent2"/>
          </a:solidFill>
        </p:spPr>
        <p:txBody>
          <a:bodyPr lIns="228600" tIns="192024" rIns="228600" bIns="228600"/>
          <a:lstStyle>
            <a:lvl1pPr>
              <a:defRPr sz="1400">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2571750"/>
            <a:ext cx="2286000" cy="2571750"/>
          </a:xfrm>
          <a:solidFill>
            <a:schemeClr val="bg1"/>
          </a:solidFill>
        </p:spPr>
        <p:txBody>
          <a:bodyPr lIns="228600" tIns="192024" rIns="228600" bIns="228600"/>
          <a:lstStyle>
            <a:lvl1pPr>
              <a:defRPr sz="14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itle 5"/>
          <p:cNvSpPr>
            <a:spLocks noGrp="1"/>
          </p:cNvSpPr>
          <p:nvPr>
            <p:ph type="title"/>
          </p:nvPr>
        </p:nvSpPr>
        <p:spPr>
          <a:xfrm>
            <a:off x="1" y="-1"/>
            <a:ext cx="9143999" cy="2571751"/>
          </a:xfrm>
          <a:solidFill>
            <a:schemeClr val="tx1"/>
          </a:solidFill>
        </p:spPr>
        <p:txBody>
          <a:bodyPr lIns="228600" tIns="155448" rIns="228600" bIns="228600"/>
          <a:lstStyle>
            <a:lvl1pPr>
              <a:defRPr sz="4800">
                <a:solidFill>
                  <a:schemeClr val="bg2"/>
                </a:solidFill>
              </a:defRPr>
            </a:lvl1pPr>
          </a:lstStyle>
          <a:p>
            <a:r>
              <a:rPr lang="en-US"/>
              <a:t>Click to edit Master title style</a:t>
            </a:r>
            <a:endParaRPr lang="en-US" dirty="0"/>
          </a:p>
        </p:txBody>
      </p:sp>
      <p:sp>
        <p:nvSpPr>
          <p:cNvPr id="9" name="Footer Placeholder 3"/>
          <p:cNvSpPr>
            <a:spLocks noGrp="1"/>
          </p:cNvSpPr>
          <p:nvPr>
            <p:ph type="ftr" sz="quarter" idx="11"/>
          </p:nvPr>
        </p:nvSpPr>
        <p:spPr>
          <a:xfrm>
            <a:off x="228600" y="4826480"/>
            <a:ext cx="6400800" cy="137160"/>
          </a:xfrm>
        </p:spPr>
        <p:txBody>
          <a:bodyPr/>
          <a:lstStyle>
            <a:lvl1pPr>
              <a:defRPr>
                <a:solidFill>
                  <a:schemeClr val="bg2"/>
                </a:solidFill>
              </a:defRPr>
            </a:lvl1pPr>
          </a:lstStyle>
          <a:p>
            <a:r>
              <a:rPr lang="de-DE"/>
              <a:t>IBM Watson IoT / © 2019 IBM Corporation</a:t>
            </a:r>
            <a:endParaRPr lang="en-US"/>
          </a:p>
        </p:txBody>
      </p:sp>
    </p:spTree>
    <p:extLst>
      <p:ext uri="{BB962C8B-B14F-4D97-AF65-F5344CB8AC3E}">
        <p14:creationId xmlns:p14="http://schemas.microsoft.com/office/powerpoint/2010/main" val="62462984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itle 5"/>
          <p:cNvSpPr>
            <a:spLocks noGrp="1"/>
          </p:cNvSpPr>
          <p:nvPr>
            <p:ph type="title"/>
          </p:nvPr>
        </p:nvSpPr>
        <p:spPr>
          <a:xfrm>
            <a:off x="1" y="-1"/>
            <a:ext cx="9143999" cy="1290639"/>
          </a:xfrm>
          <a:solidFill>
            <a:schemeClr val="tx1"/>
          </a:solidFill>
        </p:spPr>
        <p:txBody>
          <a:bodyPr lIns="228600" tIns="201168" rIns="228600" bIns="228600"/>
          <a:lstStyle>
            <a:lvl1pPr>
              <a:defRPr sz="2400">
                <a:solidFill>
                  <a:schemeClr val="bg2"/>
                </a:solidFill>
              </a:defRPr>
            </a:lvl1pPr>
          </a:lstStyle>
          <a:p>
            <a:r>
              <a:rPr lang="en-US"/>
              <a:t>Click to edit Master title style</a:t>
            </a:r>
            <a:endParaRPr lang="en-US" dirty="0"/>
          </a:p>
        </p:txBody>
      </p:sp>
      <p:sp>
        <p:nvSpPr>
          <p:cNvPr id="5"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60116130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2857500"/>
            <a:ext cx="2286000" cy="2286000"/>
          </a:xfrm>
          <a:solidFill>
            <a:schemeClr val="tx1"/>
          </a:solidFill>
        </p:spPr>
        <p:txBody>
          <a:bodyPr lIns="228600" tIns="155448" rIns="228600" bIns="228600"/>
          <a:lstStyle>
            <a:lvl1pPr>
              <a:defRPr>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3"/>
          <p:cNvSpPr>
            <a:spLocks noGrp="1"/>
          </p:cNvSpPr>
          <p:nvPr>
            <p:ph type="ftr" sz="quarter" idx="11"/>
          </p:nvPr>
        </p:nvSpPr>
        <p:spPr>
          <a:xfrm>
            <a:off x="228600" y="4826480"/>
            <a:ext cx="6400800" cy="137160"/>
          </a:xfrm>
        </p:spPr>
        <p:txBody>
          <a:bodyPr/>
          <a:lstStyle>
            <a:lvl1pPr>
              <a:defRPr>
                <a:solidFill>
                  <a:schemeClr val="bg2"/>
                </a:solidFill>
              </a:defRPr>
            </a:lvl1pPr>
          </a:lstStyle>
          <a:p>
            <a:r>
              <a:rPr lang="de-DE"/>
              <a:t>IBM Watson IoT / © 2019 IBM Corporation</a:t>
            </a:r>
            <a:endParaRPr lang="en-US"/>
          </a:p>
        </p:txBody>
      </p:sp>
    </p:spTree>
    <p:extLst>
      <p:ext uri="{BB962C8B-B14F-4D97-AF65-F5344CB8AC3E}">
        <p14:creationId xmlns:p14="http://schemas.microsoft.com/office/powerpoint/2010/main" val="17279569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2286000" cy="5143500"/>
          </a:xfrm>
          <a:solidFill>
            <a:schemeClr val="tx1"/>
          </a:solidFill>
        </p:spPr>
        <p:txBody>
          <a:bodyPr lIns="228600" tIns="182880" rIns="228600" bIns="228600"/>
          <a:lstStyle>
            <a:lvl1pPr>
              <a:defRPr sz="16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2286000" y="0"/>
            <a:ext cx="2286000" cy="5143500"/>
          </a:xfrm>
          <a:solidFill>
            <a:schemeClr val="accent2"/>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4572000" y="0"/>
            <a:ext cx="2286000" cy="5143500"/>
          </a:xfrm>
          <a:solidFill>
            <a:schemeClr val="accent3"/>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6858000" y="0"/>
            <a:ext cx="2286000" cy="5143500"/>
          </a:xfrm>
          <a:solidFill>
            <a:schemeClr val="tx2">
              <a:lumMod val="75000"/>
            </a:schemeClr>
          </a:solidFill>
        </p:spPr>
        <p:txBody>
          <a:bodyPr lIns="228600" tIns="192024" rIns="228600" bIns="228600"/>
          <a:lstStyle>
            <a:lvl1pPr>
              <a:defRPr sz="1400">
                <a:solidFill>
                  <a:schemeClr val="bg2"/>
                </a:solidFill>
              </a:defRPr>
            </a:lvl1pPr>
            <a:lvl2pPr>
              <a:defRPr sz="1100">
                <a:solidFill>
                  <a:schemeClr val="bg2"/>
                </a:solidFill>
              </a:defRPr>
            </a:lvl2pPr>
            <a:lvl3pPr>
              <a:defRPr sz="1100">
                <a:solidFill>
                  <a:schemeClr val="bg2"/>
                </a:solidFill>
              </a:defRPr>
            </a:lvl3pPr>
            <a:lvl4pPr>
              <a:defRPr sz="1100">
                <a:solidFill>
                  <a:schemeClr val="bg2"/>
                </a:solidFill>
              </a:defRPr>
            </a:lvl4pPr>
            <a:lvl5pPr>
              <a:defRPr sz="1100">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Tree>
    <p:extLst>
      <p:ext uri="{BB962C8B-B14F-4D97-AF65-F5344CB8AC3E}">
        <p14:creationId xmlns:p14="http://schemas.microsoft.com/office/powerpoint/2010/main" val="21899939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228600" y="1097282"/>
            <a:ext cx="1828800" cy="3501445"/>
          </a:xfrm>
        </p:spPr>
        <p:txBody>
          <a:bodyPr/>
          <a:lstStyle>
            <a:lvl1pPr>
              <a:defRPr sz="1600"/>
            </a:lvl1pPr>
            <a:lvl2pPr marL="0" indent="0">
              <a:spcBef>
                <a:spcPts val="1100"/>
              </a:spcBef>
              <a:buFontTx/>
              <a:buNone/>
              <a:defRPr sz="1100"/>
            </a:lvl2pPr>
            <a:lvl3pPr>
              <a:defRPr sz="1100"/>
            </a:lvl3pPr>
            <a:lvl4pPr>
              <a:defRPr sz="11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341233054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228600" y="201168"/>
            <a:ext cx="4114800" cy="89502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228600" y="1116488"/>
            <a:ext cx="1828800" cy="3454400"/>
          </a:xfrm>
        </p:spPr>
        <p:txBody>
          <a:bodyPr/>
          <a:lstStyle>
            <a:lvl1pPr>
              <a:defRPr sz="14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2514600" y="666750"/>
            <a:ext cx="6400800" cy="3824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a:t>IBM Watson IoT / © 2019 IBM Corporation</a:t>
            </a:r>
            <a:endParaRPr lang="en-US"/>
          </a:p>
        </p:txBody>
      </p:sp>
    </p:spTree>
    <p:extLst>
      <p:ext uri="{BB962C8B-B14F-4D97-AF65-F5344CB8AC3E}">
        <p14:creationId xmlns:p14="http://schemas.microsoft.com/office/powerpoint/2010/main" val="37393058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9" Type="http://schemas.openxmlformats.org/officeDocument/2006/relationships/slideLayout" Target="../slideLayouts/slideLayout69.xml"/><Relationship Id="rId21" Type="http://schemas.openxmlformats.org/officeDocument/2006/relationships/slideLayout" Target="../slideLayouts/slideLayout51.xml"/><Relationship Id="rId34" Type="http://schemas.openxmlformats.org/officeDocument/2006/relationships/slideLayout" Target="../slideLayouts/slideLayout64.xml"/><Relationship Id="rId42" Type="http://schemas.openxmlformats.org/officeDocument/2006/relationships/slideLayout" Target="../slideLayouts/slideLayout72.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41" Type="http://schemas.openxmlformats.org/officeDocument/2006/relationships/slideLayout" Target="../slideLayouts/slideLayout71.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slideLayout" Target="../slideLayouts/slideLayout70.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43" Type="http://schemas.openxmlformats.org/officeDocument/2006/relationships/theme" Target="../theme/theme2.xml"/><Relationship Id="rId8" Type="http://schemas.openxmlformats.org/officeDocument/2006/relationships/slideLayout" Target="../slideLayouts/slideLayout38.xml"/><Relationship Id="rId3" Type="http://schemas.openxmlformats.org/officeDocument/2006/relationships/slideLayout" Target="../slideLayouts/slideLayout33.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slideLayout" Target="../slideLayouts/slideLayout6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slideLayout" Target="../slideLayouts/slideLayout98.xml"/><Relationship Id="rId39" Type="http://schemas.openxmlformats.org/officeDocument/2006/relationships/slideLayout" Target="../slideLayouts/slideLayout111.xml"/><Relationship Id="rId21" Type="http://schemas.openxmlformats.org/officeDocument/2006/relationships/slideLayout" Target="../slideLayouts/slideLayout93.xml"/><Relationship Id="rId34" Type="http://schemas.openxmlformats.org/officeDocument/2006/relationships/slideLayout" Target="../slideLayouts/slideLayout106.xml"/><Relationship Id="rId42" Type="http://schemas.openxmlformats.org/officeDocument/2006/relationships/slideLayout" Target="../slideLayouts/slideLayout114.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slideLayout" Target="../slideLayouts/slideLayout101.xml"/><Relationship Id="rId41" Type="http://schemas.openxmlformats.org/officeDocument/2006/relationships/slideLayout" Target="../slideLayouts/slideLayout113.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slideLayout" Target="../slideLayouts/slideLayout104.xml"/><Relationship Id="rId37" Type="http://schemas.openxmlformats.org/officeDocument/2006/relationships/slideLayout" Target="../slideLayouts/slideLayout109.xml"/><Relationship Id="rId40" Type="http://schemas.openxmlformats.org/officeDocument/2006/relationships/slideLayout" Target="../slideLayouts/slideLayout112.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slideLayout" Target="../slideLayouts/slideLayout100.xml"/><Relationship Id="rId36" Type="http://schemas.openxmlformats.org/officeDocument/2006/relationships/slideLayout" Target="../slideLayouts/slideLayout108.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slideLayout" Target="../slideLayouts/slideLayout103.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slideLayout" Target="../slideLayouts/slideLayout99.xml"/><Relationship Id="rId30" Type="http://schemas.openxmlformats.org/officeDocument/2006/relationships/slideLayout" Target="../slideLayouts/slideLayout102.xml"/><Relationship Id="rId35" Type="http://schemas.openxmlformats.org/officeDocument/2006/relationships/slideLayout" Target="../slideLayouts/slideLayout107.xml"/><Relationship Id="rId43" Type="http://schemas.openxmlformats.org/officeDocument/2006/relationships/theme" Target="../theme/theme3.xml"/><Relationship Id="rId8" Type="http://schemas.openxmlformats.org/officeDocument/2006/relationships/slideLayout" Target="../slideLayouts/slideLayout80.xml"/><Relationship Id="rId3" Type="http://schemas.openxmlformats.org/officeDocument/2006/relationships/slideLayout" Target="../slideLayouts/slideLayout75.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slideLayout" Target="../slideLayouts/slideLayout97.xml"/><Relationship Id="rId33" Type="http://schemas.openxmlformats.org/officeDocument/2006/relationships/slideLayout" Target="../slideLayouts/slideLayout105.xml"/><Relationship Id="rId38" Type="http://schemas.openxmlformats.org/officeDocument/2006/relationships/slideLayout" Target="../slideLayouts/slideLayout1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image" Target="../media/image9.png"/><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theme" Target="../theme/theme4.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9" Type="http://schemas.openxmlformats.org/officeDocument/2006/relationships/slideLayout" Target="../slideLayouts/slideLayout164.xml"/><Relationship Id="rId21" Type="http://schemas.openxmlformats.org/officeDocument/2006/relationships/slideLayout" Target="../slideLayouts/slideLayout146.xml"/><Relationship Id="rId34" Type="http://schemas.openxmlformats.org/officeDocument/2006/relationships/slideLayout" Target="../slideLayouts/slideLayout159.xml"/><Relationship Id="rId7" Type="http://schemas.openxmlformats.org/officeDocument/2006/relationships/slideLayout" Target="../slideLayouts/slideLayout13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41" Type="http://schemas.openxmlformats.org/officeDocument/2006/relationships/theme" Target="../theme/theme5.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37" Type="http://schemas.openxmlformats.org/officeDocument/2006/relationships/slideLayout" Target="../slideLayouts/slideLayout162.xml"/><Relationship Id="rId40" Type="http://schemas.openxmlformats.org/officeDocument/2006/relationships/slideLayout" Target="../slideLayouts/slideLayout165.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slideLayout" Target="../slideLayouts/slideLayout161.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slideLayout" Target="../slideLayouts/slideLayout160.xml"/><Relationship Id="rId8" Type="http://schemas.openxmlformats.org/officeDocument/2006/relationships/slideLayout" Target="../slideLayouts/slideLayout133.xml"/><Relationship Id="rId3" Type="http://schemas.openxmlformats.org/officeDocument/2006/relationships/slideLayout" Target="../slideLayouts/slideLayout128.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slideLayout" Target="../slideLayouts/slideLayout16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9" Type="http://schemas.openxmlformats.org/officeDocument/2006/relationships/theme" Target="../theme/theme6.xml"/><Relationship Id="rId21" Type="http://schemas.openxmlformats.org/officeDocument/2006/relationships/slideLayout" Target="../slideLayouts/slideLayout186.xml"/><Relationship Id="rId34" Type="http://schemas.openxmlformats.org/officeDocument/2006/relationships/slideLayout" Target="../slideLayouts/slideLayout199.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slideLayout" Target="../slideLayouts/slideLayout198.xml"/><Relationship Id="rId38" Type="http://schemas.openxmlformats.org/officeDocument/2006/relationships/slideLayout" Target="../slideLayouts/slideLayout203.xm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slideLayout" Target="../slideLayouts/slideLayout197.xml"/><Relationship Id="rId37" Type="http://schemas.openxmlformats.org/officeDocument/2006/relationships/slideLayout" Target="../slideLayouts/slideLayout202.xml"/><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36" Type="http://schemas.openxmlformats.org/officeDocument/2006/relationships/slideLayout" Target="../slideLayouts/slideLayout201.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slideLayout" Target="../slideLayouts/slideLayout19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35" Type="http://schemas.openxmlformats.org/officeDocument/2006/relationships/slideLayout" Target="../slideLayouts/slideLayout200.xml"/><Relationship Id="rId8" Type="http://schemas.openxmlformats.org/officeDocument/2006/relationships/slideLayout" Target="../slideLayouts/slideLayout173.xml"/><Relationship Id="rId3" Type="http://schemas.openxmlformats.org/officeDocument/2006/relationships/slideLayout" Target="../slideLayouts/slideLayout16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21" Type="http://schemas.openxmlformats.org/officeDocument/2006/relationships/slideLayout" Target="../slideLayouts/slideLayout224.xml"/><Relationship Id="rId34" Type="http://schemas.openxmlformats.org/officeDocument/2006/relationships/slideLayout" Target="../slideLayouts/slideLayout237.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33" Type="http://schemas.openxmlformats.org/officeDocument/2006/relationships/slideLayout" Target="../slideLayouts/slideLayout236.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29" Type="http://schemas.openxmlformats.org/officeDocument/2006/relationships/slideLayout" Target="../slideLayouts/slideLayout232.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32" Type="http://schemas.openxmlformats.org/officeDocument/2006/relationships/slideLayout" Target="../slideLayouts/slideLayout235.xml"/><Relationship Id="rId37" Type="http://schemas.openxmlformats.org/officeDocument/2006/relationships/theme" Target="../theme/theme7.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slideLayout" Target="../slideLayouts/slideLayout231.xml"/><Relationship Id="rId36" Type="http://schemas.openxmlformats.org/officeDocument/2006/relationships/slideLayout" Target="../slideLayouts/slideLayout239.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31" Type="http://schemas.openxmlformats.org/officeDocument/2006/relationships/slideLayout" Target="../slideLayouts/slideLayout234.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 Id="rId30" Type="http://schemas.openxmlformats.org/officeDocument/2006/relationships/slideLayout" Target="../slideLayouts/slideLayout233.xml"/><Relationship Id="rId35" Type="http://schemas.openxmlformats.org/officeDocument/2006/relationships/slideLayout" Target="../slideLayouts/slideLayout238.xml"/><Relationship Id="rId8" Type="http://schemas.openxmlformats.org/officeDocument/2006/relationships/slideLayout" Target="../slideLayouts/slideLayout211.xml"/><Relationship Id="rId3" Type="http://schemas.openxmlformats.org/officeDocument/2006/relationships/slideLayout" Target="../slideLayouts/slideLayout20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26" Type="http://schemas.openxmlformats.org/officeDocument/2006/relationships/slideLayout" Target="../slideLayouts/slideLayout265.xml"/><Relationship Id="rId21" Type="http://schemas.openxmlformats.org/officeDocument/2006/relationships/slideLayout" Target="../slideLayouts/slideLayout260.xml"/><Relationship Id="rId34" Type="http://schemas.openxmlformats.org/officeDocument/2006/relationships/slideLayout" Target="../slideLayouts/slideLayout273.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5" Type="http://schemas.openxmlformats.org/officeDocument/2006/relationships/slideLayout" Target="../slideLayouts/slideLayout264.xml"/><Relationship Id="rId33" Type="http://schemas.openxmlformats.org/officeDocument/2006/relationships/slideLayout" Target="../slideLayouts/slideLayout272.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slideLayout" Target="../slideLayouts/slideLayout259.xml"/><Relationship Id="rId29" Type="http://schemas.openxmlformats.org/officeDocument/2006/relationships/slideLayout" Target="../slideLayouts/slideLayout268.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24" Type="http://schemas.openxmlformats.org/officeDocument/2006/relationships/slideLayout" Target="../slideLayouts/slideLayout263.xml"/><Relationship Id="rId32" Type="http://schemas.openxmlformats.org/officeDocument/2006/relationships/slideLayout" Target="../slideLayouts/slideLayout271.xml"/><Relationship Id="rId37" Type="http://schemas.openxmlformats.org/officeDocument/2006/relationships/theme" Target="../theme/theme8.xml"/><Relationship Id="rId5" Type="http://schemas.openxmlformats.org/officeDocument/2006/relationships/slideLayout" Target="../slideLayouts/slideLayout244.xml"/><Relationship Id="rId15" Type="http://schemas.openxmlformats.org/officeDocument/2006/relationships/slideLayout" Target="../slideLayouts/slideLayout254.xml"/><Relationship Id="rId23" Type="http://schemas.openxmlformats.org/officeDocument/2006/relationships/slideLayout" Target="../slideLayouts/slideLayout262.xml"/><Relationship Id="rId28" Type="http://schemas.openxmlformats.org/officeDocument/2006/relationships/slideLayout" Target="../slideLayouts/slideLayout267.xml"/><Relationship Id="rId36" Type="http://schemas.openxmlformats.org/officeDocument/2006/relationships/slideLayout" Target="../slideLayouts/slideLayout275.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31" Type="http://schemas.openxmlformats.org/officeDocument/2006/relationships/slideLayout" Target="../slideLayouts/slideLayout270.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 Id="rId27" Type="http://schemas.openxmlformats.org/officeDocument/2006/relationships/slideLayout" Target="../slideLayouts/slideLayout266.xml"/><Relationship Id="rId30" Type="http://schemas.openxmlformats.org/officeDocument/2006/relationships/slideLayout" Target="../slideLayouts/slideLayout269.xml"/><Relationship Id="rId35" Type="http://schemas.openxmlformats.org/officeDocument/2006/relationships/slideLayout" Target="../slideLayouts/slideLayout274.xml"/><Relationship Id="rId8" Type="http://schemas.openxmlformats.org/officeDocument/2006/relationships/slideLayout" Target="../slideLayouts/slideLayout247.xml"/><Relationship Id="rId3" Type="http://schemas.openxmlformats.org/officeDocument/2006/relationships/slideLayout" Target="../slideLayouts/slideLayout242.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88.xml"/><Relationship Id="rId18" Type="http://schemas.openxmlformats.org/officeDocument/2006/relationships/slideLayout" Target="../slideLayouts/slideLayout293.xml"/><Relationship Id="rId26" Type="http://schemas.openxmlformats.org/officeDocument/2006/relationships/slideLayout" Target="../slideLayouts/slideLayout301.xml"/><Relationship Id="rId39" Type="http://schemas.openxmlformats.org/officeDocument/2006/relationships/slideLayout" Target="../slideLayouts/slideLayout314.xml"/><Relationship Id="rId21" Type="http://schemas.openxmlformats.org/officeDocument/2006/relationships/slideLayout" Target="../slideLayouts/slideLayout296.xml"/><Relationship Id="rId34" Type="http://schemas.openxmlformats.org/officeDocument/2006/relationships/slideLayout" Target="../slideLayouts/slideLayout309.xml"/><Relationship Id="rId7" Type="http://schemas.openxmlformats.org/officeDocument/2006/relationships/slideLayout" Target="../slideLayouts/slideLayout282.xml"/><Relationship Id="rId2" Type="http://schemas.openxmlformats.org/officeDocument/2006/relationships/slideLayout" Target="../slideLayouts/slideLayout277.xml"/><Relationship Id="rId16" Type="http://schemas.openxmlformats.org/officeDocument/2006/relationships/slideLayout" Target="../slideLayouts/slideLayout291.xml"/><Relationship Id="rId20" Type="http://schemas.openxmlformats.org/officeDocument/2006/relationships/slideLayout" Target="../slideLayouts/slideLayout295.xml"/><Relationship Id="rId29" Type="http://schemas.openxmlformats.org/officeDocument/2006/relationships/slideLayout" Target="../slideLayouts/slideLayout304.xml"/><Relationship Id="rId41" Type="http://schemas.openxmlformats.org/officeDocument/2006/relationships/theme" Target="../theme/theme9.xml"/><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24" Type="http://schemas.openxmlformats.org/officeDocument/2006/relationships/slideLayout" Target="../slideLayouts/slideLayout299.xml"/><Relationship Id="rId32" Type="http://schemas.openxmlformats.org/officeDocument/2006/relationships/slideLayout" Target="../slideLayouts/slideLayout307.xml"/><Relationship Id="rId37" Type="http://schemas.openxmlformats.org/officeDocument/2006/relationships/slideLayout" Target="../slideLayouts/slideLayout312.xml"/><Relationship Id="rId40" Type="http://schemas.openxmlformats.org/officeDocument/2006/relationships/slideLayout" Target="../slideLayouts/slideLayout315.xml"/><Relationship Id="rId5" Type="http://schemas.openxmlformats.org/officeDocument/2006/relationships/slideLayout" Target="../slideLayouts/slideLayout280.xml"/><Relationship Id="rId15" Type="http://schemas.openxmlformats.org/officeDocument/2006/relationships/slideLayout" Target="../slideLayouts/slideLayout290.xml"/><Relationship Id="rId23" Type="http://schemas.openxmlformats.org/officeDocument/2006/relationships/slideLayout" Target="../slideLayouts/slideLayout298.xml"/><Relationship Id="rId28" Type="http://schemas.openxmlformats.org/officeDocument/2006/relationships/slideLayout" Target="../slideLayouts/slideLayout303.xml"/><Relationship Id="rId36" Type="http://schemas.openxmlformats.org/officeDocument/2006/relationships/slideLayout" Target="../slideLayouts/slideLayout311.xml"/><Relationship Id="rId10" Type="http://schemas.openxmlformats.org/officeDocument/2006/relationships/slideLayout" Target="../slideLayouts/slideLayout285.xml"/><Relationship Id="rId19" Type="http://schemas.openxmlformats.org/officeDocument/2006/relationships/slideLayout" Target="../slideLayouts/slideLayout294.xml"/><Relationship Id="rId31" Type="http://schemas.openxmlformats.org/officeDocument/2006/relationships/slideLayout" Target="../slideLayouts/slideLayout306.xml"/><Relationship Id="rId4" Type="http://schemas.openxmlformats.org/officeDocument/2006/relationships/slideLayout" Target="../slideLayouts/slideLayout279.xml"/><Relationship Id="rId9" Type="http://schemas.openxmlformats.org/officeDocument/2006/relationships/slideLayout" Target="../slideLayouts/slideLayout284.xml"/><Relationship Id="rId14" Type="http://schemas.openxmlformats.org/officeDocument/2006/relationships/slideLayout" Target="../slideLayouts/slideLayout289.xml"/><Relationship Id="rId22" Type="http://schemas.openxmlformats.org/officeDocument/2006/relationships/slideLayout" Target="../slideLayouts/slideLayout297.xml"/><Relationship Id="rId27" Type="http://schemas.openxmlformats.org/officeDocument/2006/relationships/slideLayout" Target="../slideLayouts/slideLayout302.xml"/><Relationship Id="rId30" Type="http://schemas.openxmlformats.org/officeDocument/2006/relationships/slideLayout" Target="../slideLayouts/slideLayout305.xml"/><Relationship Id="rId35" Type="http://schemas.openxmlformats.org/officeDocument/2006/relationships/slideLayout" Target="../slideLayouts/slideLayout310.xml"/><Relationship Id="rId8" Type="http://schemas.openxmlformats.org/officeDocument/2006/relationships/slideLayout" Target="../slideLayouts/slideLayout283.xml"/><Relationship Id="rId3" Type="http://schemas.openxmlformats.org/officeDocument/2006/relationships/slideLayout" Target="../slideLayouts/slideLayout278.xml"/><Relationship Id="rId12" Type="http://schemas.openxmlformats.org/officeDocument/2006/relationships/slideLayout" Target="../slideLayouts/slideLayout287.xml"/><Relationship Id="rId17" Type="http://schemas.openxmlformats.org/officeDocument/2006/relationships/slideLayout" Target="../slideLayouts/slideLayout292.xml"/><Relationship Id="rId25" Type="http://schemas.openxmlformats.org/officeDocument/2006/relationships/slideLayout" Target="../slideLayouts/slideLayout300.xml"/><Relationship Id="rId33" Type="http://schemas.openxmlformats.org/officeDocument/2006/relationships/slideLayout" Target="../slideLayouts/slideLayout308.xml"/><Relationship Id="rId38" Type="http://schemas.openxmlformats.org/officeDocument/2006/relationships/slideLayout" Target="../slideLayouts/slideLayout3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1556336004"/>
      </p:ext>
    </p:extLst>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 id="2147484374" r:id="rId11"/>
    <p:sldLayoutId id="2147484375" r:id="rId12"/>
    <p:sldLayoutId id="2147484376" r:id="rId13"/>
    <p:sldLayoutId id="2147484377" r:id="rId14"/>
    <p:sldLayoutId id="2147484378" r:id="rId15"/>
    <p:sldLayoutId id="2147484379" r:id="rId16"/>
    <p:sldLayoutId id="2147484380" r:id="rId17"/>
    <p:sldLayoutId id="2147484381" r:id="rId18"/>
    <p:sldLayoutId id="2147484382" r:id="rId19"/>
    <p:sldLayoutId id="2147484383" r:id="rId20"/>
    <p:sldLayoutId id="2147484384" r:id="rId21"/>
    <p:sldLayoutId id="2147484385" r:id="rId22"/>
    <p:sldLayoutId id="2147484386" r:id="rId23"/>
    <p:sldLayoutId id="2147484387" r:id="rId24"/>
    <p:sldLayoutId id="2147484487" r:id="rId25"/>
    <p:sldLayoutId id="2147484489" r:id="rId26"/>
    <p:sldLayoutId id="2147484490" r:id="rId27"/>
    <p:sldLayoutId id="2147484498" r:id="rId28"/>
    <p:sldLayoutId id="2147484499" r:id="rId29"/>
    <p:sldLayoutId id="2147484500" r:id="rId30"/>
  </p:sldLayoutIdLst>
  <p:hf hdr="0" dt="0"/>
  <p:txStyles>
    <p:title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3F3F3"/>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p:cNvSpPr>
            <a:spLocks noGrp="1"/>
          </p:cNvSpPr>
          <p:nvPr>
            <p:ph type="ftr" sz="quarter" idx="3"/>
          </p:nvPr>
        </p:nvSpPr>
        <p:spPr>
          <a:xfrm>
            <a:off x="228666" y="4787900"/>
            <a:ext cx="4114735" cy="166687"/>
          </a:xfrm>
          <a:prstGeom prst="rect">
            <a:avLst/>
          </a:prstGeom>
        </p:spPr>
        <p:txBody>
          <a:bodyPr vert="horz" lIns="0" tIns="0" rIns="0" bIns="0" rtlCol="0" anchor="ctr"/>
          <a:lstStyle>
            <a:lvl1pPr marL="0" marR="0" indent="0" algn="l" defTabSz="685992" rtl="0" eaLnBrk="1" fontAlgn="auto" latinLnBrk="0" hangingPunct="1">
              <a:lnSpc>
                <a:spcPct val="100000"/>
              </a:lnSpc>
              <a:spcBef>
                <a:spcPts val="0"/>
              </a:spcBef>
              <a:spcAft>
                <a:spcPts val="0"/>
              </a:spcAft>
              <a:buClrTx/>
              <a:buSzTx/>
              <a:buFontTx/>
              <a:buNone/>
              <a:tabLst/>
              <a:defRPr sz="600">
                <a:solidFill>
                  <a:schemeClr val="tx1"/>
                </a:solidFill>
                <a:latin typeface="IBM Plex Sans" panose="020B0503050203000203" pitchFamily="34" charset="0"/>
              </a:defRPr>
            </a:lvl1pPr>
          </a:lstStyle>
          <a:p>
            <a:endParaRPr lang="en-US" dirty="0"/>
          </a:p>
        </p:txBody>
      </p:sp>
      <p:sp>
        <p:nvSpPr>
          <p:cNvPr id="8" name="Slide Number Placeholder"/>
          <p:cNvSpPr>
            <a:spLocks noGrp="1"/>
          </p:cNvSpPr>
          <p:nvPr>
            <p:ph type="sldNum" sz="quarter" idx="4"/>
          </p:nvPr>
        </p:nvSpPr>
        <p:spPr>
          <a:xfrm>
            <a:off x="7086601" y="4787900"/>
            <a:ext cx="1828732" cy="166687"/>
          </a:xfrm>
          <a:prstGeom prst="rect">
            <a:avLst/>
          </a:prstGeom>
        </p:spPr>
        <p:txBody>
          <a:bodyPr vert="horz" lIns="0" tIns="0" rIns="0" bIns="0" rtlCol="0" anchor="ctr"/>
          <a:lstStyle>
            <a:lvl1pPr algn="r">
              <a:defRPr sz="600">
                <a:solidFill>
                  <a:schemeClr val="tx1"/>
                </a:solidFill>
                <a:latin typeface="IBM Plex Sans" panose="020B0503050203000203" pitchFamily="34" charset="0"/>
              </a:defRPr>
            </a:lvl1pPr>
          </a:lstStyle>
          <a:p>
            <a:fld id="{59395FB3-9C97-154F-86B2-7E381B951268}" type="slidenum">
              <a:rPr lang="en-US" smtClean="0"/>
              <a:pPr/>
              <a:t>‹#›</a:t>
            </a:fld>
            <a:endParaRPr lang="en-US" dirty="0"/>
          </a:p>
        </p:txBody>
      </p:sp>
      <p:grpSp>
        <p:nvGrpSpPr>
          <p:cNvPr id="59" name="Group 58" descr="Outside edge tick marks for alignment">
            <a:extLst>
              <a:ext uri="{C183D7F6-B498-43B3-948B-1728B52AA6E4}">
                <adec:decorative xmlns:adec="http://schemas.microsoft.com/office/drawing/2017/decorative" val="0"/>
              </a:ext>
            </a:extLst>
          </p:cNvPr>
          <p:cNvGrpSpPr/>
          <p:nvPr/>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878431700"/>
      </p:ext>
    </p:extLst>
  </p:cSld>
  <p:clrMap bg1="dk1" tx1="lt1" bg2="dk2" tx2="lt2" accent1="accent1" accent2="accent2" accent3="accent3" accent4="accent4" accent5="accent5" accent6="accent6" hlink="hlink" folHlink="folHlink"/>
  <p:sldLayoutIdLst>
    <p:sldLayoutId id="2147484503" r:id="rId1"/>
    <p:sldLayoutId id="2147484504" r:id="rId2"/>
    <p:sldLayoutId id="2147484505" r:id="rId3"/>
    <p:sldLayoutId id="2147484506" r:id="rId4"/>
    <p:sldLayoutId id="2147484507" r:id="rId5"/>
    <p:sldLayoutId id="2147484508" r:id="rId6"/>
    <p:sldLayoutId id="2147484509" r:id="rId7"/>
    <p:sldLayoutId id="2147484510" r:id="rId8"/>
    <p:sldLayoutId id="2147484511" r:id="rId9"/>
    <p:sldLayoutId id="2147484512" r:id="rId10"/>
    <p:sldLayoutId id="2147484513" r:id="rId11"/>
    <p:sldLayoutId id="2147484514" r:id="rId12"/>
    <p:sldLayoutId id="2147484515" r:id="rId13"/>
    <p:sldLayoutId id="2147484516" r:id="rId14"/>
    <p:sldLayoutId id="2147484517" r:id="rId15"/>
    <p:sldLayoutId id="2147484518" r:id="rId16"/>
    <p:sldLayoutId id="2147484519" r:id="rId17"/>
    <p:sldLayoutId id="2147484520" r:id="rId18"/>
    <p:sldLayoutId id="2147484521" r:id="rId19"/>
    <p:sldLayoutId id="2147484522" r:id="rId20"/>
    <p:sldLayoutId id="2147484523" r:id="rId21"/>
    <p:sldLayoutId id="2147484524" r:id="rId22"/>
    <p:sldLayoutId id="2147484525" r:id="rId23"/>
    <p:sldLayoutId id="2147484526" r:id="rId24"/>
    <p:sldLayoutId id="2147484527" r:id="rId25"/>
    <p:sldLayoutId id="2147484528" r:id="rId26"/>
    <p:sldLayoutId id="2147484529" r:id="rId27"/>
    <p:sldLayoutId id="2147484530" r:id="rId28"/>
    <p:sldLayoutId id="2147484531" r:id="rId29"/>
    <p:sldLayoutId id="2147484532" r:id="rId30"/>
    <p:sldLayoutId id="2147484533" r:id="rId31"/>
    <p:sldLayoutId id="2147484534" r:id="rId32"/>
    <p:sldLayoutId id="2147484535" r:id="rId33"/>
    <p:sldLayoutId id="2147484536" r:id="rId34"/>
    <p:sldLayoutId id="2147484537" r:id="rId35"/>
    <p:sldLayoutId id="2147484538" r:id="rId36"/>
    <p:sldLayoutId id="2147484540" r:id="rId37"/>
    <p:sldLayoutId id="2147484541" r:id="rId38"/>
    <p:sldLayoutId id="2147484542" r:id="rId39"/>
    <p:sldLayoutId id="2147484543" r:id="rId40"/>
    <p:sldLayoutId id="2147484544" r:id="rId41"/>
    <p:sldLayoutId id="2147484545" r:id="rId42"/>
  </p:sldLayoutIdLst>
  <p:hf hdr="0" ftr="0" dt="0"/>
  <p:txStyles>
    <p:titleStyle>
      <a:lvl1pPr algn="l" rtl="0" eaLnBrk="1" fontAlgn="base" hangingPunct="1">
        <a:lnSpc>
          <a:spcPct val="90000"/>
        </a:lnSpc>
        <a:spcBef>
          <a:spcPct val="0"/>
        </a:spcBef>
        <a:spcAft>
          <a:spcPct val="0"/>
        </a:spcAft>
        <a:defRPr sz="2400" b="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8"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9"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707"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76" algn="l" rtl="0" eaLnBrk="1" fontAlgn="base" hangingPunct="1">
        <a:lnSpc>
          <a:spcPct val="90000"/>
        </a:lnSpc>
        <a:spcBef>
          <a:spcPct val="0"/>
        </a:spcBef>
        <a:spcAft>
          <a:spcPct val="0"/>
        </a:spcAft>
        <a:defRPr sz="2220">
          <a:solidFill>
            <a:srgbClr val="191919"/>
          </a:solidFill>
          <a:latin typeface="HelvNeue Light for IBM" pitchFamily="34" charset="0"/>
        </a:defRPr>
      </a:lvl9pPr>
    </p:titleStyle>
    <p:bodyStyle>
      <a:lvl1pPr marL="0" indent="0" algn="l" rtl="0" eaLnBrk="1" fontAlgn="base" hangingPunct="1">
        <a:lnSpc>
          <a:spcPct val="100000"/>
        </a:lnSpc>
        <a:spcBef>
          <a:spcPts val="1100"/>
        </a:spcBef>
        <a:spcAft>
          <a:spcPct val="0"/>
        </a:spcAft>
        <a:buClr>
          <a:schemeClr val="tx1"/>
        </a:buClr>
        <a:buSzPct val="90000"/>
        <a:buFont typeface="Wingdings" pitchFamily="2" charset="2"/>
        <a:buNone/>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1pPr>
      <a:lvl2pPr marL="171452" indent="-173736" algn="l" rtl="0" eaLnBrk="1" fontAlgn="base" hangingPunct="1">
        <a:lnSpc>
          <a:spcPct val="100000"/>
        </a:lnSpc>
        <a:spcBef>
          <a:spcPts val="1100"/>
        </a:spcBef>
        <a:spcAft>
          <a:spcPct val="0"/>
        </a:spcAft>
        <a:buClr>
          <a:schemeClr val="tx1"/>
        </a:buClr>
        <a:buSzPct val="100000"/>
        <a:buFont typeface=".AppleSystemUIFont" charset="-12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342905" indent="-173736" algn="l" rtl="0" eaLnBrk="1" fontAlgn="base" hangingPunct="1">
        <a:lnSpc>
          <a:spcPct val="100000"/>
        </a:lnSpc>
        <a:spcBef>
          <a:spcPts val="1100"/>
        </a:spcBef>
        <a:spcAft>
          <a:spcPct val="0"/>
        </a:spcAft>
        <a:buClr>
          <a:schemeClr val="tx1"/>
        </a:buClr>
        <a:buSzPct val="100000"/>
        <a:buFont typeface="Arial" panose="020B0604020202020204" pitchFamily="34" charset="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628658" indent="-173736" algn="l" rtl="0" eaLnBrk="1" fontAlgn="base" hangingPunct="1">
        <a:lnSpc>
          <a:spcPct val="100000"/>
        </a:lnSpc>
        <a:spcBef>
          <a:spcPts val="1100"/>
        </a:spcBef>
        <a:spcAft>
          <a:spcPct val="0"/>
        </a:spcAft>
        <a:buClr>
          <a:schemeClr val="tx1"/>
        </a:buClr>
        <a:buSzPct val="100000"/>
        <a:buFont typeface=".AppleSystemUIFont" charset="-120"/>
        <a:buChar char="–"/>
        <a:tabLst/>
        <a:defRPr sz="1400"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803285" indent="-173736" algn="l" rtl="0" eaLnBrk="1" fontAlgn="base" hangingPunct="1">
        <a:lnSpc>
          <a:spcPct val="100000"/>
        </a:lnSpc>
        <a:spcBef>
          <a:spcPts val="1100"/>
        </a:spcBef>
        <a:spcAft>
          <a:spcPct val="0"/>
        </a:spcAft>
        <a:buClr>
          <a:schemeClr val="tx1"/>
        </a:buClr>
        <a:buFont typeface=".AppleSystemUIFont" charset="-120"/>
        <a:buChar char="»"/>
        <a:tabLst/>
        <a:defRPr sz="140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Arial"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Arial"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Arial"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Arial"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p15:clr>
            <a:srgbClr val="F26B43"/>
          </p15:clr>
        </p15:guide>
        <p15:guide id="2" pos="144">
          <p15:clr>
            <a:srgbClr val="F26B43"/>
          </p15:clr>
        </p15:guide>
        <p15:guide id="3" pos="5616">
          <p15:clr>
            <a:srgbClr val="F26B43"/>
          </p15:clr>
        </p15:guide>
        <p15:guide id="4" orient="horz" pos="2832">
          <p15:clr>
            <a:srgbClr val="F26B43"/>
          </p15:clr>
        </p15:guide>
        <p15:guide id="5" orient="horz" pos="3088">
          <p15:clr>
            <a:srgbClr val="F26B43"/>
          </p15:clr>
        </p15:guide>
        <p15:guide id="6" pos="2880">
          <p15:clr>
            <a:srgbClr val="F26B43"/>
          </p15:clr>
        </p15:guide>
        <p15:guide id="7" pos="2736">
          <p15:clr>
            <a:srgbClr val="F26B43"/>
          </p15:clr>
        </p15:guide>
        <p15:guide id="8" pos="1440">
          <p15:clr>
            <a:srgbClr val="F26B43"/>
          </p15:clr>
        </p15:guide>
        <p15:guide id="9" pos="3024">
          <p15:clr>
            <a:srgbClr val="F26B43"/>
          </p15:clr>
        </p15:guide>
        <p15:guide id="10" pos="1296">
          <p15:clr>
            <a:srgbClr val="F26B43"/>
          </p15:clr>
        </p15:guide>
        <p15:guide id="11" pos="1584">
          <p15:clr>
            <a:srgbClr val="F26B43"/>
          </p15:clr>
        </p15:guide>
        <p15:guide id="12" pos="4320">
          <p15:clr>
            <a:srgbClr val="F26B43"/>
          </p15:clr>
        </p15:guide>
        <p15:guide id="13" pos="4176">
          <p15:clr>
            <a:srgbClr val="F26B43"/>
          </p15:clr>
        </p15:guide>
        <p15:guide id="14" pos="4464">
          <p15:clr>
            <a:srgbClr val="F26B43"/>
          </p15:clr>
        </p15:guide>
        <p15:guide id="15" orient="horz" pos="412">
          <p15:clr>
            <a:srgbClr val="F26B43"/>
          </p15:clr>
        </p15:guide>
        <p15:guide id="17" orient="horz" pos="812">
          <p15:clr>
            <a:srgbClr val="F26B43"/>
          </p15:clr>
        </p15:guide>
        <p15:guide id="18" orient="horz" pos="1620">
          <p15:clr>
            <a:srgbClr val="F26B43"/>
          </p15:clr>
        </p15:guide>
        <p15:guide id="19" orient="horz" pos="1216">
          <p15:clr>
            <a:srgbClr val="F26B43"/>
          </p15:clr>
        </p15:guide>
        <p15:guide id="20" orient="horz" pos="2022">
          <p15:clr>
            <a:srgbClr val="F26B43"/>
          </p15:clr>
        </p15:guide>
        <p15:guide id="21" orient="horz" pos="24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70"/>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6"/>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de-DE" dirty="0"/>
              <a:t>IBM Watson IoT / © 2020 IBM Corporation</a:t>
            </a:r>
            <a:endParaRPr lang="en-US" dirty="0"/>
          </a:p>
        </p:txBody>
      </p:sp>
    </p:spTree>
    <p:extLst>
      <p:ext uri="{BB962C8B-B14F-4D97-AF65-F5344CB8AC3E}">
        <p14:creationId xmlns:p14="http://schemas.microsoft.com/office/powerpoint/2010/main" val="1844055540"/>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49" r:id="rId3"/>
    <p:sldLayoutId id="2147484550" r:id="rId4"/>
    <p:sldLayoutId id="2147484551" r:id="rId5"/>
    <p:sldLayoutId id="2147484552" r:id="rId6"/>
    <p:sldLayoutId id="2147484553" r:id="rId7"/>
    <p:sldLayoutId id="2147484554" r:id="rId8"/>
    <p:sldLayoutId id="2147484555" r:id="rId9"/>
    <p:sldLayoutId id="2147484556" r:id="rId10"/>
    <p:sldLayoutId id="2147484557" r:id="rId11"/>
    <p:sldLayoutId id="2147484558" r:id="rId12"/>
    <p:sldLayoutId id="2147484559" r:id="rId13"/>
    <p:sldLayoutId id="2147484560" r:id="rId14"/>
    <p:sldLayoutId id="2147484561" r:id="rId15"/>
    <p:sldLayoutId id="2147484562" r:id="rId16"/>
    <p:sldLayoutId id="2147484563" r:id="rId17"/>
    <p:sldLayoutId id="2147484564" r:id="rId18"/>
    <p:sldLayoutId id="2147484565" r:id="rId19"/>
    <p:sldLayoutId id="2147484566" r:id="rId20"/>
    <p:sldLayoutId id="2147484567" r:id="rId21"/>
    <p:sldLayoutId id="2147484568" r:id="rId22"/>
    <p:sldLayoutId id="2147484569" r:id="rId23"/>
    <p:sldLayoutId id="2147484570" r:id="rId24"/>
    <p:sldLayoutId id="2147484571" r:id="rId25"/>
    <p:sldLayoutId id="2147484572" r:id="rId26"/>
    <p:sldLayoutId id="2147484573" r:id="rId27"/>
    <p:sldLayoutId id="2147484574" r:id="rId28"/>
    <p:sldLayoutId id="2147484575" r:id="rId29"/>
    <p:sldLayoutId id="2147484576" r:id="rId30"/>
    <p:sldLayoutId id="2147484577" r:id="rId31"/>
    <p:sldLayoutId id="2147484578" r:id="rId32"/>
    <p:sldLayoutId id="2147484579" r:id="rId33"/>
    <p:sldLayoutId id="2147484580" r:id="rId34"/>
    <p:sldLayoutId id="2147484581" r:id="rId35"/>
    <p:sldLayoutId id="2147484582" r:id="rId36"/>
    <p:sldLayoutId id="2147484583" r:id="rId37"/>
    <p:sldLayoutId id="2147484584" r:id="rId38"/>
    <p:sldLayoutId id="2147484585" r:id="rId39"/>
    <p:sldLayoutId id="2147484586" r:id="rId40"/>
    <p:sldLayoutId id="2147484587" r:id="rId41"/>
    <p:sldLayoutId id="2147484588" r:id="rId42"/>
  </p:sldLayoutIdLst>
  <p:hf hdr="0" ftr="0" dt="0"/>
  <p:txStyles>
    <p:title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5750" y="428625"/>
            <a:ext cx="4114800" cy="714375"/>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285750" y="1285875"/>
            <a:ext cx="4114800" cy="3286125"/>
          </a:xfrm>
          <a:prstGeom prst="rect">
            <a:avLst/>
          </a:prstGeom>
        </p:spPr>
        <p:txBody>
          <a:bodyPr vert="horz" lIns="0" tIns="228600" rIns="0" bIns="0" rtlCol="0" anchor="t">
            <a:noAutofit/>
          </a:bodyPr>
          <a:lstStyle/>
          <a:p>
            <a:pPr lvl="0"/>
            <a:r>
              <a:rPr lang="en-US" dirty="0"/>
              <a:t>Click to edit Master text styles</a:t>
            </a:r>
          </a:p>
        </p:txBody>
      </p:sp>
      <p:pic>
        <p:nvPicPr>
          <p:cNvPr id="15" name="Picture 14"/>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71451" y="4886340"/>
            <a:ext cx="353824" cy="142875"/>
          </a:xfrm>
          <a:prstGeom prst="rect">
            <a:avLst/>
          </a:prstGeom>
        </p:spPr>
      </p:pic>
      <p:sp>
        <p:nvSpPr>
          <p:cNvPr id="10" name="Footer Placeholder 3"/>
          <p:cNvSpPr txBox="1">
            <a:spLocks/>
          </p:cNvSpPr>
          <p:nvPr userDrawn="1"/>
        </p:nvSpPr>
        <p:spPr>
          <a:xfrm>
            <a:off x="630630" y="4877802"/>
            <a:ext cx="1427760" cy="136908"/>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25" b="0" i="0" dirty="0">
                <a:solidFill>
                  <a:schemeClr val="tx1">
                    <a:alpha val="60000"/>
                  </a:schemeClr>
                </a:solidFill>
                <a:latin typeface="IBM Plex Sans" charset="0"/>
                <a:ea typeface="IBM Plex Sans" charset="0"/>
                <a:cs typeface="IBM Plex Sans" charset="0"/>
              </a:rPr>
              <a:t>© 2020 IBM Corporation</a:t>
            </a:r>
            <a:r>
              <a:rPr lang="en-US" sz="625" b="0" i="0" baseline="0" dirty="0">
                <a:solidFill>
                  <a:schemeClr val="tx1">
                    <a:alpha val="60000"/>
                  </a:schemeClr>
                </a:solidFill>
                <a:latin typeface="IBM Plex Sans" charset="0"/>
                <a:ea typeface="IBM Plex Sans" charset="0"/>
                <a:cs typeface="IBM Plex Sans" charset="0"/>
              </a:rPr>
              <a:t>              </a:t>
            </a:r>
            <a:r>
              <a:rPr lang="en-US" sz="625" b="0" i="0" dirty="0">
                <a:solidFill>
                  <a:schemeClr val="tx1">
                    <a:alpha val="60000"/>
                  </a:schemeClr>
                </a:solidFill>
                <a:latin typeface="IBM Plex Sans" charset="0"/>
                <a:ea typeface="IBM Plex Sans" charset="0"/>
                <a:cs typeface="IBM Plex Sans" charset="0"/>
              </a:rPr>
              <a:t> </a:t>
            </a:r>
          </a:p>
        </p:txBody>
      </p:sp>
      <p:sp>
        <p:nvSpPr>
          <p:cNvPr id="16" name="Footer Placeholder 3"/>
          <p:cNvSpPr txBox="1">
            <a:spLocks/>
          </p:cNvSpPr>
          <p:nvPr userDrawn="1"/>
        </p:nvSpPr>
        <p:spPr>
          <a:xfrm>
            <a:off x="3629025" y="4870976"/>
            <a:ext cx="1227735" cy="142875"/>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625" b="0" i="0" dirty="0">
                <a:solidFill>
                  <a:schemeClr val="tx1">
                    <a:alpha val="60000"/>
                  </a:schemeClr>
                </a:solidFill>
                <a:latin typeface="IBM Plex Sans" charset="0"/>
                <a:ea typeface="IBM Plex Sans" charset="0"/>
                <a:cs typeface="IBM Plex Sans" charset="0"/>
              </a:rPr>
              <a:t>IBM Confidential (when filled in)</a:t>
            </a:r>
          </a:p>
        </p:txBody>
      </p:sp>
      <p:sp>
        <p:nvSpPr>
          <p:cNvPr id="17" name="Slide Number Placeholder 2"/>
          <p:cNvSpPr txBox="1">
            <a:spLocks/>
          </p:cNvSpPr>
          <p:nvPr userDrawn="1"/>
        </p:nvSpPr>
        <p:spPr>
          <a:xfrm>
            <a:off x="8629650" y="4912051"/>
            <a:ext cx="204925" cy="136906"/>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625" b="0" i="0" smtClean="0">
                <a:solidFill>
                  <a:schemeClr val="tx1"/>
                </a:solidFill>
                <a:latin typeface="IBM Plex Sans" charset="0"/>
                <a:ea typeface="IBM Plex Sans" charset="0"/>
                <a:cs typeface="IBM Plex Sans" charset="0"/>
              </a:rPr>
              <a:pPr algn="l"/>
              <a:t>‹#›</a:t>
            </a:fld>
            <a:endParaRPr lang="en-US" sz="625" b="0" i="0" dirty="0">
              <a:solidFill>
                <a:schemeClr val="tx1"/>
              </a:solidFill>
              <a:latin typeface="IBM Plex Sans" charset="0"/>
              <a:ea typeface="IBM Plex Sans" charset="0"/>
              <a:cs typeface="IBM Plex Sans" charset="0"/>
            </a:endParaRPr>
          </a:p>
        </p:txBody>
      </p:sp>
      <p:sp>
        <p:nvSpPr>
          <p:cNvPr id="8" name="Footer Placeholder 3">
            <a:extLst>
              <a:ext uri="{FF2B5EF4-FFF2-40B4-BE49-F238E27FC236}">
                <a16:creationId xmlns:a16="http://schemas.microsoft.com/office/drawing/2014/main" id="{381D5C4C-DA2C-4815-85C2-BB4E4B0F46E4}"/>
              </a:ext>
            </a:extLst>
          </p:cNvPr>
          <p:cNvSpPr txBox="1">
            <a:spLocks/>
          </p:cNvSpPr>
          <p:nvPr userDrawn="1"/>
        </p:nvSpPr>
        <p:spPr>
          <a:xfrm>
            <a:off x="6315075" y="4912050"/>
            <a:ext cx="2198295" cy="102659"/>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r>
              <a:rPr lang="en-US" sz="625" b="0" i="0" dirty="0">
                <a:solidFill>
                  <a:schemeClr val="tx1">
                    <a:alpha val="60000"/>
                  </a:schemeClr>
                </a:solidFill>
                <a:latin typeface="IBM Plex Sans" charset="0"/>
                <a:ea typeface="IBM Plex Sans" charset="0"/>
                <a:cs typeface="IBM Plex Sans" charset="0"/>
              </a:rPr>
              <a:t>AI Applications OM Unique Template – March 30, 2020</a:t>
            </a:r>
          </a:p>
        </p:txBody>
      </p:sp>
    </p:spTree>
    <p:extLst>
      <p:ext uri="{BB962C8B-B14F-4D97-AF65-F5344CB8AC3E}">
        <p14:creationId xmlns:p14="http://schemas.microsoft.com/office/powerpoint/2010/main" val="4141285628"/>
      </p:ext>
    </p:extLst>
  </p:cSld>
  <p:clrMap bg1="lt1" tx1="dk1" bg2="lt2" tx2="dk2" accent1="accent1" accent2="accent2" accent3="accent3" accent4="accent4" accent5="accent5" accent6="accent6" hlink="hlink" folHlink="folHlink"/>
  <p:sldLayoutIdLst>
    <p:sldLayoutId id="2147484590" r:id="rId1"/>
    <p:sldLayoutId id="2147484591" r:id="rId2"/>
    <p:sldLayoutId id="2147484592" r:id="rId3"/>
    <p:sldLayoutId id="2147484593" r:id="rId4"/>
    <p:sldLayoutId id="2147484594" r:id="rId5"/>
    <p:sldLayoutId id="2147484595" r:id="rId6"/>
    <p:sldLayoutId id="2147484596" r:id="rId7"/>
    <p:sldLayoutId id="2147484597" r:id="rId8"/>
    <p:sldLayoutId id="2147484598" r:id="rId9"/>
    <p:sldLayoutId id="2147484599" r:id="rId10"/>
    <p:sldLayoutId id="2147484600" r:id="rId11"/>
  </p:sldLayoutIdLst>
  <p:txStyles>
    <p:titleStyle>
      <a:lvl1pPr algn="l" defTabSz="685773" rtl="0" eaLnBrk="1" latinLnBrk="0" hangingPunct="1">
        <a:lnSpc>
          <a:spcPct val="90000"/>
        </a:lnSpc>
        <a:spcBef>
          <a:spcPct val="0"/>
        </a:spcBef>
        <a:buNone/>
        <a:defRPr sz="2250" b="0" i="0" kern="1200">
          <a:solidFill>
            <a:schemeClr val="tx1"/>
          </a:solidFill>
          <a:latin typeface="IBM Plex Sans" charset="0"/>
          <a:ea typeface="IBM Plex Sans" charset="0"/>
          <a:cs typeface="IBM Plex Sans" charset="0"/>
        </a:defRPr>
      </a:lvl1pPr>
    </p:titleStyle>
    <p:bodyStyle>
      <a:lvl1pPr marL="0" indent="0" algn="l" defTabSz="685773" rtl="0" eaLnBrk="1" latinLnBrk="0" hangingPunct="1">
        <a:lnSpc>
          <a:spcPct val="105000"/>
        </a:lnSpc>
        <a:spcBef>
          <a:spcPts val="375"/>
        </a:spcBef>
        <a:buFontTx/>
        <a:buNone/>
        <a:tabLst/>
        <a:defRPr sz="1250" b="0" i="0" kern="1200">
          <a:solidFill>
            <a:schemeClr val="tx1"/>
          </a:solidFill>
          <a:latin typeface="IBM Plex Sans" charset="0"/>
          <a:ea typeface="IBM Plex Sans" charset="0"/>
          <a:cs typeface="IBM Plex Sans" charset="0"/>
        </a:defRPr>
      </a:lvl1pPr>
      <a:lvl2pPr marL="142869" indent="-142869" algn="l" defTabSz="685773" rtl="0" eaLnBrk="1" latinLnBrk="0" hangingPunct="1">
        <a:lnSpc>
          <a:spcPct val="105000"/>
        </a:lnSpc>
        <a:spcBef>
          <a:spcPts val="375"/>
        </a:spcBef>
        <a:buFont typeface="Wingdings" panose="05000000000000000000" pitchFamily="2" charset="2"/>
        <a:buChar char="§"/>
        <a:defRPr lang="en-US" sz="1250" b="0" i="0" kern="1200" dirty="0" smtClean="0">
          <a:solidFill>
            <a:schemeClr val="tx1"/>
          </a:solidFill>
          <a:latin typeface="IBM Plex Sans" charset="0"/>
          <a:ea typeface="IBM Plex Sans" charset="0"/>
          <a:cs typeface="IBM Plex Sans" charset="0"/>
        </a:defRPr>
      </a:lvl2pPr>
      <a:lvl3pPr marL="285739" indent="-142869" algn="l" defTabSz="685773" rtl="0" eaLnBrk="1" latinLnBrk="0" hangingPunct="1">
        <a:lnSpc>
          <a:spcPct val="105000"/>
        </a:lnSpc>
        <a:spcBef>
          <a:spcPts val="375"/>
        </a:spcBef>
        <a:buSzPct val="80000"/>
        <a:buFont typeface="Arial" panose="020B0604020202020204" pitchFamily="34" charset="0"/>
        <a:buChar char="–"/>
        <a:defRPr lang="en-US" sz="1250" b="0" i="0" kern="1200" dirty="0" smtClean="0">
          <a:solidFill>
            <a:schemeClr val="tx1"/>
          </a:solidFill>
          <a:latin typeface="IBM Plex Sans" charset="0"/>
          <a:ea typeface="IBM Plex Sans" charset="0"/>
          <a:cs typeface="IBM Plex Sans" charset="0"/>
        </a:defRPr>
      </a:lvl3pPr>
      <a:lvl4pPr marL="428608" indent="-142869" algn="l" defTabSz="685773" rtl="0" eaLnBrk="1" latinLnBrk="0" hangingPunct="1">
        <a:lnSpc>
          <a:spcPct val="105000"/>
        </a:lnSpc>
        <a:spcBef>
          <a:spcPts val="375"/>
        </a:spcBef>
        <a:buFont typeface="Arial" panose="020B0604020202020204" pitchFamily="34" charset="0"/>
        <a:buChar char="•"/>
        <a:defRPr lang="en-US" sz="1250" b="0" i="0" kern="1200" dirty="0" smtClean="0">
          <a:solidFill>
            <a:schemeClr val="tx1"/>
          </a:solidFill>
          <a:latin typeface="IBM Plex Sans" charset="0"/>
          <a:ea typeface="IBM Plex Sans" charset="0"/>
          <a:cs typeface="IBM Plex Sans" charset="0"/>
        </a:defRPr>
      </a:lvl4pPr>
      <a:lvl5pPr marL="571478" indent="-142869" algn="l" defTabSz="685773" rtl="0" eaLnBrk="1" latinLnBrk="0" hangingPunct="1">
        <a:lnSpc>
          <a:spcPct val="105000"/>
        </a:lnSpc>
        <a:spcBef>
          <a:spcPts val="375"/>
        </a:spcBef>
        <a:buSzPct val="80000"/>
        <a:buFont typeface="Arial" panose="020B0604020202020204" pitchFamily="34" charset="0"/>
        <a:buChar char="–"/>
        <a:defRPr lang="en-US" sz="1250" b="0" i="0" kern="1200" dirty="0">
          <a:solidFill>
            <a:schemeClr val="tx1"/>
          </a:solidFill>
          <a:latin typeface="IBM Plex Sans" charset="0"/>
          <a:ea typeface="IBM Plex Sans" charset="0"/>
          <a:cs typeface="IBM Plex Sans" charset="0"/>
        </a:defRPr>
      </a:lvl5pPr>
      <a:lvl6pPr marL="1885874" indent="-171443" algn="l" defTabSz="68577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61" indent="-171443" algn="l" defTabSz="68577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48" indent="-171443" algn="l" defTabSz="68577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34" indent="-171443" algn="l" defTabSz="68577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73" rtl="0" eaLnBrk="1" latinLnBrk="0" hangingPunct="1">
        <a:defRPr sz="1350" kern="1200">
          <a:solidFill>
            <a:schemeClr val="tx1"/>
          </a:solidFill>
          <a:latin typeface="+mn-lt"/>
          <a:ea typeface="+mn-ea"/>
          <a:cs typeface="+mn-cs"/>
        </a:defRPr>
      </a:lvl1pPr>
      <a:lvl2pPr marL="342886" algn="l" defTabSz="685773" rtl="0" eaLnBrk="1" latinLnBrk="0" hangingPunct="1">
        <a:defRPr sz="1350" kern="1200">
          <a:solidFill>
            <a:schemeClr val="tx1"/>
          </a:solidFill>
          <a:latin typeface="+mn-lt"/>
          <a:ea typeface="+mn-ea"/>
          <a:cs typeface="+mn-cs"/>
        </a:defRPr>
      </a:lvl2pPr>
      <a:lvl3pPr marL="685773" algn="l" defTabSz="685773" rtl="0" eaLnBrk="1" latinLnBrk="0" hangingPunct="1">
        <a:defRPr sz="1350" kern="1200">
          <a:solidFill>
            <a:schemeClr val="tx1"/>
          </a:solidFill>
          <a:latin typeface="+mn-lt"/>
          <a:ea typeface="+mn-ea"/>
          <a:cs typeface="+mn-cs"/>
        </a:defRPr>
      </a:lvl3pPr>
      <a:lvl4pPr marL="1028659" algn="l" defTabSz="685773" rtl="0" eaLnBrk="1" latinLnBrk="0" hangingPunct="1">
        <a:defRPr sz="1350" kern="1200">
          <a:solidFill>
            <a:schemeClr val="tx1"/>
          </a:solidFill>
          <a:latin typeface="+mn-lt"/>
          <a:ea typeface="+mn-ea"/>
          <a:cs typeface="+mn-cs"/>
        </a:defRPr>
      </a:lvl4pPr>
      <a:lvl5pPr marL="1371545" algn="l" defTabSz="685773" rtl="0" eaLnBrk="1" latinLnBrk="0" hangingPunct="1">
        <a:defRPr sz="1350" kern="1200">
          <a:solidFill>
            <a:schemeClr val="tx1"/>
          </a:solidFill>
          <a:latin typeface="+mn-lt"/>
          <a:ea typeface="+mn-ea"/>
          <a:cs typeface="+mn-cs"/>
        </a:defRPr>
      </a:lvl5pPr>
      <a:lvl6pPr marL="1714432" algn="l" defTabSz="685773" rtl="0" eaLnBrk="1" latinLnBrk="0" hangingPunct="1">
        <a:defRPr sz="1350" kern="1200">
          <a:solidFill>
            <a:schemeClr val="tx1"/>
          </a:solidFill>
          <a:latin typeface="+mn-lt"/>
          <a:ea typeface="+mn-ea"/>
          <a:cs typeface="+mn-cs"/>
        </a:defRPr>
      </a:lvl6pPr>
      <a:lvl7pPr marL="2057318" algn="l" defTabSz="685773" rtl="0" eaLnBrk="1" latinLnBrk="0" hangingPunct="1">
        <a:defRPr sz="1350" kern="1200">
          <a:solidFill>
            <a:schemeClr val="tx1"/>
          </a:solidFill>
          <a:latin typeface="+mn-lt"/>
          <a:ea typeface="+mn-ea"/>
          <a:cs typeface="+mn-cs"/>
        </a:defRPr>
      </a:lvl7pPr>
      <a:lvl8pPr marL="2400204" algn="l" defTabSz="685773" rtl="0" eaLnBrk="1" latinLnBrk="0" hangingPunct="1">
        <a:defRPr sz="1350" kern="1200">
          <a:solidFill>
            <a:schemeClr val="tx1"/>
          </a:solidFill>
          <a:latin typeface="+mn-lt"/>
          <a:ea typeface="+mn-ea"/>
          <a:cs typeface="+mn-cs"/>
        </a:defRPr>
      </a:lvl8pPr>
      <a:lvl9pPr marL="2743091" algn="l" defTabSz="685773"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1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bg2"/>
                </a:solidFill>
                <a:latin typeface="+mn-lt"/>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604950402"/>
      </p:ext>
    </p:extLst>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 id="2147484613" r:id="rId11"/>
    <p:sldLayoutId id="2147484614" r:id="rId12"/>
    <p:sldLayoutId id="2147484615" r:id="rId13"/>
    <p:sldLayoutId id="2147484616" r:id="rId14"/>
    <p:sldLayoutId id="2147484617" r:id="rId15"/>
    <p:sldLayoutId id="2147484618" r:id="rId16"/>
    <p:sldLayoutId id="2147484619" r:id="rId17"/>
    <p:sldLayoutId id="2147484620" r:id="rId18"/>
    <p:sldLayoutId id="2147484621" r:id="rId19"/>
    <p:sldLayoutId id="2147484622" r:id="rId20"/>
    <p:sldLayoutId id="2147484623" r:id="rId21"/>
    <p:sldLayoutId id="2147484624" r:id="rId22"/>
    <p:sldLayoutId id="2147484625" r:id="rId23"/>
    <p:sldLayoutId id="2147484626" r:id="rId24"/>
    <p:sldLayoutId id="2147484627" r:id="rId25"/>
    <p:sldLayoutId id="2147484628" r:id="rId26"/>
    <p:sldLayoutId id="2147484629" r:id="rId27"/>
    <p:sldLayoutId id="2147484630" r:id="rId28"/>
    <p:sldLayoutId id="2147484631" r:id="rId29"/>
    <p:sldLayoutId id="2147484632" r:id="rId30"/>
    <p:sldLayoutId id="2147484633" r:id="rId31"/>
    <p:sldLayoutId id="2147484634" r:id="rId32"/>
    <p:sldLayoutId id="2147484635" r:id="rId33"/>
    <p:sldLayoutId id="2147484636" r:id="rId34"/>
    <p:sldLayoutId id="2147484637" r:id="rId35"/>
    <p:sldLayoutId id="2147484638" r:id="rId36"/>
    <p:sldLayoutId id="2147484639" r:id="rId37"/>
    <p:sldLayoutId id="2147484640" r:id="rId38"/>
    <p:sldLayoutId id="2147484641" r:id="rId39"/>
    <p:sldLayoutId id="2147484642" r:id="rId40"/>
  </p:sldLayoutIdLst>
  <p:hf hdr="0" ftr="0" dt="0"/>
  <p:txStyles>
    <p:title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pt-BR" dirty="0"/>
              <a:t>IBM Maximo / © 2020 IBM Corporation</a:t>
            </a:r>
            <a:endParaRPr lang="en-US" dirty="0"/>
          </a:p>
        </p:txBody>
      </p:sp>
    </p:spTree>
    <p:extLst>
      <p:ext uri="{BB962C8B-B14F-4D97-AF65-F5344CB8AC3E}">
        <p14:creationId xmlns:p14="http://schemas.microsoft.com/office/powerpoint/2010/main" val="1091039379"/>
      </p:ext>
    </p:extLst>
  </p:cSld>
  <p:clrMap bg1="lt1" tx1="dk1" bg2="lt2" tx2="dk2" accent1="accent1" accent2="accent2" accent3="accent3" accent4="accent4" accent5="accent5" accent6="accent6" hlink="hlink" folHlink="folHlink"/>
  <p:sldLayoutIdLst>
    <p:sldLayoutId id="2147484646" r:id="rId1"/>
    <p:sldLayoutId id="2147484647" r:id="rId2"/>
    <p:sldLayoutId id="2147484648" r:id="rId3"/>
    <p:sldLayoutId id="2147484649" r:id="rId4"/>
    <p:sldLayoutId id="2147484650" r:id="rId5"/>
    <p:sldLayoutId id="2147484651" r:id="rId6"/>
    <p:sldLayoutId id="2147484652" r:id="rId7"/>
    <p:sldLayoutId id="2147484653" r:id="rId8"/>
    <p:sldLayoutId id="2147484654" r:id="rId9"/>
    <p:sldLayoutId id="2147484655" r:id="rId10"/>
    <p:sldLayoutId id="2147484656" r:id="rId11"/>
    <p:sldLayoutId id="2147484657" r:id="rId12"/>
    <p:sldLayoutId id="2147484658" r:id="rId13"/>
    <p:sldLayoutId id="2147484659" r:id="rId14"/>
    <p:sldLayoutId id="2147484660" r:id="rId15"/>
    <p:sldLayoutId id="2147484661" r:id="rId16"/>
    <p:sldLayoutId id="2147484662" r:id="rId17"/>
    <p:sldLayoutId id="2147484663" r:id="rId18"/>
    <p:sldLayoutId id="2147484664" r:id="rId19"/>
    <p:sldLayoutId id="2147484665" r:id="rId20"/>
    <p:sldLayoutId id="2147484666" r:id="rId21"/>
    <p:sldLayoutId id="2147484667" r:id="rId22"/>
    <p:sldLayoutId id="2147484668" r:id="rId23"/>
    <p:sldLayoutId id="2147484669" r:id="rId24"/>
    <p:sldLayoutId id="2147484670" r:id="rId25"/>
    <p:sldLayoutId id="2147484671" r:id="rId26"/>
    <p:sldLayoutId id="2147484672" r:id="rId27"/>
    <p:sldLayoutId id="2147484673" r:id="rId28"/>
    <p:sldLayoutId id="2147484674" r:id="rId29"/>
    <p:sldLayoutId id="2147484675" r:id="rId30"/>
    <p:sldLayoutId id="2147484676" r:id="rId31"/>
    <p:sldLayoutId id="2147484677" r:id="rId32"/>
    <p:sldLayoutId id="2147484678" r:id="rId33"/>
    <p:sldLayoutId id="2147484679" r:id="rId34"/>
    <p:sldLayoutId id="2147484680" r:id="rId35"/>
    <p:sldLayoutId id="2147484681" r:id="rId36"/>
    <p:sldLayoutId id="2147484682" r:id="rId37"/>
    <p:sldLayoutId id="2147484683" r:id="rId38"/>
  </p:sldLayoutIdLst>
  <p:hf hdr="0" dt="0"/>
  <p:txStyles>
    <p:title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9"/>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5"/>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2222174290"/>
      </p:ext>
    </p:extLst>
  </p:cSld>
  <p:clrMap bg1="lt1" tx1="dk1" bg2="lt2" tx2="dk2" accent1="accent1" accent2="accent2" accent3="accent3" accent4="accent4" accent5="accent5" accent6="accent6" hlink="hlink" folHlink="folHlink"/>
  <p:sldLayoutIdLst>
    <p:sldLayoutId id="2147484685" r:id="rId1"/>
    <p:sldLayoutId id="2147484686" r:id="rId2"/>
    <p:sldLayoutId id="2147484687" r:id="rId3"/>
    <p:sldLayoutId id="2147484688" r:id="rId4"/>
    <p:sldLayoutId id="2147484689" r:id="rId5"/>
    <p:sldLayoutId id="2147484690" r:id="rId6"/>
    <p:sldLayoutId id="2147484691" r:id="rId7"/>
    <p:sldLayoutId id="2147484692" r:id="rId8"/>
    <p:sldLayoutId id="2147484693" r:id="rId9"/>
    <p:sldLayoutId id="2147484694" r:id="rId10"/>
    <p:sldLayoutId id="2147484695" r:id="rId11"/>
    <p:sldLayoutId id="2147484696" r:id="rId12"/>
    <p:sldLayoutId id="2147484697" r:id="rId13"/>
    <p:sldLayoutId id="2147484698" r:id="rId14"/>
    <p:sldLayoutId id="2147484699" r:id="rId15"/>
    <p:sldLayoutId id="2147484700" r:id="rId16"/>
    <p:sldLayoutId id="2147484701" r:id="rId17"/>
    <p:sldLayoutId id="2147484702" r:id="rId18"/>
    <p:sldLayoutId id="2147484703" r:id="rId19"/>
    <p:sldLayoutId id="2147484704" r:id="rId20"/>
    <p:sldLayoutId id="2147484705" r:id="rId21"/>
    <p:sldLayoutId id="2147484706" r:id="rId22"/>
    <p:sldLayoutId id="2147484707" r:id="rId23"/>
    <p:sldLayoutId id="2147484708" r:id="rId24"/>
    <p:sldLayoutId id="2147484709" r:id="rId25"/>
    <p:sldLayoutId id="2147484710" r:id="rId26"/>
    <p:sldLayoutId id="2147484711" r:id="rId27"/>
    <p:sldLayoutId id="2147484712" r:id="rId28"/>
    <p:sldLayoutId id="2147484713" r:id="rId29"/>
    <p:sldLayoutId id="2147484714" r:id="rId30"/>
    <p:sldLayoutId id="2147484715" r:id="rId31"/>
    <p:sldLayoutId id="2147484716" r:id="rId32"/>
    <p:sldLayoutId id="2147484717" r:id="rId33"/>
    <p:sldLayoutId id="2147484718" r:id="rId34"/>
    <p:sldLayoutId id="2147484719" r:id="rId35"/>
    <p:sldLayoutId id="2147484720" r:id="rId36"/>
  </p:sldLayoutIdLst>
  <p:hf hdr="0" ftr="0" dt="0"/>
  <p:txStyles>
    <p:titleStyle>
      <a:lvl1pPr algn="l" defTabSz="457189"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189"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4" indent="-173034" algn="l" defTabSz="457189"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65" indent="-173034" algn="l" defTabSz="457189"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60" indent="-168271" algn="l" defTabSz="457189"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55" indent="-173034" algn="l" defTabSz="457189"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tx1"/>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3970793721"/>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 id="2147484732" r:id="rId11"/>
    <p:sldLayoutId id="2147484733" r:id="rId12"/>
    <p:sldLayoutId id="2147484734" r:id="rId13"/>
    <p:sldLayoutId id="2147484735" r:id="rId14"/>
    <p:sldLayoutId id="2147484736" r:id="rId15"/>
    <p:sldLayoutId id="2147484737" r:id="rId16"/>
    <p:sldLayoutId id="2147484738" r:id="rId17"/>
    <p:sldLayoutId id="2147484739" r:id="rId18"/>
    <p:sldLayoutId id="2147484740" r:id="rId19"/>
    <p:sldLayoutId id="2147484741" r:id="rId20"/>
    <p:sldLayoutId id="2147484742" r:id="rId21"/>
    <p:sldLayoutId id="2147484743" r:id="rId22"/>
    <p:sldLayoutId id="2147484744" r:id="rId23"/>
    <p:sldLayoutId id="2147484745" r:id="rId24"/>
    <p:sldLayoutId id="2147484746" r:id="rId25"/>
    <p:sldLayoutId id="2147484747" r:id="rId26"/>
    <p:sldLayoutId id="2147484748" r:id="rId27"/>
    <p:sldLayoutId id="2147484749" r:id="rId28"/>
    <p:sldLayoutId id="2147484750" r:id="rId29"/>
    <p:sldLayoutId id="2147484751" r:id="rId30"/>
    <p:sldLayoutId id="2147484752" r:id="rId31"/>
    <p:sldLayoutId id="2147484753" r:id="rId32"/>
    <p:sldLayoutId id="2147484754" r:id="rId33"/>
    <p:sldLayoutId id="2147484755" r:id="rId34"/>
    <p:sldLayoutId id="2147484756" r:id="rId35"/>
    <p:sldLayoutId id="2147484757" r:id="rId36"/>
  </p:sldLayoutIdLst>
  <p:hf hdr="0" ftr="0" dt="0"/>
  <p:txStyles>
    <p:title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1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01168"/>
            <a:ext cx="4114800" cy="4491101"/>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4800600" y="192024"/>
            <a:ext cx="4114800" cy="4500245"/>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6858000" y="4826480"/>
            <a:ext cx="2057400" cy="137160"/>
          </a:xfrm>
          <a:prstGeom prst="rect">
            <a:avLst/>
          </a:prstGeom>
        </p:spPr>
        <p:txBody>
          <a:bodyPr vert="horz" lIns="0" tIns="0" rIns="0" bIns="0" rtlCol="0" anchor="ctr"/>
          <a:lstStyle>
            <a:lvl1pPr algn="r">
              <a:defRPr sz="600" baseline="0">
                <a:solidFill>
                  <a:schemeClr val="bg2"/>
                </a:solidFill>
                <a:latin typeface="+mn-lt"/>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228600" y="4826480"/>
            <a:ext cx="6400800" cy="137160"/>
          </a:xfrm>
          <a:prstGeom prst="rect">
            <a:avLst/>
          </a:prstGeom>
        </p:spPr>
        <p:txBody>
          <a:bodyPr vert="horz" lIns="0" tIns="0" rIns="0" bIns="0" rtlCol="0" anchor="ctr"/>
          <a:lstStyle>
            <a:lvl1pPr algn="l">
              <a:defRPr sz="600" baseline="0">
                <a:solidFill>
                  <a:schemeClr val="bg2"/>
                </a:solidFill>
                <a:latin typeface="+mn-lt"/>
                <a:ea typeface="Arial" charset="0"/>
                <a:cs typeface="Arial" charset="0"/>
              </a:defRPr>
            </a:lvl1pPr>
          </a:lstStyle>
          <a:p>
            <a:r>
              <a:rPr lang="en-US"/>
              <a:t>IBM Watson IoT / © 2018 IBM Corporation</a:t>
            </a:r>
            <a:endParaRPr lang="en-US" dirty="0"/>
          </a:p>
        </p:txBody>
      </p:sp>
    </p:spTree>
    <p:extLst>
      <p:ext uri="{BB962C8B-B14F-4D97-AF65-F5344CB8AC3E}">
        <p14:creationId xmlns:p14="http://schemas.microsoft.com/office/powerpoint/2010/main" val="393634919"/>
      </p:ext>
    </p:extLst>
  </p:cSld>
  <p:clrMap bg1="lt1" tx1="dk1" bg2="lt2" tx2="dk2" accent1="accent1" accent2="accent2" accent3="accent3" accent4="accent4" accent5="accent5" accent6="accent6" hlink="hlink" folHlink="folHlink"/>
  <p:sldLayoutIdLst>
    <p:sldLayoutId id="2147484760" r:id="rId1"/>
    <p:sldLayoutId id="2147484761" r:id="rId2"/>
    <p:sldLayoutId id="2147484762" r:id="rId3"/>
    <p:sldLayoutId id="2147484763" r:id="rId4"/>
    <p:sldLayoutId id="2147484764" r:id="rId5"/>
    <p:sldLayoutId id="2147484765" r:id="rId6"/>
    <p:sldLayoutId id="2147484766" r:id="rId7"/>
    <p:sldLayoutId id="2147484767" r:id="rId8"/>
    <p:sldLayoutId id="2147484768" r:id="rId9"/>
    <p:sldLayoutId id="2147484769" r:id="rId10"/>
    <p:sldLayoutId id="2147484770" r:id="rId11"/>
    <p:sldLayoutId id="2147484771" r:id="rId12"/>
    <p:sldLayoutId id="2147484772" r:id="rId13"/>
    <p:sldLayoutId id="2147484773" r:id="rId14"/>
    <p:sldLayoutId id="2147484774" r:id="rId15"/>
    <p:sldLayoutId id="2147484775" r:id="rId16"/>
    <p:sldLayoutId id="2147484776" r:id="rId17"/>
    <p:sldLayoutId id="2147484777" r:id="rId18"/>
    <p:sldLayoutId id="2147484778" r:id="rId19"/>
    <p:sldLayoutId id="2147484779" r:id="rId20"/>
    <p:sldLayoutId id="2147484780" r:id="rId21"/>
    <p:sldLayoutId id="2147484781" r:id="rId22"/>
    <p:sldLayoutId id="2147484782" r:id="rId23"/>
    <p:sldLayoutId id="2147484783" r:id="rId24"/>
    <p:sldLayoutId id="2147484784" r:id="rId25"/>
    <p:sldLayoutId id="2147484785" r:id="rId26"/>
    <p:sldLayoutId id="2147484786" r:id="rId27"/>
    <p:sldLayoutId id="2147484787" r:id="rId28"/>
    <p:sldLayoutId id="2147484788" r:id="rId29"/>
    <p:sldLayoutId id="2147484789" r:id="rId30"/>
    <p:sldLayoutId id="2147484790" r:id="rId31"/>
    <p:sldLayoutId id="2147484791" r:id="rId32"/>
    <p:sldLayoutId id="2147484792" r:id="rId33"/>
    <p:sldLayoutId id="2147484793" r:id="rId34"/>
    <p:sldLayoutId id="2147484794" r:id="rId35"/>
    <p:sldLayoutId id="2147484795" r:id="rId36"/>
    <p:sldLayoutId id="2147484796" r:id="rId37"/>
    <p:sldLayoutId id="2147484797" r:id="rId38"/>
    <p:sldLayoutId id="2147484798" r:id="rId39"/>
    <p:sldLayoutId id="2147484799" r:id="rId40"/>
  </p:sldLayoutIdLst>
  <p:hf hdr="0" ftr="0" dt="0"/>
  <p:txStyles>
    <p:title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p:titleStyle>
    <p:body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bg2"/>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5.xml"/></Relationships>
</file>

<file path=ppt/slides/_rels/slide11.xml.rels><?xml version="1.0" encoding="UTF-8" standalone="yes"?>
<Relationships xmlns="http://schemas.openxmlformats.org/package/2006/relationships"><Relationship Id="rId3" Type="http://schemas.openxmlformats.org/officeDocument/2006/relationships/hyperlink" Target="https://www.ibm.com/support/pages/node/1102509" TargetMode="External"/><Relationship Id="rId2" Type="http://schemas.openxmlformats.org/officeDocument/2006/relationships/hyperlink" Target="https://supportcontent.ibm.com/support/pages/node/536449" TargetMode="External"/><Relationship Id="rId1" Type="http://schemas.openxmlformats.org/officeDocument/2006/relationships/slideLayout" Target="../slideLayouts/slideLayout91.xml"/><Relationship Id="rId4" Type="http://schemas.openxmlformats.org/officeDocument/2006/relationships/hyperlink" Target="https://www.openshift.com/"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19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jpe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197.xml"/><Relationship Id="rId5" Type="http://schemas.openxmlformats.org/officeDocument/2006/relationships/image" Target="../media/image46.png"/><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197.xml"/><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198.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9.xml"/><Relationship Id="rId1" Type="http://schemas.openxmlformats.org/officeDocument/2006/relationships/slideLayout" Target="../slideLayouts/slideLayout199.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jpeg"/></Relationships>
</file>

<file path=ppt/slides/_rels/slide17.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1.png"/><Relationship Id="rId18" Type="http://schemas.openxmlformats.org/officeDocument/2006/relationships/image" Target="../media/image64.jpeg"/><Relationship Id="rId26" Type="http://schemas.microsoft.com/office/2007/relationships/hdphoto" Target="../media/hdphoto10.wdp"/><Relationship Id="rId3" Type="http://schemas.openxmlformats.org/officeDocument/2006/relationships/tags" Target="../tags/tag3.xml"/><Relationship Id="rId21" Type="http://schemas.openxmlformats.org/officeDocument/2006/relationships/image" Target="../media/image65.png"/><Relationship Id="rId7" Type="http://schemas.openxmlformats.org/officeDocument/2006/relationships/image" Target="../media/image57.emf"/><Relationship Id="rId12" Type="http://schemas.openxmlformats.org/officeDocument/2006/relationships/image" Target="../media/image60.png"/><Relationship Id="rId17" Type="http://schemas.microsoft.com/office/2007/relationships/hdphoto" Target="../media/hdphoto4.wdp"/><Relationship Id="rId25" Type="http://schemas.openxmlformats.org/officeDocument/2006/relationships/image" Target="../media/image66.png"/><Relationship Id="rId2" Type="http://schemas.openxmlformats.org/officeDocument/2006/relationships/tags" Target="../tags/tag2.xml"/><Relationship Id="rId16" Type="http://schemas.openxmlformats.org/officeDocument/2006/relationships/image" Target="../media/image63.png"/><Relationship Id="rId20" Type="http://schemas.microsoft.com/office/2007/relationships/hdphoto" Target="../media/hdphoto6.wdp"/><Relationship Id="rId29" Type="http://schemas.openxmlformats.org/officeDocument/2006/relationships/image" Target="../media/image67.png"/><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microsoft.com/office/2007/relationships/hdphoto" Target="../media/hdphoto2.wdp"/><Relationship Id="rId24" Type="http://schemas.microsoft.com/office/2007/relationships/hdphoto" Target="../media/hdphoto9.wdp"/><Relationship Id="rId5" Type="http://schemas.openxmlformats.org/officeDocument/2006/relationships/notesSlide" Target="../notesSlides/notesSlide10.xml"/><Relationship Id="rId15" Type="http://schemas.openxmlformats.org/officeDocument/2006/relationships/image" Target="../media/image62.png"/><Relationship Id="rId23" Type="http://schemas.microsoft.com/office/2007/relationships/hdphoto" Target="../media/hdphoto8.wdp"/><Relationship Id="rId28" Type="http://schemas.microsoft.com/office/2007/relationships/hdphoto" Target="../media/hdphoto12.wdp"/><Relationship Id="rId10" Type="http://schemas.microsoft.com/office/2007/relationships/hdphoto" Target="../media/hdphoto1.wdp"/><Relationship Id="rId19" Type="http://schemas.microsoft.com/office/2007/relationships/hdphoto" Target="../media/hdphoto5.wdp"/><Relationship Id="rId4" Type="http://schemas.openxmlformats.org/officeDocument/2006/relationships/slideLayout" Target="../slideLayouts/slideLayout200.xml"/><Relationship Id="rId9" Type="http://schemas.openxmlformats.org/officeDocument/2006/relationships/image" Target="../media/image59.png"/><Relationship Id="rId14" Type="http://schemas.microsoft.com/office/2007/relationships/hdphoto" Target="../media/hdphoto3.wdp"/><Relationship Id="rId22" Type="http://schemas.microsoft.com/office/2007/relationships/hdphoto" Target="../media/hdphoto7.wdp"/><Relationship Id="rId27" Type="http://schemas.microsoft.com/office/2007/relationships/hdphoto" Target="../media/hdphoto11.wdp"/></Relationships>
</file>

<file path=ppt/slides/_rels/slide18.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18" Type="http://schemas.openxmlformats.org/officeDocument/2006/relationships/image" Target="../media/image83.png"/><Relationship Id="rId3" Type="http://schemas.openxmlformats.org/officeDocument/2006/relationships/image" Target="../media/image68.png"/><Relationship Id="rId7" Type="http://schemas.openxmlformats.org/officeDocument/2006/relationships/image" Target="../media/image72.svg"/><Relationship Id="rId12" Type="http://schemas.openxmlformats.org/officeDocument/2006/relationships/image" Target="../media/image77.jpg"/><Relationship Id="rId17" Type="http://schemas.openxmlformats.org/officeDocument/2006/relationships/image" Target="../media/image82.png"/><Relationship Id="rId2" Type="http://schemas.openxmlformats.org/officeDocument/2006/relationships/notesSlide" Target="../notesSlides/notesSlide11.xml"/><Relationship Id="rId16" Type="http://schemas.openxmlformats.org/officeDocument/2006/relationships/image" Target="../media/image81.png"/><Relationship Id="rId20" Type="http://schemas.openxmlformats.org/officeDocument/2006/relationships/image" Target="../media/image85.jpeg"/><Relationship Id="rId1" Type="http://schemas.openxmlformats.org/officeDocument/2006/relationships/slideLayout" Target="../slideLayouts/slideLayout28.xml"/><Relationship Id="rId6" Type="http://schemas.openxmlformats.org/officeDocument/2006/relationships/image" Target="../media/image71.png"/><Relationship Id="rId11" Type="http://schemas.openxmlformats.org/officeDocument/2006/relationships/image" Target="../media/image76.jpg"/><Relationship Id="rId5" Type="http://schemas.openxmlformats.org/officeDocument/2006/relationships/image" Target="../media/image70.svg"/><Relationship Id="rId15" Type="http://schemas.openxmlformats.org/officeDocument/2006/relationships/image" Target="../media/image80.png"/><Relationship Id="rId10" Type="http://schemas.openxmlformats.org/officeDocument/2006/relationships/image" Target="../media/image75.png"/><Relationship Id="rId19" Type="http://schemas.openxmlformats.org/officeDocument/2006/relationships/image" Target="../media/image84.png"/><Relationship Id="rId4" Type="http://schemas.openxmlformats.org/officeDocument/2006/relationships/image" Target="../media/image69.png"/><Relationship Id="rId9" Type="http://schemas.openxmlformats.org/officeDocument/2006/relationships/image" Target="../media/image74.jpg"/><Relationship Id="rId14" Type="http://schemas.openxmlformats.org/officeDocument/2006/relationships/image" Target="../media/image79.png"/></Relationships>
</file>

<file path=ppt/slides/_rels/slide19.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25.xml"/><Relationship Id="rId4" Type="http://schemas.openxmlformats.org/officeDocument/2006/relationships/hyperlink" Target="notes:///852571E100079770/38D46BF5E8F08834852564B500129B2C/4D14F24BC77EB77486258592000CD724" TargetMode="External"/></Relationships>
</file>

<file path=ppt/slides/_rels/slide20.xml.rels><?xml version="1.0" encoding="UTF-8" standalone="yes"?>
<Relationships xmlns="http://schemas.openxmlformats.org/package/2006/relationships"><Relationship Id="rId2" Type="http://schemas.openxmlformats.org/officeDocument/2006/relationships/image" Target="../media/image87.jpeg"/><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3.xml"/><Relationship Id="rId1" Type="http://schemas.openxmlformats.org/officeDocument/2006/relationships/slideLayout" Target="../slideLayouts/slideLayout11.xml"/><Relationship Id="rId4" Type="http://schemas.openxmlformats.org/officeDocument/2006/relationships/image" Target="../media/image90.jpeg"/></Relationships>
</file>

<file path=ppt/slides/_rels/slide24.xml.rels><?xml version="1.0" encoding="UTF-8" standalone="yes"?>
<Relationships xmlns="http://schemas.openxmlformats.org/package/2006/relationships"><Relationship Id="rId3" Type="http://schemas.openxmlformats.org/officeDocument/2006/relationships/hyperlink" Target="https://ibm.co/2UM5FMK" TargetMode="External"/><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8" Type="http://schemas.openxmlformats.org/officeDocument/2006/relationships/image" Target="../media/image95.jpeg"/><Relationship Id="rId3" Type="http://schemas.openxmlformats.org/officeDocument/2006/relationships/image" Target="../media/image89.png"/><Relationship Id="rId7" Type="http://schemas.openxmlformats.org/officeDocument/2006/relationships/image" Target="../media/image94.jpg"/><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media/image93.jpg"/><Relationship Id="rId5" Type="http://schemas.openxmlformats.org/officeDocument/2006/relationships/image" Target="../media/image92.jpg"/><Relationship Id="rId4" Type="http://schemas.openxmlformats.org/officeDocument/2006/relationships/image" Target="../media/image91.jpg"/></Relationships>
</file>

<file path=ppt/slides/_rels/slide2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6.xml"/><Relationship Id="rId1" Type="http://schemas.openxmlformats.org/officeDocument/2006/relationships/slideLayout" Target="../slideLayouts/slideLayout11.xml"/><Relationship Id="rId4" Type="http://schemas.openxmlformats.org/officeDocument/2006/relationships/image" Target="../media/image97.jpg"/></Relationships>
</file>

<file path=ppt/slides/_rels/slide2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7.xml"/><Relationship Id="rId1" Type="http://schemas.openxmlformats.org/officeDocument/2006/relationships/slideLayout" Target="../slideLayouts/slideLayout11.xml"/><Relationship Id="rId5" Type="http://schemas.openxmlformats.org/officeDocument/2006/relationships/image" Target="../media/image99.jpg"/><Relationship Id="rId4" Type="http://schemas.openxmlformats.org/officeDocument/2006/relationships/image" Target="../media/image98.jpg"/></Relationships>
</file>

<file path=ppt/slides/_rels/slide2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8.xml"/><Relationship Id="rId1" Type="http://schemas.openxmlformats.org/officeDocument/2006/relationships/slideLayout" Target="../slideLayouts/slideLayout11.xml"/><Relationship Id="rId5" Type="http://schemas.openxmlformats.org/officeDocument/2006/relationships/image" Target="../media/image101.jpg"/><Relationship Id="rId4" Type="http://schemas.openxmlformats.org/officeDocument/2006/relationships/image" Target="../media/image100.jpg"/></Relationships>
</file>

<file path=ppt/slides/_rels/slide2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9.xml"/><Relationship Id="rId1" Type="http://schemas.openxmlformats.org/officeDocument/2006/relationships/slideLayout" Target="../slideLayouts/slideLayout27.xml"/><Relationship Id="rId4" Type="http://schemas.openxmlformats.org/officeDocument/2006/relationships/image" Target="../media/image10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3.xml"/></Relationships>
</file>

<file path=ppt/slides/_rels/slide3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3" Type="http://schemas.openxmlformats.org/officeDocument/2006/relationships/image" Target="../media/image106.emf"/><Relationship Id="rId2" Type="http://schemas.openxmlformats.org/officeDocument/2006/relationships/notesSlide" Target="../notesSlides/notesSlide20.xml"/><Relationship Id="rId1" Type="http://schemas.openxmlformats.org/officeDocument/2006/relationships/slideLayout" Target="../slideLayouts/slideLayout27.xml"/><Relationship Id="rId4" Type="http://schemas.openxmlformats.org/officeDocument/2006/relationships/image" Target="../media/image107.emf"/></Relationships>
</file>

<file path=ppt/slides/_rels/slide32.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notesSlide" Target="../notesSlides/notesSlide21.xml"/><Relationship Id="rId1" Type="http://schemas.openxmlformats.org/officeDocument/2006/relationships/slideLayout" Target="../slideLayouts/slideLayout30.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33.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3" Type="http://schemas.openxmlformats.org/officeDocument/2006/relationships/image" Target="../media/image115.tiff"/><Relationship Id="rId2" Type="http://schemas.openxmlformats.org/officeDocument/2006/relationships/notesSlide" Target="../notesSlides/notesSlide22.xml"/><Relationship Id="rId1" Type="http://schemas.openxmlformats.org/officeDocument/2006/relationships/slideLayout" Target="../slideLayouts/slideLayout27.xml"/><Relationship Id="rId5" Type="http://schemas.openxmlformats.org/officeDocument/2006/relationships/image" Target="../media/image117.png"/><Relationship Id="rId4" Type="http://schemas.openxmlformats.org/officeDocument/2006/relationships/image" Target="../media/image116.png"/></Relationships>
</file>

<file path=ppt/slides/_rels/slide3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3.xml"/><Relationship Id="rId1" Type="http://schemas.openxmlformats.org/officeDocument/2006/relationships/slideLayout" Target="../slideLayouts/slideLayout27.xml"/><Relationship Id="rId4" Type="http://schemas.openxmlformats.org/officeDocument/2006/relationships/image" Target="../media/image119.png"/></Relationships>
</file>

<file path=ppt/slides/_rels/slide3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5.xml"/><Relationship Id="rId1" Type="http://schemas.openxmlformats.org/officeDocument/2006/relationships/slideLayout" Target="../slideLayouts/slideLayout85.xml"/></Relationships>
</file>

<file path=ppt/slides/_rels/slide3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6.xml"/><Relationship Id="rId1" Type="http://schemas.openxmlformats.org/officeDocument/2006/relationships/slideLayout" Target="../slideLayouts/slideLayout108.xml"/><Relationship Id="rId4" Type="http://schemas.openxmlformats.org/officeDocument/2006/relationships/hyperlink" Target="https://www.ibm.com/services/process/mro-inventory"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0.png"/><Relationship Id="rId1" Type="http://schemas.openxmlformats.org/officeDocument/2006/relationships/slideLayout" Target="../slideLayouts/slideLayout314.xml"/><Relationship Id="rId4" Type="http://schemas.openxmlformats.org/officeDocument/2006/relationships/hyperlink" Target="https://www.ibm.com/products/maximo/application-suite?p1=Search&amp;p4=43700055319772078&amp;p5=b&amp;cm_mmc=Search_Google-_-1S_1S-_-WW_NA-_-%2Bmaximo%20%2Bapplication%20%2Bsuite_b&amp;cm_mmca7=71700000060919294&amp;cm_mmca8=aud-854063957223:kwd-920060700360&amp;cm_mmca9=CjwKCAjwltH3BRB6EiwAhj0IUP-yEC91p2HK6goa5OUDxyiemPJV7QAqnwC4s2k8neDeq_g8T0t64RoChJgQAvD_BwE&amp;cm_mmca10=444450796450&amp;cm_mmca11=b&amp;gclid=CjwKCAjwltH3BRB6EiwAhj0IUP-yEC91p2HK6goa5OUDxyiemPJV7QAqnwC4s2k8neDeq_g8T0t64RoChJgQAvD_BwE&amp;gclsrc=aw.ds"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18" Type="http://schemas.openxmlformats.org/officeDocument/2006/relationships/image" Target="../media/image34.png"/><Relationship Id="rId3" Type="http://schemas.openxmlformats.org/officeDocument/2006/relationships/image" Target="../media/image19.png"/><Relationship Id="rId21" Type="http://schemas.openxmlformats.org/officeDocument/2006/relationships/image" Target="../media/image37.svg"/><Relationship Id="rId7" Type="http://schemas.openxmlformats.org/officeDocument/2006/relationships/image" Target="../media/image23.svg"/><Relationship Id="rId12" Type="http://schemas.openxmlformats.org/officeDocument/2006/relationships/image" Target="../media/image28.png"/><Relationship Id="rId17" Type="http://schemas.openxmlformats.org/officeDocument/2006/relationships/image" Target="../media/image33.svg"/><Relationship Id="rId2" Type="http://schemas.openxmlformats.org/officeDocument/2006/relationships/notesSlide" Target="../notesSlides/notesSlide2.xml"/><Relationship Id="rId16" Type="http://schemas.openxmlformats.org/officeDocument/2006/relationships/image" Target="../media/image32.png"/><Relationship Id="rId20" Type="http://schemas.openxmlformats.org/officeDocument/2006/relationships/image" Target="../media/image36.png"/><Relationship Id="rId1" Type="http://schemas.openxmlformats.org/officeDocument/2006/relationships/slideLayout" Target="../slideLayouts/slideLayout13.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21.png"/><Relationship Id="rId15" Type="http://schemas.openxmlformats.org/officeDocument/2006/relationships/image" Target="../media/image31.svg"/><Relationship Id="rId23" Type="http://schemas.openxmlformats.org/officeDocument/2006/relationships/image" Target="../media/image39.svg"/><Relationship Id="rId10" Type="http://schemas.openxmlformats.org/officeDocument/2006/relationships/image" Target="../media/image26.png"/><Relationship Id="rId19" Type="http://schemas.openxmlformats.org/officeDocument/2006/relationships/image" Target="../media/image35.svg"/><Relationship Id="rId4" Type="http://schemas.openxmlformats.org/officeDocument/2006/relationships/image" Target="../media/image20.png"/><Relationship Id="rId9" Type="http://schemas.openxmlformats.org/officeDocument/2006/relationships/image" Target="../media/image25.svg"/><Relationship Id="rId14" Type="http://schemas.openxmlformats.org/officeDocument/2006/relationships/image" Target="../media/image30.png"/><Relationship Id="rId22" Type="http://schemas.openxmlformats.org/officeDocument/2006/relationships/image" Target="../media/image38.png"/></Relationships>
</file>

<file path=ppt/slides/_rels/slide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hyperlink" Target="https://www.ibm.com/services/learning" TargetMode="External"/><Relationship Id="rId2" Type="http://schemas.openxmlformats.org/officeDocument/2006/relationships/notesSlide" Target="../notesSlides/notesSlide3.xml"/><Relationship Id="rId1" Type="http://schemas.openxmlformats.org/officeDocument/2006/relationships/slideLayout" Target="../slideLayouts/slideLayout30.xml"/><Relationship Id="rId5" Type="http://schemas.openxmlformats.org/officeDocument/2006/relationships/image" Target="../media/image42.png"/><Relationship Id="rId4" Type="http://schemas.openxmlformats.org/officeDocument/2006/relationships/image" Target="../media/image41.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309907-F6D5-415F-8B70-94FB33C801A4}"/>
              </a:ext>
            </a:extLst>
          </p:cNvPr>
          <p:cNvSpPr>
            <a:spLocks noGrp="1"/>
          </p:cNvSpPr>
          <p:nvPr>
            <p:ph type="title"/>
          </p:nvPr>
        </p:nvSpPr>
        <p:spPr>
          <a:xfrm>
            <a:off x="182301" y="173736"/>
            <a:ext cx="5674214" cy="1600200"/>
          </a:xfrm>
        </p:spPr>
        <p:txBody>
          <a:bodyPr/>
          <a:lstStyle/>
          <a:p>
            <a:r>
              <a:rPr lang="en-CA" sz="2000" dirty="0"/>
              <a:t>Maximo Roadmap – A look to the future</a:t>
            </a:r>
            <a:endParaRPr lang="en-US" sz="2000" dirty="0"/>
          </a:p>
        </p:txBody>
      </p:sp>
      <p:sp>
        <p:nvSpPr>
          <p:cNvPr id="4" name="TextBox 3">
            <a:extLst>
              <a:ext uri="{FF2B5EF4-FFF2-40B4-BE49-F238E27FC236}">
                <a16:creationId xmlns:a16="http://schemas.microsoft.com/office/drawing/2014/main" id="{46053EE4-A665-3147-A9AA-47C813A4B1A9}"/>
              </a:ext>
            </a:extLst>
          </p:cNvPr>
          <p:cNvSpPr txBox="1"/>
          <p:nvPr/>
        </p:nvSpPr>
        <p:spPr>
          <a:xfrm>
            <a:off x="174806" y="3228242"/>
            <a:ext cx="1176925" cy="830997"/>
          </a:xfrm>
          <a:prstGeom prst="rect">
            <a:avLst/>
          </a:prstGeom>
          <a:noFill/>
        </p:spPr>
        <p:txBody>
          <a:bodyPr wrap="none" rtlCol="0">
            <a:spAutoFit/>
          </a:bodyPr>
          <a:lstStyle/>
          <a:p>
            <a:endParaRPr lang="en-US" sz="1600" dirty="0">
              <a:solidFill>
                <a:schemeClr val="bg1">
                  <a:lumMod val="90000"/>
                  <a:lumOff val="10000"/>
                </a:schemeClr>
              </a:solidFill>
            </a:endParaRPr>
          </a:p>
          <a:p>
            <a:r>
              <a:rPr lang="en-US" sz="1600" dirty="0">
                <a:solidFill>
                  <a:schemeClr val="bg1">
                    <a:lumMod val="90000"/>
                    <a:lumOff val="10000"/>
                  </a:schemeClr>
                </a:solidFill>
              </a:rPr>
              <a:t>June 2020</a:t>
            </a:r>
          </a:p>
          <a:p>
            <a:endParaRPr lang="en-US" sz="1600" dirty="0">
              <a:solidFill>
                <a:schemeClr val="bg1">
                  <a:lumMod val="90000"/>
                  <a:lumOff val="10000"/>
                </a:schemeClr>
              </a:solidFill>
            </a:endParaRPr>
          </a:p>
        </p:txBody>
      </p:sp>
      <p:pic>
        <p:nvPicPr>
          <p:cNvPr id="5" name="Picture 4">
            <a:extLst>
              <a:ext uri="{FF2B5EF4-FFF2-40B4-BE49-F238E27FC236}">
                <a16:creationId xmlns:a16="http://schemas.microsoft.com/office/drawing/2014/main" id="{3B7C4FB8-6E31-4868-A10A-C66BF8926C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06905" y="1467474"/>
            <a:ext cx="2759387" cy="2333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071882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idx="4294967295"/>
          </p:nvPr>
        </p:nvSpPr>
        <p:spPr>
          <a:xfrm>
            <a:off x="159489" y="112485"/>
            <a:ext cx="8540750" cy="381000"/>
          </a:xfrm>
        </p:spPr>
        <p:txBody>
          <a:bodyPr/>
          <a:lstStyle/>
          <a:p>
            <a:r>
              <a:rPr lang="en-US" sz="2000">
                <a:solidFill>
                  <a:schemeClr val="accent2"/>
                </a:solidFill>
              </a:rPr>
              <a:t> Maximo Asset Management 7.6.x Feature Packs</a:t>
            </a:r>
          </a:p>
        </p:txBody>
      </p:sp>
      <p:sp>
        <p:nvSpPr>
          <p:cNvPr id="16" name="TextBox 15">
            <a:extLst>
              <a:ext uri="{FF2B5EF4-FFF2-40B4-BE49-F238E27FC236}">
                <a16:creationId xmlns:a16="http://schemas.microsoft.com/office/drawing/2014/main" id="{8F98C5C1-27DD-5840-84DC-C9F668F16BE9}"/>
              </a:ext>
            </a:extLst>
          </p:cNvPr>
          <p:cNvSpPr txBox="1"/>
          <p:nvPr/>
        </p:nvSpPr>
        <p:spPr>
          <a:xfrm>
            <a:off x="159492" y="675277"/>
            <a:ext cx="8939927" cy="276999"/>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E1E1E"/>
                </a:solidFill>
                <a:effectLst/>
                <a:uLnTx/>
                <a:uFillTx/>
                <a:latin typeface="IBM Plex Sans" charset="0"/>
                <a:ea typeface="+mn-ea"/>
                <a:cs typeface="+mn-cs"/>
              </a:rPr>
              <a:t>7.6.0.1 – Inventory Reports / </a:t>
            </a:r>
            <a:r>
              <a:rPr kumimoji="0" lang="en-US" sz="1200" b="0" i="0" u="none" strike="noStrike" kern="1200" cap="none" spc="0" normalizeH="0" baseline="0" noProof="0">
                <a:ln>
                  <a:noFill/>
                </a:ln>
                <a:solidFill>
                  <a:srgbClr val="000000"/>
                </a:solidFill>
                <a:effectLst/>
                <a:uLnTx/>
                <a:uFillTx/>
                <a:latin typeface="IBM Plex Sans"/>
                <a:ea typeface="+mn-ea"/>
                <a:cs typeface="+mn-cs"/>
              </a:rPr>
              <a:t>minimize downtime when you upgrade (updatedblitepreprocessor and updatedblite)</a:t>
            </a:r>
            <a:endParaRPr kumimoji="0" lang="en-US" sz="1200" b="0" i="0" u="none" strike="noStrike" kern="1200" cap="none" spc="0" normalizeH="0" baseline="0" noProof="0">
              <a:ln>
                <a:noFill/>
              </a:ln>
              <a:solidFill>
                <a:srgbClr val="1E1E1E"/>
              </a:solidFill>
              <a:effectLst/>
              <a:uLnTx/>
              <a:uFillTx/>
              <a:latin typeface="IBM Plex Sans" charset="0"/>
              <a:ea typeface="+mn-ea"/>
              <a:cs typeface="+mn-cs"/>
            </a:endParaRPr>
          </a:p>
        </p:txBody>
      </p:sp>
      <p:cxnSp>
        <p:nvCxnSpPr>
          <p:cNvPr id="21" name="Straight Connector 20">
            <a:extLst>
              <a:ext uri="{FF2B5EF4-FFF2-40B4-BE49-F238E27FC236}">
                <a16:creationId xmlns:a16="http://schemas.microsoft.com/office/drawing/2014/main" id="{42126724-3EBC-3F43-927F-BAF82487F02D}"/>
              </a:ext>
            </a:extLst>
          </p:cNvPr>
          <p:cNvCxnSpPr>
            <a:cxnSpLocks/>
          </p:cNvCxnSpPr>
          <p:nvPr/>
        </p:nvCxnSpPr>
        <p:spPr>
          <a:xfrm>
            <a:off x="226646" y="975805"/>
            <a:ext cx="8138160" cy="0"/>
          </a:xfrm>
          <a:prstGeom prst="line">
            <a:avLst/>
          </a:prstGeom>
          <a:ln>
            <a:solidFill>
              <a:srgbClr val="18669D"/>
            </a:solidFill>
          </a:ln>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2691A70D-4C72-45A3-B2FB-8FF38891CD0D}"/>
              </a:ext>
            </a:extLst>
          </p:cNvPr>
          <p:cNvSpPr txBox="1"/>
          <p:nvPr/>
        </p:nvSpPr>
        <p:spPr>
          <a:xfrm>
            <a:off x="159492" y="1039666"/>
            <a:ext cx="8939927" cy="276999"/>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E1E1E"/>
                </a:solidFill>
                <a:effectLst/>
                <a:uLnTx/>
                <a:uFillTx/>
                <a:latin typeface="IBM Plex Sans" charset="0"/>
                <a:ea typeface="+mn-ea"/>
                <a:cs typeface="+mn-cs"/>
              </a:rPr>
              <a:t>7.6.0.2 –</a:t>
            </a:r>
            <a:r>
              <a:rPr kumimoji="0" lang="en-US" sz="1200" b="0" i="0" u="none" strike="noStrike" kern="1200" cap="none" spc="0" normalizeH="0" baseline="0" noProof="0">
                <a:ln>
                  <a:noFill/>
                </a:ln>
                <a:solidFill>
                  <a:srgbClr val="000000"/>
                </a:solidFill>
                <a:effectLst/>
                <a:uLnTx/>
                <a:uFillTx/>
                <a:latin typeface="IBM Plex Sans"/>
                <a:ea typeface="+mn-ea"/>
                <a:cs typeface="+mn-cs"/>
              </a:rPr>
              <a:t>reconcile purchase order and invoice costs, Federated MBO</a:t>
            </a:r>
            <a:endParaRPr kumimoji="0" lang="en-US" sz="1200" b="0" i="0" u="none" strike="noStrike" kern="1200" cap="none" spc="0" normalizeH="0" baseline="0" noProof="0">
              <a:ln>
                <a:noFill/>
              </a:ln>
              <a:solidFill>
                <a:srgbClr val="1E1E1E"/>
              </a:solidFill>
              <a:effectLst/>
              <a:uLnTx/>
              <a:uFillTx/>
              <a:latin typeface="IBM Plex Sans" charset="0"/>
              <a:ea typeface="+mn-ea"/>
              <a:cs typeface="+mn-cs"/>
            </a:endParaRPr>
          </a:p>
        </p:txBody>
      </p:sp>
      <p:cxnSp>
        <p:nvCxnSpPr>
          <p:cNvPr id="27" name="Straight Connector 26">
            <a:extLst>
              <a:ext uri="{FF2B5EF4-FFF2-40B4-BE49-F238E27FC236}">
                <a16:creationId xmlns:a16="http://schemas.microsoft.com/office/drawing/2014/main" id="{731A3202-E3D1-41D2-A1A0-404E6BC0A877}"/>
              </a:ext>
            </a:extLst>
          </p:cNvPr>
          <p:cNvCxnSpPr>
            <a:cxnSpLocks/>
          </p:cNvCxnSpPr>
          <p:nvPr/>
        </p:nvCxnSpPr>
        <p:spPr>
          <a:xfrm>
            <a:off x="226646" y="1316663"/>
            <a:ext cx="8138160" cy="0"/>
          </a:xfrm>
          <a:prstGeom prst="line">
            <a:avLst/>
          </a:prstGeom>
          <a:ln>
            <a:solidFill>
              <a:srgbClr val="18669D"/>
            </a:solidFill>
          </a:ln>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5756449D-7F56-40D5-8AA0-86D6646F2E81}"/>
              </a:ext>
            </a:extLst>
          </p:cNvPr>
          <p:cNvSpPr txBox="1"/>
          <p:nvPr/>
        </p:nvSpPr>
        <p:spPr>
          <a:xfrm>
            <a:off x="159491" y="1392505"/>
            <a:ext cx="8939927" cy="276999"/>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E1E1E"/>
                </a:solidFill>
                <a:effectLst/>
                <a:uLnTx/>
                <a:uFillTx/>
                <a:latin typeface="IBM Plex Sans" charset="0"/>
                <a:ea typeface="+mn-ea"/>
                <a:cs typeface="+mn-cs"/>
              </a:rPr>
              <a:t>7.6.0.3 – SAML Support, A</a:t>
            </a:r>
            <a:r>
              <a:rPr kumimoji="0" lang="en-US" sz="1200" b="0" i="0" u="none" strike="noStrike" kern="1200" cap="none" spc="0" normalizeH="0" baseline="0" noProof="0">
                <a:ln>
                  <a:noFill/>
                </a:ln>
                <a:solidFill>
                  <a:srgbClr val="000000"/>
                </a:solidFill>
                <a:effectLst/>
                <a:uLnTx/>
                <a:uFillTx/>
                <a:latin typeface="IBM Plex Sans"/>
                <a:ea typeface="+mn-ea"/>
                <a:cs typeface="+mn-cs"/>
              </a:rPr>
              <a:t>sset Depreciation Schedules</a:t>
            </a:r>
            <a:endParaRPr kumimoji="0" lang="en-US" sz="1200" b="0" i="0" u="none" strike="noStrike" kern="1200" cap="none" spc="0" normalizeH="0" baseline="0" noProof="0">
              <a:ln>
                <a:noFill/>
              </a:ln>
              <a:solidFill>
                <a:srgbClr val="1E1E1E"/>
              </a:solidFill>
              <a:effectLst/>
              <a:uLnTx/>
              <a:uFillTx/>
              <a:latin typeface="IBM Plex Sans" charset="0"/>
              <a:ea typeface="+mn-ea"/>
              <a:cs typeface="+mn-cs"/>
            </a:endParaRPr>
          </a:p>
        </p:txBody>
      </p:sp>
      <p:cxnSp>
        <p:nvCxnSpPr>
          <p:cNvPr id="29" name="Straight Connector 28">
            <a:extLst>
              <a:ext uri="{FF2B5EF4-FFF2-40B4-BE49-F238E27FC236}">
                <a16:creationId xmlns:a16="http://schemas.microsoft.com/office/drawing/2014/main" id="{4D4415B2-06BE-49D0-8A53-D7FA2CA04257}"/>
              </a:ext>
            </a:extLst>
          </p:cNvPr>
          <p:cNvCxnSpPr>
            <a:cxnSpLocks/>
          </p:cNvCxnSpPr>
          <p:nvPr/>
        </p:nvCxnSpPr>
        <p:spPr>
          <a:xfrm>
            <a:off x="226646" y="1679451"/>
            <a:ext cx="8138160" cy="0"/>
          </a:xfrm>
          <a:prstGeom prst="line">
            <a:avLst/>
          </a:prstGeom>
          <a:ln>
            <a:solidFill>
              <a:srgbClr val="18669D"/>
            </a:solidFill>
          </a:ln>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EE742B9B-FB44-4659-AFBE-98A7FD16E7B7}"/>
              </a:ext>
            </a:extLst>
          </p:cNvPr>
          <p:cNvSpPr txBox="1"/>
          <p:nvPr/>
        </p:nvSpPr>
        <p:spPr>
          <a:xfrm>
            <a:off x="159493" y="1754492"/>
            <a:ext cx="8939927" cy="276999"/>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E1E1E"/>
                </a:solidFill>
                <a:effectLst/>
                <a:uLnTx/>
                <a:uFillTx/>
                <a:latin typeface="IBM Plex Sans" charset="0"/>
                <a:ea typeface="+mn-ea"/>
                <a:cs typeface="+mn-cs"/>
              </a:rPr>
              <a:t>7.6.0.4 – JSON Mapping , Remove Direct Printing Applet</a:t>
            </a:r>
          </a:p>
        </p:txBody>
      </p:sp>
      <p:cxnSp>
        <p:nvCxnSpPr>
          <p:cNvPr id="31" name="Straight Connector 30">
            <a:extLst>
              <a:ext uri="{FF2B5EF4-FFF2-40B4-BE49-F238E27FC236}">
                <a16:creationId xmlns:a16="http://schemas.microsoft.com/office/drawing/2014/main" id="{0C9896C5-15C7-41B7-8727-E3BD43D8AA0D}"/>
              </a:ext>
            </a:extLst>
          </p:cNvPr>
          <p:cNvCxnSpPr/>
          <p:nvPr/>
        </p:nvCxnSpPr>
        <p:spPr>
          <a:xfrm>
            <a:off x="226647" y="2055020"/>
            <a:ext cx="8138160" cy="0"/>
          </a:xfrm>
          <a:prstGeom prst="line">
            <a:avLst/>
          </a:prstGeom>
          <a:ln>
            <a:solidFill>
              <a:srgbClr val="18669D"/>
            </a:solidFill>
          </a:ln>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07569628-C917-4B70-8B79-7FDBAC4ED02C}"/>
              </a:ext>
            </a:extLst>
          </p:cNvPr>
          <p:cNvSpPr txBox="1"/>
          <p:nvPr/>
        </p:nvSpPr>
        <p:spPr>
          <a:xfrm>
            <a:off x="159493" y="2118881"/>
            <a:ext cx="8939927" cy="276999"/>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E1E1E"/>
                </a:solidFill>
                <a:effectLst/>
                <a:uLnTx/>
                <a:uFillTx/>
                <a:latin typeface="IBM Plex Sans" charset="0"/>
                <a:ea typeface="+mn-ea"/>
                <a:cs typeface="+mn-cs"/>
              </a:rPr>
              <a:t>7.6.0.5 –</a:t>
            </a:r>
            <a:r>
              <a:rPr kumimoji="0" lang="en-US" sz="1200" b="0" i="0" u="none" strike="noStrike" kern="1200" cap="none" spc="0" normalizeH="0" baseline="0" noProof="0">
                <a:ln>
                  <a:noFill/>
                </a:ln>
                <a:solidFill>
                  <a:srgbClr val="000000"/>
                </a:solidFill>
                <a:effectLst/>
                <a:uLnTx/>
                <a:uFillTx/>
                <a:latin typeface="IBM Plex Sans"/>
                <a:ea typeface="+mn-ea"/>
                <a:cs typeface="+mn-cs"/>
              </a:rPr>
              <a:t>Work Center Introduction (Supervisor, Technician, Business Analyst), Object Structure Authorization</a:t>
            </a:r>
            <a:endParaRPr kumimoji="0" lang="en-US" sz="1200" b="0" i="0" u="none" strike="noStrike" kern="1200" cap="none" spc="0" normalizeH="0" baseline="0" noProof="0">
              <a:ln>
                <a:noFill/>
              </a:ln>
              <a:solidFill>
                <a:srgbClr val="1E1E1E"/>
              </a:solidFill>
              <a:effectLst/>
              <a:uLnTx/>
              <a:uFillTx/>
              <a:latin typeface="IBM Plex Sans" charset="0"/>
              <a:ea typeface="+mn-ea"/>
              <a:cs typeface="+mn-cs"/>
            </a:endParaRPr>
          </a:p>
        </p:txBody>
      </p:sp>
      <p:cxnSp>
        <p:nvCxnSpPr>
          <p:cNvPr id="33" name="Straight Connector 32">
            <a:extLst>
              <a:ext uri="{FF2B5EF4-FFF2-40B4-BE49-F238E27FC236}">
                <a16:creationId xmlns:a16="http://schemas.microsoft.com/office/drawing/2014/main" id="{2D32089A-2B2D-4534-AF31-F2813EFD1980}"/>
              </a:ext>
            </a:extLst>
          </p:cNvPr>
          <p:cNvCxnSpPr/>
          <p:nvPr/>
        </p:nvCxnSpPr>
        <p:spPr>
          <a:xfrm>
            <a:off x="226647" y="2395878"/>
            <a:ext cx="8138160" cy="0"/>
          </a:xfrm>
          <a:prstGeom prst="line">
            <a:avLst/>
          </a:prstGeom>
          <a:ln>
            <a:solidFill>
              <a:srgbClr val="18669D"/>
            </a:solidFill>
          </a:ln>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FF9191B5-8653-481F-AD23-E402A222EB45}"/>
              </a:ext>
            </a:extLst>
          </p:cNvPr>
          <p:cNvSpPr txBox="1"/>
          <p:nvPr/>
        </p:nvSpPr>
        <p:spPr>
          <a:xfrm>
            <a:off x="159492" y="2471720"/>
            <a:ext cx="8939927" cy="276999"/>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E1E1E"/>
                </a:solidFill>
                <a:effectLst/>
                <a:uLnTx/>
                <a:uFillTx/>
                <a:latin typeface="IBM Plex Sans" charset="0"/>
                <a:ea typeface="+mn-ea"/>
                <a:cs typeface="+mn-cs"/>
              </a:rPr>
              <a:t>7.6.0.6 – SR Work Center, BA Data Set Designer, BIM Applications, License usage Monitor, Workflow Applet Removal</a:t>
            </a:r>
          </a:p>
        </p:txBody>
      </p:sp>
      <p:cxnSp>
        <p:nvCxnSpPr>
          <p:cNvPr id="35" name="Straight Connector 34">
            <a:extLst>
              <a:ext uri="{FF2B5EF4-FFF2-40B4-BE49-F238E27FC236}">
                <a16:creationId xmlns:a16="http://schemas.microsoft.com/office/drawing/2014/main" id="{35AB2A9E-4837-4B77-8DE1-1437F473BD5F}"/>
              </a:ext>
            </a:extLst>
          </p:cNvPr>
          <p:cNvCxnSpPr/>
          <p:nvPr/>
        </p:nvCxnSpPr>
        <p:spPr>
          <a:xfrm>
            <a:off x="226647" y="2758666"/>
            <a:ext cx="8138160" cy="0"/>
          </a:xfrm>
          <a:prstGeom prst="line">
            <a:avLst/>
          </a:prstGeom>
          <a:ln>
            <a:solidFill>
              <a:srgbClr val="18669D"/>
            </a:solidFill>
          </a:ln>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a16="http://schemas.microsoft.com/office/drawing/2014/main" id="{9866CD12-25B0-41FD-91A0-573154B692E3}"/>
              </a:ext>
            </a:extLst>
          </p:cNvPr>
          <p:cNvSpPr txBox="1"/>
          <p:nvPr/>
        </p:nvSpPr>
        <p:spPr>
          <a:xfrm>
            <a:off x="159491" y="2791896"/>
            <a:ext cx="8939927" cy="276999"/>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E1E1E"/>
                </a:solidFill>
                <a:effectLst/>
                <a:uLnTx/>
                <a:uFillTx/>
                <a:latin typeface="IBM Plex Sans" charset="0"/>
                <a:ea typeface="+mn-ea"/>
                <a:cs typeface="+mn-cs"/>
              </a:rPr>
              <a:t>7.6.0.7 – </a:t>
            </a:r>
            <a:r>
              <a:rPr kumimoji="0" lang="en-US" sz="1200" b="0" i="0" u="none" strike="noStrike" kern="1200" cap="none" spc="0" normalizeH="0" baseline="0" noProof="0">
                <a:ln>
                  <a:noFill/>
                </a:ln>
                <a:solidFill>
                  <a:srgbClr val="000000"/>
                </a:solidFill>
                <a:effectLst/>
                <a:uLnTx/>
                <a:uFillTx/>
                <a:latin typeface="IBM Plex Sans"/>
                <a:ea typeface="+mn-ea"/>
                <a:cs typeface="+mn-cs"/>
              </a:rPr>
              <a:t>reset passwords without restarting the server.</a:t>
            </a:r>
            <a:endParaRPr kumimoji="0" lang="en-US" sz="1200" b="0" i="0" u="none" strike="noStrike" kern="1200" cap="none" spc="0" normalizeH="0" baseline="0" noProof="0">
              <a:ln>
                <a:noFill/>
              </a:ln>
              <a:solidFill>
                <a:srgbClr val="1E1E1E"/>
              </a:solidFill>
              <a:effectLst/>
              <a:uLnTx/>
              <a:uFillTx/>
              <a:latin typeface="IBM Plex Sans" charset="0"/>
              <a:ea typeface="+mn-ea"/>
              <a:cs typeface="+mn-cs"/>
            </a:endParaRPr>
          </a:p>
        </p:txBody>
      </p:sp>
      <p:cxnSp>
        <p:nvCxnSpPr>
          <p:cNvPr id="38" name="Straight Connector 37">
            <a:extLst>
              <a:ext uri="{FF2B5EF4-FFF2-40B4-BE49-F238E27FC236}">
                <a16:creationId xmlns:a16="http://schemas.microsoft.com/office/drawing/2014/main" id="{954D16C0-1212-4724-82DB-294427C3FE36}"/>
              </a:ext>
            </a:extLst>
          </p:cNvPr>
          <p:cNvCxnSpPr/>
          <p:nvPr/>
        </p:nvCxnSpPr>
        <p:spPr>
          <a:xfrm>
            <a:off x="226645" y="3092424"/>
            <a:ext cx="8138160" cy="0"/>
          </a:xfrm>
          <a:prstGeom prst="line">
            <a:avLst/>
          </a:prstGeom>
          <a:ln>
            <a:solidFill>
              <a:srgbClr val="18669D"/>
            </a:solidFill>
          </a:ln>
        </p:spPr>
        <p:style>
          <a:lnRef idx="2">
            <a:schemeClr val="accent1"/>
          </a:lnRef>
          <a:fillRef idx="0">
            <a:schemeClr val="accent1"/>
          </a:fillRef>
          <a:effectRef idx="1">
            <a:schemeClr val="accent1"/>
          </a:effectRef>
          <a:fontRef idx="minor">
            <a:schemeClr val="tx1"/>
          </a:fontRef>
        </p:style>
      </p:cxnSp>
      <p:sp>
        <p:nvSpPr>
          <p:cNvPr id="39" name="TextBox 38">
            <a:extLst>
              <a:ext uri="{FF2B5EF4-FFF2-40B4-BE49-F238E27FC236}">
                <a16:creationId xmlns:a16="http://schemas.microsoft.com/office/drawing/2014/main" id="{B03FE7AB-8169-42A9-AAEE-14739D572708}"/>
              </a:ext>
            </a:extLst>
          </p:cNvPr>
          <p:cNvSpPr txBox="1"/>
          <p:nvPr/>
        </p:nvSpPr>
        <p:spPr>
          <a:xfrm>
            <a:off x="159491" y="3156285"/>
            <a:ext cx="8939927" cy="276999"/>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E1E1E"/>
                </a:solidFill>
                <a:effectLst/>
                <a:uLnTx/>
                <a:uFillTx/>
                <a:latin typeface="IBM Plex Sans" charset="0"/>
                <a:ea typeface="+mn-ea"/>
                <a:cs typeface="+mn-cs"/>
              </a:rPr>
              <a:t>7.6.0.8 –</a:t>
            </a:r>
            <a:r>
              <a:rPr kumimoji="0" lang="en-US" sz="1200" b="0" i="0" u="none" strike="noStrike" kern="1200" cap="none" spc="0" normalizeH="0" baseline="0" noProof="0">
                <a:ln>
                  <a:noFill/>
                </a:ln>
                <a:solidFill>
                  <a:srgbClr val="000000"/>
                </a:solidFill>
                <a:effectLst/>
                <a:uLnTx/>
                <a:uFillTx/>
                <a:latin typeface="IBM Plex Sans"/>
                <a:ea typeface="+mn-ea"/>
                <a:cs typeface="+mn-cs"/>
              </a:rPr>
              <a:t>Time Zone app, Budget Monitoring app, WC Authorization, WC Landing Page, Inspections</a:t>
            </a:r>
            <a:endParaRPr kumimoji="0" lang="en-US" sz="1200" b="0" i="0" u="none" strike="noStrike" kern="1200" cap="none" spc="0" normalizeH="0" baseline="0" noProof="0">
              <a:ln>
                <a:noFill/>
              </a:ln>
              <a:solidFill>
                <a:srgbClr val="1E1E1E"/>
              </a:solidFill>
              <a:effectLst/>
              <a:uLnTx/>
              <a:uFillTx/>
              <a:latin typeface="IBM Plex Sans" charset="0"/>
              <a:ea typeface="+mn-ea"/>
              <a:cs typeface="+mn-cs"/>
            </a:endParaRPr>
          </a:p>
        </p:txBody>
      </p:sp>
      <p:cxnSp>
        <p:nvCxnSpPr>
          <p:cNvPr id="40" name="Straight Connector 39">
            <a:extLst>
              <a:ext uri="{FF2B5EF4-FFF2-40B4-BE49-F238E27FC236}">
                <a16:creationId xmlns:a16="http://schemas.microsoft.com/office/drawing/2014/main" id="{66B5CA50-5EF6-4CA5-AA4C-FE94BB92E49B}"/>
              </a:ext>
            </a:extLst>
          </p:cNvPr>
          <p:cNvCxnSpPr/>
          <p:nvPr/>
        </p:nvCxnSpPr>
        <p:spPr>
          <a:xfrm>
            <a:off x="226645" y="3433282"/>
            <a:ext cx="8138160" cy="0"/>
          </a:xfrm>
          <a:prstGeom prst="line">
            <a:avLst/>
          </a:prstGeom>
          <a:ln>
            <a:solidFill>
              <a:srgbClr val="18669D"/>
            </a:solidFill>
          </a:ln>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a16="http://schemas.microsoft.com/office/drawing/2014/main" id="{06CE072B-BD8B-4EAE-BCBA-26420EB93F89}"/>
              </a:ext>
            </a:extLst>
          </p:cNvPr>
          <p:cNvSpPr txBox="1"/>
          <p:nvPr/>
        </p:nvSpPr>
        <p:spPr>
          <a:xfrm>
            <a:off x="159490" y="3509124"/>
            <a:ext cx="8939927" cy="276999"/>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E1E1E"/>
                </a:solidFill>
                <a:effectLst/>
                <a:uLnTx/>
                <a:uFillTx/>
                <a:latin typeface="IBM Plex Sans" charset="0"/>
                <a:ea typeface="+mn-ea"/>
                <a:cs typeface="+mn-cs"/>
              </a:rPr>
              <a:t>7.6.0.9 – Work Center Enhancement</a:t>
            </a:r>
          </a:p>
        </p:txBody>
      </p:sp>
      <p:cxnSp>
        <p:nvCxnSpPr>
          <p:cNvPr id="43" name="Straight Connector 42">
            <a:extLst>
              <a:ext uri="{FF2B5EF4-FFF2-40B4-BE49-F238E27FC236}">
                <a16:creationId xmlns:a16="http://schemas.microsoft.com/office/drawing/2014/main" id="{F91C79FE-B785-438A-945F-96D2B7E8A497}"/>
              </a:ext>
            </a:extLst>
          </p:cNvPr>
          <p:cNvCxnSpPr/>
          <p:nvPr/>
        </p:nvCxnSpPr>
        <p:spPr>
          <a:xfrm>
            <a:off x="226645" y="3796070"/>
            <a:ext cx="8138160" cy="0"/>
          </a:xfrm>
          <a:prstGeom prst="line">
            <a:avLst/>
          </a:prstGeom>
          <a:ln>
            <a:solidFill>
              <a:srgbClr val="18669D"/>
            </a:solidFill>
          </a:ln>
        </p:spPr>
        <p:style>
          <a:lnRef idx="2">
            <a:schemeClr val="accent1"/>
          </a:lnRef>
          <a:fillRef idx="0">
            <a:schemeClr val="accent1"/>
          </a:fillRef>
          <a:effectRef idx="1">
            <a:schemeClr val="accent1"/>
          </a:effectRef>
          <a:fontRef idx="minor">
            <a:schemeClr val="tx1"/>
          </a:fontRef>
        </p:style>
      </p:cxnSp>
      <p:sp>
        <p:nvSpPr>
          <p:cNvPr id="44" name="TextBox 43">
            <a:extLst>
              <a:ext uri="{FF2B5EF4-FFF2-40B4-BE49-F238E27FC236}">
                <a16:creationId xmlns:a16="http://schemas.microsoft.com/office/drawing/2014/main" id="{5122D9FC-C147-46AE-9EDF-845C0EC18033}"/>
              </a:ext>
            </a:extLst>
          </p:cNvPr>
          <p:cNvSpPr txBox="1"/>
          <p:nvPr/>
        </p:nvSpPr>
        <p:spPr>
          <a:xfrm>
            <a:off x="159495" y="3849087"/>
            <a:ext cx="8939927" cy="276999"/>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E1E1E"/>
                </a:solidFill>
                <a:effectLst/>
                <a:uLnTx/>
                <a:uFillTx/>
                <a:latin typeface="IBM Plex Sans" charset="0"/>
                <a:ea typeface="+mn-ea"/>
                <a:cs typeface="+mn-cs"/>
              </a:rPr>
              <a:t>7.6.1 – Inspection Form WC, Cognos 11, New Skin, WAS Liberty Support, Token Licensing </a:t>
            </a:r>
          </a:p>
        </p:txBody>
      </p:sp>
      <p:cxnSp>
        <p:nvCxnSpPr>
          <p:cNvPr id="45" name="Straight Connector 44">
            <a:extLst>
              <a:ext uri="{FF2B5EF4-FFF2-40B4-BE49-F238E27FC236}">
                <a16:creationId xmlns:a16="http://schemas.microsoft.com/office/drawing/2014/main" id="{73FFEF43-5C3A-49D0-AEE2-BA89BD8F0A03}"/>
              </a:ext>
            </a:extLst>
          </p:cNvPr>
          <p:cNvCxnSpPr/>
          <p:nvPr/>
        </p:nvCxnSpPr>
        <p:spPr>
          <a:xfrm>
            <a:off x="226650" y="4136033"/>
            <a:ext cx="8138160" cy="0"/>
          </a:xfrm>
          <a:prstGeom prst="line">
            <a:avLst/>
          </a:prstGeom>
          <a:ln>
            <a:solidFill>
              <a:srgbClr val="18669D"/>
            </a:solidFill>
          </a:ln>
        </p:spPr>
        <p:style>
          <a:lnRef idx="2">
            <a:schemeClr val="accent1"/>
          </a:lnRef>
          <a:fillRef idx="0">
            <a:schemeClr val="accent1"/>
          </a:fillRef>
          <a:effectRef idx="1">
            <a:schemeClr val="accent1"/>
          </a:effectRef>
          <a:fontRef idx="minor">
            <a:schemeClr val="tx1"/>
          </a:fontRef>
        </p:style>
      </p:cxnSp>
      <p:sp>
        <p:nvSpPr>
          <p:cNvPr id="46" name="TextBox 45">
            <a:extLst>
              <a:ext uri="{FF2B5EF4-FFF2-40B4-BE49-F238E27FC236}">
                <a16:creationId xmlns:a16="http://schemas.microsoft.com/office/drawing/2014/main" id="{3162A9B6-BBC9-4D7D-BD6A-E13DD09FC3B8}"/>
              </a:ext>
            </a:extLst>
          </p:cNvPr>
          <p:cNvSpPr txBox="1"/>
          <p:nvPr/>
        </p:nvSpPr>
        <p:spPr>
          <a:xfrm>
            <a:off x="159494" y="4169263"/>
            <a:ext cx="8939927" cy="276999"/>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E1E1E"/>
                </a:solidFill>
                <a:effectLst/>
                <a:uLnTx/>
                <a:uFillTx/>
                <a:latin typeface="IBM Plex Sans" charset="0"/>
                <a:ea typeface="+mn-ea"/>
                <a:cs typeface="+mn-cs"/>
              </a:rPr>
              <a:t>7.6.1.1 – API Keys, Sync Message Tracking, WC Configuration (queries), Dynamic JP, Inventory / Admin WC</a:t>
            </a:r>
          </a:p>
        </p:txBody>
      </p:sp>
      <p:cxnSp>
        <p:nvCxnSpPr>
          <p:cNvPr id="47" name="Straight Connector 46">
            <a:extLst>
              <a:ext uri="{FF2B5EF4-FFF2-40B4-BE49-F238E27FC236}">
                <a16:creationId xmlns:a16="http://schemas.microsoft.com/office/drawing/2014/main" id="{F3466375-87D1-4D4A-A1FA-C8BFBEDEAAAF}"/>
              </a:ext>
            </a:extLst>
          </p:cNvPr>
          <p:cNvCxnSpPr/>
          <p:nvPr/>
        </p:nvCxnSpPr>
        <p:spPr>
          <a:xfrm>
            <a:off x="226648" y="4469791"/>
            <a:ext cx="8138160" cy="0"/>
          </a:xfrm>
          <a:prstGeom prst="line">
            <a:avLst/>
          </a:prstGeom>
          <a:ln>
            <a:solidFill>
              <a:srgbClr val="18669D"/>
            </a:solidFill>
          </a:ln>
        </p:spPr>
        <p:style>
          <a:lnRef idx="2">
            <a:schemeClr val="accent1"/>
          </a:lnRef>
          <a:fillRef idx="0">
            <a:schemeClr val="accent1"/>
          </a:fillRef>
          <a:effectRef idx="1">
            <a:schemeClr val="accent1"/>
          </a:effectRef>
          <a:fontRef idx="minor">
            <a:schemeClr val="tx1"/>
          </a:fontRef>
        </p:style>
      </p:cxnSp>
      <p:sp>
        <p:nvSpPr>
          <p:cNvPr id="42" name="Footer Placeholder 9">
            <a:extLst>
              <a:ext uri="{FF2B5EF4-FFF2-40B4-BE49-F238E27FC236}">
                <a16:creationId xmlns:a16="http://schemas.microsoft.com/office/drawing/2014/main" id="{74A117C6-7F9C-427A-BF30-EC1B4D7F1882}"/>
              </a:ext>
            </a:extLst>
          </p:cNvPr>
          <p:cNvSpPr txBox="1">
            <a:spLocks/>
          </p:cNvSpPr>
          <p:nvPr/>
        </p:nvSpPr>
        <p:spPr>
          <a:xfrm>
            <a:off x="228600" y="4912755"/>
            <a:ext cx="6400800" cy="137160"/>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000000"/>
                </a:solidFill>
                <a:effectLst/>
                <a:uLnTx/>
                <a:uFillTx/>
                <a:latin typeface="IBM Plex Sans"/>
                <a:ea typeface="+mn-ea"/>
                <a:cs typeface="Arial" charset="0"/>
              </a:rPr>
              <a:t>IBM</a:t>
            </a:r>
            <a:r>
              <a:rPr kumimoji="0" lang="de-DE" sz="600" b="0" i="0" u="none" strike="noStrike" kern="1200" cap="none" spc="0" normalizeH="0" baseline="0" noProof="0" dirty="0">
                <a:ln>
                  <a:noFill/>
                </a:ln>
                <a:solidFill>
                  <a:srgbClr val="FFFFFF"/>
                </a:solidFill>
                <a:effectLst/>
                <a:uLnTx/>
                <a:uFillTx/>
                <a:latin typeface="IBM Plex Sans"/>
                <a:ea typeface="+mn-ea"/>
                <a:cs typeface="Arial" charset="0"/>
              </a:rPr>
              <a:t> </a:t>
            </a:r>
            <a:r>
              <a:rPr kumimoji="0" lang="de-DE" sz="600" b="0" i="0" u="none" strike="noStrike" kern="1200" cap="none" spc="0" normalizeH="0" baseline="0" noProof="0" dirty="0">
                <a:ln>
                  <a:noFill/>
                </a:ln>
                <a:solidFill>
                  <a:srgbClr val="000000"/>
                </a:solidFill>
                <a:effectLst/>
                <a:uLnTx/>
                <a:uFillTx/>
                <a:latin typeface="IBM Plex Sans"/>
                <a:ea typeface="+mn-ea"/>
                <a:cs typeface="Arial" charset="0"/>
              </a:rPr>
              <a:t>Watson IoT / © 2020 IBM Corporation</a:t>
            </a:r>
            <a:endParaRPr kumimoji="0" lang="en-US" sz="600" b="0" i="0" u="none" strike="noStrike" kern="1200" cap="none" spc="0" normalizeH="0" baseline="0" noProof="0" dirty="0">
              <a:ln>
                <a:noFill/>
              </a:ln>
              <a:solidFill>
                <a:srgbClr val="000000"/>
              </a:solidFill>
              <a:effectLst/>
              <a:uLnTx/>
              <a:uFillTx/>
              <a:latin typeface="IBM Plex Sans"/>
              <a:ea typeface="+mn-ea"/>
              <a:cs typeface="Arial" charset="0"/>
            </a:endParaRPr>
          </a:p>
        </p:txBody>
      </p:sp>
      <p:sp>
        <p:nvSpPr>
          <p:cNvPr id="48" name="Slide Number Placeholder 6">
            <a:extLst>
              <a:ext uri="{FF2B5EF4-FFF2-40B4-BE49-F238E27FC236}">
                <a16:creationId xmlns:a16="http://schemas.microsoft.com/office/drawing/2014/main" id="{1D904484-38B7-451C-A601-6BD35A1A87EF}"/>
              </a:ext>
            </a:extLst>
          </p:cNvPr>
          <p:cNvSpPr txBox="1">
            <a:spLocks/>
          </p:cNvSpPr>
          <p:nvPr/>
        </p:nvSpPr>
        <p:spPr>
          <a:xfrm>
            <a:off x="6862040" y="4914751"/>
            <a:ext cx="2057400" cy="137160"/>
          </a:xfrm>
          <a:prstGeom prst="rect">
            <a:avLst/>
          </a:prstGeom>
        </p:spPr>
        <p:txBody>
          <a:bodyPr vert="horz" lIns="0" tIns="0" rIns="0" bIns="0" rtlCol="0" anchor="ctr"/>
          <a:lstStyle>
            <a:defPPr>
              <a:defRPr lang="en-US"/>
            </a:defPPr>
            <a:lvl1pPr marL="0" algn="r"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D0BE6F14-FF48-0F4F-A8AA-2E3F25371E4A}" type="slidenum">
              <a:rPr kumimoji="0" lang="en-US" sz="600" b="0" i="0" u="none" strike="noStrike" kern="1200" cap="none" spc="0" normalizeH="0" baseline="0" noProof="0">
                <a:ln>
                  <a:noFill/>
                </a:ln>
                <a:solidFill>
                  <a:srgbClr val="000000"/>
                </a:solidFill>
                <a:effectLst/>
                <a:uLnTx/>
                <a:uFillTx/>
                <a:latin typeface="IBM Plex Sans"/>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en-US" sz="600" b="0" i="0" u="none" strike="noStrike" kern="1200" cap="none" spc="0" normalizeH="0" baseline="0" noProof="0" dirty="0">
              <a:ln>
                <a:noFill/>
              </a:ln>
              <a:solidFill>
                <a:srgbClr val="000000"/>
              </a:solidFill>
              <a:effectLst/>
              <a:uLnTx/>
              <a:uFillTx/>
              <a:latin typeface="IBM Plex Sans"/>
              <a:cs typeface="Arial" charset="0"/>
            </a:endParaRPr>
          </a:p>
        </p:txBody>
      </p:sp>
    </p:spTree>
    <p:extLst>
      <p:ext uri="{BB962C8B-B14F-4D97-AF65-F5344CB8AC3E}">
        <p14:creationId xmlns:p14="http://schemas.microsoft.com/office/powerpoint/2010/main" val="2422347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05CAD-4B90-8243-82AE-BD7DA87D4579}"/>
              </a:ext>
            </a:extLst>
          </p:cNvPr>
          <p:cNvSpPr>
            <a:spLocks noGrp="1"/>
          </p:cNvSpPr>
          <p:nvPr>
            <p:ph type="title"/>
          </p:nvPr>
        </p:nvSpPr>
        <p:spPr/>
        <p:txBody>
          <a:bodyPr/>
          <a:lstStyle/>
          <a:p>
            <a:r>
              <a:rPr lang="en-US"/>
              <a:t>Maximo EAM with OpenShift</a:t>
            </a:r>
          </a:p>
        </p:txBody>
      </p:sp>
      <p:sp>
        <p:nvSpPr>
          <p:cNvPr id="4" name="Rectangle 3">
            <a:extLst>
              <a:ext uri="{FF2B5EF4-FFF2-40B4-BE49-F238E27FC236}">
                <a16:creationId xmlns:a16="http://schemas.microsoft.com/office/drawing/2014/main" id="{AB59E243-9921-1D42-9863-8C0A414B6D41}"/>
              </a:ext>
            </a:extLst>
          </p:cNvPr>
          <p:cNvSpPr/>
          <p:nvPr/>
        </p:nvSpPr>
        <p:spPr>
          <a:xfrm>
            <a:off x="228599" y="943853"/>
            <a:ext cx="8109859" cy="2793072"/>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0064FF"/>
                </a:solidFill>
                <a:effectLst/>
                <a:uLnTx/>
                <a:uFillTx/>
                <a:latin typeface="Calibri" panose="020F0502020204030204" pitchFamily="34" charset="0"/>
                <a:ea typeface="+mn-ea"/>
                <a:cs typeface="+mn-cs"/>
              </a:rPr>
              <a:t>Documentation</a:t>
            </a: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How to deploy and run </a:t>
            </a:r>
            <a:r>
              <a:rPr kumimoji="0" lang="en-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IBM®Maximo®Asset</a:t>
            </a:r>
            <a:r>
              <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Management on Red </a:t>
            </a:r>
            <a:r>
              <a:rPr kumimoji="0" lang="en-CA" sz="16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Hat®OpenShift</a:t>
            </a:r>
            <a:r>
              <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endParaRPr kumimoji="0" lang="en-CA" sz="1600" b="0" i="0" u="sng" strike="noStrike" kern="1200" cap="none" spc="0" normalizeH="0" baseline="0" noProof="0" dirty="0">
              <a:ln>
                <a:noFill/>
              </a:ln>
              <a:solidFill>
                <a:srgbClr val="0082BF"/>
              </a:solidFill>
              <a:effectLst/>
              <a:uLnTx/>
              <a:uFillTx/>
              <a:latin typeface="Calibri" panose="020F0502020204030204" pitchFamily="34" charset="0"/>
              <a:ea typeface="+mn-ea"/>
              <a:cs typeface="+mn-cs"/>
              <a:hlinkClick r:id="rId2"/>
            </a:endParaRPr>
          </a:p>
          <a:p>
            <a:pPr marL="628650" marR="0" lvl="1"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50" b="0" i="0" u="sng" strike="noStrike" kern="1200" cap="none" spc="0" normalizeH="0" baseline="0" noProof="0" dirty="0">
                <a:ln>
                  <a:noFill/>
                </a:ln>
                <a:solidFill>
                  <a:srgbClr val="000000"/>
                </a:solidFill>
                <a:effectLst/>
                <a:uLnTx/>
                <a:uFillTx/>
                <a:latin typeface="IBM Plex Sans"/>
                <a:ea typeface="+mn-ea"/>
                <a:cs typeface="+mn-cs"/>
                <a:hlinkClick r:id="rId3"/>
              </a:rPr>
              <a:t>https://www.ibm.com/support/pages/node/1102509</a:t>
            </a:r>
            <a:endParaRPr kumimoji="0" lang="en-US" sz="1350" b="0" i="0" u="sng" strike="noStrike" kern="1200" cap="none" spc="0" normalizeH="0" baseline="0" noProof="0" dirty="0">
              <a:ln>
                <a:noFill/>
              </a:ln>
              <a:solidFill>
                <a:srgbClr val="000000"/>
              </a:solidFill>
              <a:effectLst/>
              <a:uLnTx/>
              <a:uFillTx/>
              <a:latin typeface="IBM Plex Sans"/>
              <a:ea typeface="+mn-ea"/>
              <a:cs typeface="+mn-cs"/>
            </a:endParaRPr>
          </a:p>
          <a:p>
            <a:pPr marL="628650" marR="0" lvl="1"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600" b="0" i="0" u="sng" strike="noStrike" kern="1200" cap="none" spc="0" normalizeH="0" baseline="0" noProof="0" dirty="0">
              <a:ln>
                <a:noFill/>
              </a:ln>
              <a:solidFill>
                <a:srgbClr val="0082BF"/>
              </a:solidFill>
              <a:effectLst/>
              <a:uLnTx/>
              <a:uFillTx/>
              <a:latin typeface="Calibri" panose="020F0502020204030204" pitchFamily="34" charset="0"/>
              <a:ea typeface="+mn-ea"/>
              <a:cs typeface="+mn-cs"/>
              <a:hlinkClick r:id="rId4"/>
            </a:endParaRP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82BF"/>
                </a:solidFill>
                <a:effectLst/>
                <a:uLnTx/>
                <a:uFillTx/>
                <a:latin typeface="Calibri" panose="020F0502020204030204" pitchFamily="34" charset="0"/>
                <a:ea typeface="+mn-ea"/>
                <a:cs typeface="+mn-cs"/>
                <a:hlinkClick r:id="rId4"/>
              </a:rPr>
              <a:t>OpenShift</a:t>
            </a:r>
            <a:r>
              <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is the RedHat enterprise product for Kubernetes container platform. </a:t>
            </a: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he minimum version of Maximo required to using OpenShift containers is </a:t>
            </a:r>
            <a:r>
              <a:rPr kumimoji="0" lang="en-CA"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Maximo 7.6.1.1 with the current Interim Fix pack</a:t>
            </a:r>
            <a:r>
              <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nly runs on RedHat Linux, but the administrative workstation to create the docker images can be Microsoft Windows server.</a:t>
            </a:r>
          </a:p>
        </p:txBody>
      </p:sp>
      <p:sp>
        <p:nvSpPr>
          <p:cNvPr id="5" name="Footer Placeholder 9">
            <a:extLst>
              <a:ext uri="{FF2B5EF4-FFF2-40B4-BE49-F238E27FC236}">
                <a16:creationId xmlns:a16="http://schemas.microsoft.com/office/drawing/2014/main" id="{A2738CD6-90E8-486A-854F-A2E4275769DB}"/>
              </a:ext>
            </a:extLst>
          </p:cNvPr>
          <p:cNvSpPr txBox="1">
            <a:spLocks/>
          </p:cNvSpPr>
          <p:nvPr/>
        </p:nvSpPr>
        <p:spPr>
          <a:xfrm>
            <a:off x="228600" y="4912755"/>
            <a:ext cx="6400800" cy="137160"/>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000000"/>
                </a:solidFill>
                <a:effectLst/>
                <a:uLnTx/>
                <a:uFillTx/>
                <a:latin typeface="IBM Plex Sans"/>
                <a:ea typeface="+mn-ea"/>
                <a:cs typeface="Arial" charset="0"/>
              </a:rPr>
              <a:t>IBM</a:t>
            </a:r>
            <a:r>
              <a:rPr kumimoji="0" lang="de-DE" sz="600" b="0" i="0" u="none" strike="noStrike" kern="1200" cap="none" spc="0" normalizeH="0" baseline="0" noProof="0" dirty="0">
                <a:ln>
                  <a:noFill/>
                </a:ln>
                <a:solidFill>
                  <a:srgbClr val="FFFFFF"/>
                </a:solidFill>
                <a:effectLst/>
                <a:uLnTx/>
                <a:uFillTx/>
                <a:latin typeface="IBM Plex Sans"/>
                <a:ea typeface="+mn-ea"/>
                <a:cs typeface="Arial" charset="0"/>
              </a:rPr>
              <a:t> </a:t>
            </a:r>
            <a:r>
              <a:rPr kumimoji="0" lang="de-DE" sz="600" b="0" i="0" u="none" strike="noStrike" kern="1200" cap="none" spc="0" normalizeH="0" baseline="0" noProof="0" dirty="0">
                <a:ln>
                  <a:noFill/>
                </a:ln>
                <a:solidFill>
                  <a:srgbClr val="000000"/>
                </a:solidFill>
                <a:effectLst/>
                <a:uLnTx/>
                <a:uFillTx/>
                <a:latin typeface="IBM Plex Sans"/>
                <a:ea typeface="+mn-ea"/>
                <a:cs typeface="Arial" charset="0"/>
              </a:rPr>
              <a:t>Watson IoT / © 2020 IBM Corporation</a:t>
            </a:r>
            <a:endParaRPr kumimoji="0" lang="en-US" sz="600" b="0" i="0" u="none" strike="noStrike" kern="1200" cap="none" spc="0" normalizeH="0" baseline="0" noProof="0" dirty="0">
              <a:ln>
                <a:noFill/>
              </a:ln>
              <a:solidFill>
                <a:srgbClr val="000000"/>
              </a:solidFill>
              <a:effectLst/>
              <a:uLnTx/>
              <a:uFillTx/>
              <a:latin typeface="IBM Plex Sans"/>
              <a:ea typeface="+mn-ea"/>
              <a:cs typeface="Arial" charset="0"/>
            </a:endParaRPr>
          </a:p>
        </p:txBody>
      </p:sp>
      <p:sp>
        <p:nvSpPr>
          <p:cNvPr id="6" name="Slide Number Placeholder 6">
            <a:extLst>
              <a:ext uri="{FF2B5EF4-FFF2-40B4-BE49-F238E27FC236}">
                <a16:creationId xmlns:a16="http://schemas.microsoft.com/office/drawing/2014/main" id="{3E1BFF6A-9D6C-414A-BBF1-0F04267756E3}"/>
              </a:ext>
            </a:extLst>
          </p:cNvPr>
          <p:cNvSpPr txBox="1">
            <a:spLocks/>
          </p:cNvSpPr>
          <p:nvPr/>
        </p:nvSpPr>
        <p:spPr>
          <a:xfrm>
            <a:off x="6862040" y="4914751"/>
            <a:ext cx="2057400" cy="137160"/>
          </a:xfrm>
          <a:prstGeom prst="rect">
            <a:avLst/>
          </a:prstGeom>
        </p:spPr>
        <p:txBody>
          <a:bodyPr vert="horz" lIns="0" tIns="0" rIns="0" bIns="0" rtlCol="0" anchor="ctr"/>
          <a:lstStyle>
            <a:defPPr>
              <a:defRPr lang="en-US"/>
            </a:defPPr>
            <a:lvl1pPr marL="0" algn="r"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D0BE6F14-FF48-0F4F-A8AA-2E3F25371E4A}" type="slidenum">
              <a:rPr kumimoji="0" lang="en-US" sz="600" b="0" i="0" u="none" strike="noStrike" kern="1200" cap="none" spc="0" normalizeH="0" baseline="0" noProof="0">
                <a:ln>
                  <a:noFill/>
                </a:ln>
                <a:solidFill>
                  <a:srgbClr val="000000"/>
                </a:solidFill>
                <a:effectLst/>
                <a:uLnTx/>
                <a:uFillTx/>
                <a:latin typeface="IBM Plex Sans"/>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en-US" sz="600" b="0" i="0" u="none" strike="noStrike" kern="1200" cap="none" spc="0" normalizeH="0" baseline="0" noProof="0" dirty="0">
              <a:ln>
                <a:noFill/>
              </a:ln>
              <a:solidFill>
                <a:srgbClr val="000000"/>
              </a:solidFill>
              <a:effectLst/>
              <a:uLnTx/>
              <a:uFillTx/>
              <a:latin typeface="IBM Plex Sans"/>
              <a:cs typeface="Arial" charset="0"/>
            </a:endParaRPr>
          </a:p>
        </p:txBody>
      </p:sp>
    </p:spTree>
    <p:extLst>
      <p:ext uri="{BB962C8B-B14F-4D97-AF65-F5344CB8AC3E}">
        <p14:creationId xmlns:p14="http://schemas.microsoft.com/office/powerpoint/2010/main" val="6211968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29041467-09D6-7247-B494-6A8D7A621A20}"/>
              </a:ext>
            </a:extLst>
          </p:cNvPr>
          <p:cNvSpPr/>
          <p:nvPr/>
        </p:nvSpPr>
        <p:spPr>
          <a:xfrm>
            <a:off x="4800600" y="0"/>
            <a:ext cx="4343400" cy="5143500"/>
          </a:xfrm>
          <a:prstGeom prst="rect">
            <a:avLst/>
          </a:prstGeom>
          <a:solidFill>
            <a:schemeClr val="accent2"/>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2" name="Title 1"/>
          <p:cNvSpPr>
            <a:spLocks noGrp="1"/>
          </p:cNvSpPr>
          <p:nvPr>
            <p:ph type="title"/>
          </p:nvPr>
        </p:nvSpPr>
        <p:spPr>
          <a:xfrm>
            <a:off x="228600" y="201168"/>
            <a:ext cx="4114800" cy="640080"/>
          </a:xfrm>
        </p:spPr>
        <p:txBody>
          <a:bodyPr/>
          <a:lstStyle/>
          <a:p>
            <a:r>
              <a:rPr lang="en-US" dirty="0"/>
              <a:t>Maximo Health</a:t>
            </a:r>
            <a:br>
              <a:rPr lang="en-US" dirty="0"/>
            </a:br>
            <a:r>
              <a:rPr lang="en-US" sz="1200" dirty="0">
                <a:solidFill>
                  <a:schemeClr val="accent2"/>
                </a:solidFill>
                <a:latin typeface="+mn-lt"/>
              </a:rPr>
              <a:t>Asset Health Visibility and Analysis</a:t>
            </a:r>
          </a:p>
        </p:txBody>
      </p:sp>
      <p:sp>
        <p:nvSpPr>
          <p:cNvPr id="10" name="Text Placeholder 6"/>
          <p:cNvSpPr>
            <a:spLocks noGrp="1"/>
          </p:cNvSpPr>
          <p:nvPr>
            <p:ph type="body" sz="quarter" idx="13"/>
          </p:nvPr>
        </p:nvSpPr>
        <p:spPr>
          <a:xfrm>
            <a:off x="897130" y="989065"/>
            <a:ext cx="3903469" cy="871555"/>
          </a:xfrm>
          <a:prstGeom prst="rect">
            <a:avLst/>
          </a:prstGeom>
        </p:spPr>
        <p:txBody>
          <a:bodyPr/>
          <a:lstStyle/>
          <a:p>
            <a:pPr marL="0" lvl="1" indent="0">
              <a:spcBef>
                <a:spcPts val="0"/>
              </a:spcBef>
              <a:buNone/>
            </a:pPr>
            <a:r>
              <a:rPr lang="en-US" sz="1200" dirty="0">
                <a:solidFill>
                  <a:schemeClr val="accent2"/>
                </a:solidFill>
              </a:rPr>
              <a:t>Solution</a:t>
            </a:r>
          </a:p>
          <a:p>
            <a:pPr lvl="1">
              <a:spcBef>
                <a:spcPts val="300"/>
              </a:spcBef>
              <a:defRPr/>
            </a:pPr>
            <a:r>
              <a:rPr lang="en-US" sz="1050" dirty="0">
                <a:solidFill>
                  <a:srgbClr val="000000"/>
                </a:solidFill>
                <a:latin typeface="IBM Plex Sans"/>
              </a:rPr>
              <a:t>Consolidated global view of assets </a:t>
            </a:r>
          </a:p>
          <a:p>
            <a:pPr lvl="1">
              <a:spcBef>
                <a:spcPts val="300"/>
              </a:spcBef>
              <a:defRPr/>
            </a:pPr>
            <a:r>
              <a:rPr lang="en-US" sz="1050" dirty="0">
                <a:solidFill>
                  <a:srgbClr val="000000"/>
                </a:solidFill>
                <a:latin typeface="IBM Plex Sans"/>
              </a:rPr>
              <a:t>Health Visibility and Analysis</a:t>
            </a:r>
          </a:p>
          <a:p>
            <a:pPr lvl="1">
              <a:spcBef>
                <a:spcPts val="300"/>
              </a:spcBef>
              <a:defRPr/>
            </a:pPr>
            <a:r>
              <a:rPr lang="en-US" sz="1050" dirty="0">
                <a:solidFill>
                  <a:srgbClr val="000000"/>
                </a:solidFill>
                <a:latin typeface="IBM Plex Sans"/>
              </a:rPr>
              <a:t>Condition based actions</a:t>
            </a:r>
          </a:p>
          <a:p>
            <a:pPr lvl="1">
              <a:spcBef>
                <a:spcPts val="300"/>
              </a:spcBef>
              <a:defRPr/>
            </a:pPr>
            <a:r>
              <a:rPr lang="en-US" sz="1050" dirty="0">
                <a:solidFill>
                  <a:srgbClr val="000000"/>
                </a:solidFill>
                <a:latin typeface="IBM Plex Sans"/>
              </a:rPr>
              <a:t>Replacement Planning</a:t>
            </a:r>
          </a:p>
        </p:txBody>
      </p:sp>
      <p:sp>
        <p:nvSpPr>
          <p:cNvPr id="11" name="Text Placeholder 6"/>
          <p:cNvSpPr>
            <a:spLocks noGrp="1"/>
          </p:cNvSpPr>
          <p:nvPr>
            <p:ph type="body" sz="quarter" idx="14"/>
          </p:nvPr>
        </p:nvSpPr>
        <p:spPr>
          <a:xfrm>
            <a:off x="897131" y="2073340"/>
            <a:ext cx="3674870" cy="1383763"/>
          </a:xfrm>
          <a:prstGeom prst="rect">
            <a:avLst/>
          </a:prstGeom>
        </p:spPr>
        <p:txBody>
          <a:bodyPr/>
          <a:lstStyle/>
          <a:p>
            <a:pPr marL="0" lvl="1" indent="0">
              <a:spcBef>
                <a:spcPts val="0"/>
              </a:spcBef>
              <a:buNone/>
            </a:pPr>
            <a:r>
              <a:rPr lang="en-US" sz="1200" dirty="0">
                <a:solidFill>
                  <a:schemeClr val="accent2"/>
                </a:solidFill>
              </a:rPr>
              <a:t>Capabilities</a:t>
            </a:r>
            <a:endParaRPr lang="en-US" sz="1050" dirty="0">
              <a:solidFill>
                <a:schemeClr val="accent2"/>
              </a:solidFill>
            </a:endParaRPr>
          </a:p>
          <a:p>
            <a:pPr lvl="1">
              <a:spcBef>
                <a:spcPts val="300"/>
              </a:spcBef>
              <a:defRPr/>
            </a:pPr>
            <a:r>
              <a:rPr lang="en-US" sz="1050" dirty="0">
                <a:solidFill>
                  <a:srgbClr val="000000"/>
                </a:solidFill>
                <a:latin typeface="IBM Plex Sans"/>
              </a:rPr>
              <a:t>Dashboard with cards, map view, spreadsheet view</a:t>
            </a:r>
          </a:p>
          <a:p>
            <a:pPr lvl="1">
              <a:spcBef>
                <a:spcPts val="300"/>
              </a:spcBef>
              <a:defRPr/>
            </a:pPr>
            <a:r>
              <a:rPr lang="en-US" sz="1050" dirty="0">
                <a:solidFill>
                  <a:srgbClr val="000000"/>
                </a:solidFill>
                <a:latin typeface="IBM Plex Sans"/>
              </a:rPr>
              <a:t>Fleet-wide view and health drilldown</a:t>
            </a:r>
          </a:p>
          <a:p>
            <a:pPr lvl="1">
              <a:spcBef>
                <a:spcPts val="300"/>
              </a:spcBef>
              <a:defRPr/>
            </a:pPr>
            <a:r>
              <a:rPr lang="en-US" sz="1050" dirty="0">
                <a:solidFill>
                  <a:srgbClr val="000000"/>
                </a:solidFill>
                <a:latin typeface="IBM Plex Sans"/>
              </a:rPr>
              <a:t>Health based notifications and actions</a:t>
            </a:r>
          </a:p>
          <a:p>
            <a:pPr lvl="1">
              <a:spcBef>
                <a:spcPts val="300"/>
              </a:spcBef>
              <a:defRPr/>
            </a:pPr>
            <a:r>
              <a:rPr lang="en-US" sz="1050" dirty="0">
                <a:solidFill>
                  <a:srgbClr val="000000"/>
                </a:solidFill>
                <a:latin typeface="IBM Plex Sans"/>
              </a:rPr>
              <a:t>Flexible health scoring by asset type or groups</a:t>
            </a:r>
          </a:p>
          <a:p>
            <a:pPr lvl="1">
              <a:spcBef>
                <a:spcPts val="300"/>
              </a:spcBef>
              <a:defRPr/>
            </a:pPr>
            <a:r>
              <a:rPr lang="en-US" sz="1050" dirty="0">
                <a:solidFill>
                  <a:srgbClr val="000000"/>
                </a:solidFill>
                <a:latin typeface="IBM Plex Sans"/>
              </a:rPr>
              <a:t>Sensor data integration</a:t>
            </a:r>
          </a:p>
          <a:p>
            <a:pPr lvl="1">
              <a:spcBef>
                <a:spcPts val="300"/>
              </a:spcBef>
              <a:defRPr/>
            </a:pPr>
            <a:r>
              <a:rPr lang="en-US" sz="1050" dirty="0">
                <a:solidFill>
                  <a:srgbClr val="000000"/>
                </a:solidFill>
                <a:latin typeface="IBM Plex Sans"/>
              </a:rPr>
              <a:t>Job plan efficacy analysis</a:t>
            </a:r>
          </a:p>
          <a:p>
            <a:pPr lvl="1">
              <a:spcBef>
                <a:spcPts val="300"/>
              </a:spcBef>
              <a:defRPr/>
            </a:pPr>
            <a:r>
              <a:rPr lang="en-US" sz="1050" dirty="0">
                <a:solidFill>
                  <a:srgbClr val="000000"/>
                </a:solidFill>
                <a:latin typeface="IBM Plex Sans"/>
              </a:rPr>
              <a:t>Refurbish / replace prioritization</a:t>
            </a:r>
          </a:p>
        </p:txBody>
      </p:sp>
      <p:sp>
        <p:nvSpPr>
          <p:cNvPr id="12" name="Text Placeholder 6"/>
          <p:cNvSpPr>
            <a:spLocks noGrp="1"/>
          </p:cNvSpPr>
          <p:nvPr>
            <p:ph type="body" sz="quarter" idx="4294967295"/>
          </p:nvPr>
        </p:nvSpPr>
        <p:spPr>
          <a:xfrm>
            <a:off x="897579" y="3736085"/>
            <a:ext cx="3924300" cy="1023938"/>
          </a:xfrm>
          <a:prstGeom prst="rect">
            <a:avLst/>
          </a:prstGeom>
        </p:spPr>
        <p:txBody>
          <a:bodyPr/>
          <a:lstStyle/>
          <a:p>
            <a:pPr marL="0" lvl="1" indent="0">
              <a:spcBef>
                <a:spcPts val="0"/>
              </a:spcBef>
              <a:buNone/>
            </a:pPr>
            <a:r>
              <a:rPr lang="en-US" sz="1200" dirty="0">
                <a:solidFill>
                  <a:schemeClr val="accent2"/>
                </a:solidFill>
              </a:rPr>
              <a:t>Benefits</a:t>
            </a:r>
          </a:p>
          <a:p>
            <a:pPr lvl="1">
              <a:spcBef>
                <a:spcPts val="300"/>
              </a:spcBef>
              <a:defRPr/>
            </a:pPr>
            <a:r>
              <a:rPr lang="en-US" sz="1050" dirty="0">
                <a:solidFill>
                  <a:srgbClr val="000000"/>
                </a:solidFill>
                <a:latin typeface="IBM Plex Sans"/>
              </a:rPr>
              <a:t>Reduce operational risk by focusing on the right assets</a:t>
            </a:r>
          </a:p>
          <a:p>
            <a:pPr lvl="1">
              <a:spcBef>
                <a:spcPts val="300"/>
              </a:spcBef>
              <a:defRPr/>
            </a:pPr>
            <a:r>
              <a:rPr lang="en-US" sz="1050" dirty="0">
                <a:solidFill>
                  <a:srgbClr val="000000"/>
                </a:solidFill>
                <a:latin typeface="IBM Plex Sans"/>
              </a:rPr>
              <a:t>Increase asset availability</a:t>
            </a:r>
          </a:p>
          <a:p>
            <a:pPr lvl="1">
              <a:spcBef>
                <a:spcPts val="300"/>
              </a:spcBef>
              <a:defRPr/>
            </a:pPr>
            <a:r>
              <a:rPr lang="en-US" sz="1050" dirty="0">
                <a:solidFill>
                  <a:srgbClr val="000000"/>
                </a:solidFill>
                <a:latin typeface="IBM Plex Sans"/>
              </a:rPr>
              <a:t>Reduce unnecessary preventive maintenance</a:t>
            </a:r>
          </a:p>
          <a:p>
            <a:pPr lvl="1">
              <a:spcBef>
                <a:spcPts val="300"/>
              </a:spcBef>
              <a:defRPr/>
            </a:pPr>
            <a:r>
              <a:rPr lang="en-US" sz="1050" dirty="0">
                <a:solidFill>
                  <a:srgbClr val="000000"/>
                </a:solidFill>
                <a:latin typeface="IBM Plex Sans"/>
              </a:rPr>
              <a:t>Reduce time to make capital replacement planning decisions</a:t>
            </a:r>
          </a:p>
        </p:txBody>
      </p:sp>
      <p:pic>
        <p:nvPicPr>
          <p:cNvPr id="13" name="Picture 30">
            <a:extLst>
              <a:ext uri="{FF2B5EF4-FFF2-40B4-BE49-F238E27FC236}">
                <a16:creationId xmlns:a16="http://schemas.microsoft.com/office/drawing/2014/main" id="{0BCBD41F-AECE-4961-8713-0390AB7A8C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21879" y="1145895"/>
            <a:ext cx="4197572" cy="3610346"/>
          </a:xfrm>
          <a:prstGeom prst="rect">
            <a:avLst/>
          </a:prstGeom>
        </p:spPr>
      </p:pic>
      <p:pic>
        <p:nvPicPr>
          <p:cNvPr id="14" name="Picture 13">
            <a:extLst>
              <a:ext uri="{FF2B5EF4-FFF2-40B4-BE49-F238E27FC236}">
                <a16:creationId xmlns:a16="http://schemas.microsoft.com/office/drawing/2014/main" id="{F74A7D48-6CB5-4E4B-A76B-E0F25DC7A07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208328" y="1601396"/>
            <a:ext cx="3380211" cy="1915594"/>
          </a:xfrm>
          <a:prstGeom prst="rect">
            <a:avLst/>
          </a:prstGeom>
        </p:spPr>
      </p:pic>
      <p:sp>
        <p:nvSpPr>
          <p:cNvPr id="16" name="Freeform 5">
            <a:extLst>
              <a:ext uri="{FF2B5EF4-FFF2-40B4-BE49-F238E27FC236}">
                <a16:creationId xmlns:a16="http://schemas.microsoft.com/office/drawing/2014/main" id="{CF5C8C01-2E86-457F-80A8-CB9007942BDA}"/>
              </a:ext>
            </a:extLst>
          </p:cNvPr>
          <p:cNvSpPr>
            <a:spLocks/>
          </p:cNvSpPr>
          <p:nvPr/>
        </p:nvSpPr>
        <p:spPr bwMode="auto">
          <a:xfrm>
            <a:off x="256516" y="3768046"/>
            <a:ext cx="450314" cy="432056"/>
          </a:xfrm>
          <a:custGeom>
            <a:avLst/>
            <a:gdLst>
              <a:gd name="T0" fmla="*/ 1956 w 2070"/>
              <a:gd name="T1" fmla="*/ 1003 h 1980"/>
              <a:gd name="T2" fmla="*/ 1877 w 2070"/>
              <a:gd name="T3" fmla="*/ 675 h 1980"/>
              <a:gd name="T4" fmla="*/ 1376 w 2070"/>
              <a:gd name="T5" fmla="*/ 354 h 1980"/>
              <a:gd name="T6" fmla="*/ 1023 w 2070"/>
              <a:gd name="T7" fmla="*/ 29 h 1980"/>
              <a:gd name="T8" fmla="*/ 955 w 2070"/>
              <a:gd name="T9" fmla="*/ 125 h 1980"/>
              <a:gd name="T10" fmla="*/ 890 w 2070"/>
              <a:gd name="T11" fmla="*/ 602 h 1980"/>
              <a:gd name="T12" fmla="*/ 529 w 2070"/>
              <a:gd name="T13" fmla="*/ 852 h 1980"/>
              <a:gd name="T14" fmla="*/ 0 w 2070"/>
              <a:gd name="T15" fmla="*/ 949 h 1980"/>
              <a:gd name="T16" fmla="*/ 13 w 2070"/>
              <a:gd name="T17" fmla="*/ 1089 h 1980"/>
              <a:gd name="T18" fmla="*/ 66 w 2070"/>
              <a:gd name="T19" fmla="*/ 949 h 1980"/>
              <a:gd name="T20" fmla="*/ 536 w 2070"/>
              <a:gd name="T21" fmla="*/ 918 h 1980"/>
              <a:gd name="T22" fmla="*/ 566 w 2070"/>
              <a:gd name="T23" fmla="*/ 1883 h 1980"/>
              <a:gd name="T24" fmla="*/ 97 w 2070"/>
              <a:gd name="T25" fmla="*/ 1913 h 1980"/>
              <a:gd name="T26" fmla="*/ 66 w 2070"/>
              <a:gd name="T27" fmla="*/ 1199 h 1980"/>
              <a:gd name="T28" fmla="*/ 0 w 2070"/>
              <a:gd name="T29" fmla="*/ 1203 h 1980"/>
              <a:gd name="T30" fmla="*/ 97 w 2070"/>
              <a:gd name="T31" fmla="*/ 1980 h 1980"/>
              <a:gd name="T32" fmla="*/ 633 w 2070"/>
              <a:gd name="T33" fmla="*/ 1883 h 1980"/>
              <a:gd name="T34" fmla="*/ 798 w 2070"/>
              <a:gd name="T35" fmla="*/ 1871 h 1980"/>
              <a:gd name="T36" fmla="*/ 1452 w 2070"/>
              <a:gd name="T37" fmla="*/ 1873 h 1980"/>
              <a:gd name="T38" fmla="*/ 1449 w 2070"/>
              <a:gd name="T39" fmla="*/ 1807 h 1980"/>
              <a:gd name="T40" fmla="*/ 633 w 2070"/>
              <a:gd name="T41" fmla="*/ 1714 h 1980"/>
              <a:gd name="T42" fmla="*/ 962 w 2070"/>
              <a:gd name="T43" fmla="*/ 618 h 1980"/>
              <a:gd name="T44" fmla="*/ 1022 w 2070"/>
              <a:gd name="T45" fmla="*/ 153 h 1980"/>
              <a:gd name="T46" fmla="*/ 1225 w 2070"/>
              <a:gd name="T47" fmla="*/ 130 h 1980"/>
              <a:gd name="T48" fmla="*/ 1309 w 2070"/>
              <a:gd name="T49" fmla="*/ 715 h 1980"/>
              <a:gd name="T50" fmla="*/ 1877 w 2070"/>
              <a:gd name="T51" fmla="*/ 741 h 1980"/>
              <a:gd name="T52" fmla="*/ 1873 w 2070"/>
              <a:gd name="T53" fmla="*/ 958 h 1980"/>
              <a:gd name="T54" fmla="*/ 1563 w 2070"/>
              <a:gd name="T55" fmla="*/ 971 h 1980"/>
              <a:gd name="T56" fmla="*/ 1845 w 2070"/>
              <a:gd name="T57" fmla="*/ 1024 h 1980"/>
              <a:gd name="T58" fmla="*/ 1842 w 2070"/>
              <a:gd name="T59" fmla="*/ 1241 h 1980"/>
              <a:gd name="T60" fmla="*/ 1563 w 2070"/>
              <a:gd name="T61" fmla="*/ 1254 h 1980"/>
              <a:gd name="T62" fmla="*/ 1812 w 2070"/>
              <a:gd name="T63" fmla="*/ 1307 h 1980"/>
              <a:gd name="T64" fmla="*/ 1899 w 2070"/>
              <a:gd name="T65" fmla="*/ 1466 h 1980"/>
              <a:gd name="T66" fmla="*/ 1586 w 2070"/>
              <a:gd name="T67" fmla="*/ 1524 h 1980"/>
              <a:gd name="T68" fmla="*/ 1590 w 2070"/>
              <a:gd name="T69" fmla="*/ 1590 h 1980"/>
              <a:gd name="T70" fmla="*/ 1787 w 2070"/>
              <a:gd name="T71" fmla="*/ 1592 h 1980"/>
              <a:gd name="T72" fmla="*/ 1771 w 2070"/>
              <a:gd name="T73" fmla="*/ 1807 h 1980"/>
              <a:gd name="T74" fmla="*/ 1563 w 2070"/>
              <a:gd name="T75" fmla="*/ 1820 h 1980"/>
              <a:gd name="T76" fmla="*/ 1770 w 2070"/>
              <a:gd name="T77" fmla="*/ 1873 h 1980"/>
              <a:gd name="T78" fmla="*/ 1885 w 2070"/>
              <a:gd name="T79" fmla="*/ 1570 h 1980"/>
              <a:gd name="T80" fmla="*/ 1920 w 2070"/>
              <a:gd name="T81" fmla="*/ 1287 h 1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70" h="1980">
                <a:moveTo>
                  <a:pt x="2013" y="1132"/>
                </a:moveTo>
                <a:cubicBezTo>
                  <a:pt x="2013" y="1082"/>
                  <a:pt x="1991" y="1036"/>
                  <a:pt x="1956" y="1003"/>
                </a:cubicBezTo>
                <a:cubicBezTo>
                  <a:pt x="2028" y="965"/>
                  <a:pt x="2070" y="876"/>
                  <a:pt x="2036" y="784"/>
                </a:cubicBezTo>
                <a:cubicBezTo>
                  <a:pt x="2012" y="718"/>
                  <a:pt x="1947" y="675"/>
                  <a:pt x="1877" y="675"/>
                </a:cubicBezTo>
                <a:cubicBezTo>
                  <a:pt x="1376" y="675"/>
                  <a:pt x="1376" y="675"/>
                  <a:pt x="1376" y="675"/>
                </a:cubicBezTo>
                <a:cubicBezTo>
                  <a:pt x="1376" y="354"/>
                  <a:pt x="1376" y="354"/>
                  <a:pt x="1376" y="354"/>
                </a:cubicBezTo>
                <a:cubicBezTo>
                  <a:pt x="1376" y="225"/>
                  <a:pt x="1338" y="131"/>
                  <a:pt x="1265" y="77"/>
                </a:cubicBezTo>
                <a:cubicBezTo>
                  <a:pt x="1161" y="0"/>
                  <a:pt x="1066" y="19"/>
                  <a:pt x="1023" y="29"/>
                </a:cubicBezTo>
                <a:cubicBezTo>
                  <a:pt x="1012" y="31"/>
                  <a:pt x="1001" y="41"/>
                  <a:pt x="993" y="49"/>
                </a:cubicBezTo>
                <a:cubicBezTo>
                  <a:pt x="960" y="78"/>
                  <a:pt x="955" y="112"/>
                  <a:pt x="955" y="125"/>
                </a:cubicBezTo>
                <a:cubicBezTo>
                  <a:pt x="955" y="414"/>
                  <a:pt x="955" y="414"/>
                  <a:pt x="955" y="414"/>
                </a:cubicBezTo>
                <a:cubicBezTo>
                  <a:pt x="955" y="482"/>
                  <a:pt x="933" y="549"/>
                  <a:pt x="890" y="602"/>
                </a:cubicBezTo>
                <a:cubicBezTo>
                  <a:pt x="630" y="933"/>
                  <a:pt x="630" y="933"/>
                  <a:pt x="630" y="933"/>
                </a:cubicBezTo>
                <a:cubicBezTo>
                  <a:pt x="620" y="887"/>
                  <a:pt x="578" y="852"/>
                  <a:pt x="529" y="852"/>
                </a:cubicBezTo>
                <a:cubicBezTo>
                  <a:pt x="97" y="852"/>
                  <a:pt x="97" y="852"/>
                  <a:pt x="97" y="852"/>
                </a:cubicBezTo>
                <a:cubicBezTo>
                  <a:pt x="43" y="852"/>
                  <a:pt x="0" y="895"/>
                  <a:pt x="0" y="949"/>
                </a:cubicBezTo>
                <a:cubicBezTo>
                  <a:pt x="0" y="1066"/>
                  <a:pt x="0" y="1066"/>
                  <a:pt x="0" y="1066"/>
                </a:cubicBezTo>
                <a:cubicBezTo>
                  <a:pt x="0" y="1075"/>
                  <a:pt x="5" y="1084"/>
                  <a:pt x="13" y="1089"/>
                </a:cubicBezTo>
                <a:cubicBezTo>
                  <a:pt x="39" y="1105"/>
                  <a:pt x="66" y="1087"/>
                  <a:pt x="66" y="1062"/>
                </a:cubicBezTo>
                <a:cubicBezTo>
                  <a:pt x="66" y="949"/>
                  <a:pt x="66" y="949"/>
                  <a:pt x="66" y="949"/>
                </a:cubicBezTo>
                <a:cubicBezTo>
                  <a:pt x="66" y="932"/>
                  <a:pt x="80" y="918"/>
                  <a:pt x="97" y="918"/>
                </a:cubicBezTo>
                <a:cubicBezTo>
                  <a:pt x="536" y="918"/>
                  <a:pt x="536" y="918"/>
                  <a:pt x="536" y="918"/>
                </a:cubicBezTo>
                <a:cubicBezTo>
                  <a:pt x="552" y="918"/>
                  <a:pt x="566" y="932"/>
                  <a:pt x="566" y="949"/>
                </a:cubicBezTo>
                <a:cubicBezTo>
                  <a:pt x="566" y="1883"/>
                  <a:pt x="566" y="1883"/>
                  <a:pt x="566" y="1883"/>
                </a:cubicBezTo>
                <a:cubicBezTo>
                  <a:pt x="566" y="1900"/>
                  <a:pt x="552" y="1913"/>
                  <a:pt x="536" y="1913"/>
                </a:cubicBezTo>
                <a:cubicBezTo>
                  <a:pt x="97" y="1913"/>
                  <a:pt x="97" y="1913"/>
                  <a:pt x="97" y="1913"/>
                </a:cubicBezTo>
                <a:cubicBezTo>
                  <a:pt x="80" y="1913"/>
                  <a:pt x="66" y="1900"/>
                  <a:pt x="66" y="1883"/>
                </a:cubicBezTo>
                <a:cubicBezTo>
                  <a:pt x="66" y="1199"/>
                  <a:pt x="66" y="1199"/>
                  <a:pt x="66" y="1199"/>
                </a:cubicBezTo>
                <a:cubicBezTo>
                  <a:pt x="66" y="1190"/>
                  <a:pt x="62" y="1181"/>
                  <a:pt x="53" y="1176"/>
                </a:cubicBezTo>
                <a:cubicBezTo>
                  <a:pt x="27" y="1160"/>
                  <a:pt x="0" y="1178"/>
                  <a:pt x="0" y="1203"/>
                </a:cubicBezTo>
                <a:cubicBezTo>
                  <a:pt x="0" y="1883"/>
                  <a:pt x="0" y="1883"/>
                  <a:pt x="0" y="1883"/>
                </a:cubicBezTo>
                <a:cubicBezTo>
                  <a:pt x="0" y="1936"/>
                  <a:pt x="43" y="1980"/>
                  <a:pt x="97" y="1980"/>
                </a:cubicBezTo>
                <a:cubicBezTo>
                  <a:pt x="536" y="1980"/>
                  <a:pt x="536" y="1980"/>
                  <a:pt x="536" y="1980"/>
                </a:cubicBezTo>
                <a:cubicBezTo>
                  <a:pt x="589" y="1980"/>
                  <a:pt x="633" y="1936"/>
                  <a:pt x="633" y="1883"/>
                </a:cubicBezTo>
                <a:cubicBezTo>
                  <a:pt x="633" y="1788"/>
                  <a:pt x="633" y="1788"/>
                  <a:pt x="633" y="1788"/>
                </a:cubicBezTo>
                <a:cubicBezTo>
                  <a:pt x="798" y="1871"/>
                  <a:pt x="798" y="1871"/>
                  <a:pt x="798" y="1871"/>
                </a:cubicBezTo>
                <a:cubicBezTo>
                  <a:pt x="802" y="1872"/>
                  <a:pt x="806" y="1873"/>
                  <a:pt x="810" y="1873"/>
                </a:cubicBezTo>
                <a:cubicBezTo>
                  <a:pt x="1452" y="1873"/>
                  <a:pt x="1452" y="1873"/>
                  <a:pt x="1452" y="1873"/>
                </a:cubicBezTo>
                <a:cubicBezTo>
                  <a:pt x="1462" y="1873"/>
                  <a:pt x="1471" y="1869"/>
                  <a:pt x="1476" y="1861"/>
                </a:cubicBezTo>
                <a:cubicBezTo>
                  <a:pt x="1492" y="1834"/>
                  <a:pt x="1473" y="1807"/>
                  <a:pt x="1449" y="1807"/>
                </a:cubicBezTo>
                <a:cubicBezTo>
                  <a:pt x="820" y="1807"/>
                  <a:pt x="820" y="1807"/>
                  <a:pt x="820" y="1807"/>
                </a:cubicBezTo>
                <a:cubicBezTo>
                  <a:pt x="633" y="1714"/>
                  <a:pt x="633" y="1714"/>
                  <a:pt x="633" y="1714"/>
                </a:cubicBezTo>
                <a:cubicBezTo>
                  <a:pt x="633" y="1038"/>
                  <a:pt x="633" y="1038"/>
                  <a:pt x="633" y="1038"/>
                </a:cubicBezTo>
                <a:cubicBezTo>
                  <a:pt x="962" y="618"/>
                  <a:pt x="962" y="618"/>
                  <a:pt x="962" y="618"/>
                </a:cubicBezTo>
                <a:cubicBezTo>
                  <a:pt x="1001" y="569"/>
                  <a:pt x="1022" y="508"/>
                  <a:pt x="1022" y="446"/>
                </a:cubicBezTo>
                <a:cubicBezTo>
                  <a:pt x="1022" y="153"/>
                  <a:pt x="1022" y="153"/>
                  <a:pt x="1022" y="153"/>
                </a:cubicBezTo>
                <a:cubicBezTo>
                  <a:pt x="1022" y="119"/>
                  <a:pt x="1049" y="92"/>
                  <a:pt x="1082" y="91"/>
                </a:cubicBezTo>
                <a:cubicBezTo>
                  <a:pt x="1127" y="90"/>
                  <a:pt x="1182" y="97"/>
                  <a:pt x="1225" y="130"/>
                </a:cubicBezTo>
                <a:cubicBezTo>
                  <a:pt x="1281" y="171"/>
                  <a:pt x="1309" y="247"/>
                  <a:pt x="1309" y="354"/>
                </a:cubicBezTo>
                <a:cubicBezTo>
                  <a:pt x="1309" y="715"/>
                  <a:pt x="1309" y="715"/>
                  <a:pt x="1309" y="715"/>
                </a:cubicBezTo>
                <a:cubicBezTo>
                  <a:pt x="1309" y="729"/>
                  <a:pt x="1321" y="741"/>
                  <a:pt x="1335" y="741"/>
                </a:cubicBezTo>
                <a:cubicBezTo>
                  <a:pt x="1877" y="741"/>
                  <a:pt x="1877" y="741"/>
                  <a:pt x="1877" y="741"/>
                </a:cubicBezTo>
                <a:cubicBezTo>
                  <a:pt x="1918" y="741"/>
                  <a:pt x="1956" y="765"/>
                  <a:pt x="1972" y="803"/>
                </a:cubicBezTo>
                <a:cubicBezTo>
                  <a:pt x="2005" y="882"/>
                  <a:pt x="1948" y="958"/>
                  <a:pt x="1873" y="958"/>
                </a:cubicBezTo>
                <a:cubicBezTo>
                  <a:pt x="1586" y="958"/>
                  <a:pt x="1586" y="958"/>
                  <a:pt x="1586" y="958"/>
                </a:cubicBezTo>
                <a:cubicBezTo>
                  <a:pt x="1577" y="958"/>
                  <a:pt x="1568" y="963"/>
                  <a:pt x="1563" y="971"/>
                </a:cubicBezTo>
                <a:cubicBezTo>
                  <a:pt x="1547" y="997"/>
                  <a:pt x="1565" y="1024"/>
                  <a:pt x="1590" y="1024"/>
                </a:cubicBezTo>
                <a:cubicBezTo>
                  <a:pt x="1590" y="1024"/>
                  <a:pt x="1844" y="1024"/>
                  <a:pt x="1845" y="1024"/>
                </a:cubicBezTo>
                <a:cubicBezTo>
                  <a:pt x="1917" y="1029"/>
                  <a:pt x="1970" y="1105"/>
                  <a:pt x="1936" y="1181"/>
                </a:cubicBezTo>
                <a:cubicBezTo>
                  <a:pt x="1919" y="1218"/>
                  <a:pt x="1882" y="1241"/>
                  <a:pt x="1842" y="1241"/>
                </a:cubicBezTo>
                <a:cubicBezTo>
                  <a:pt x="1586" y="1241"/>
                  <a:pt x="1586" y="1241"/>
                  <a:pt x="1586" y="1241"/>
                </a:cubicBezTo>
                <a:cubicBezTo>
                  <a:pt x="1577" y="1241"/>
                  <a:pt x="1568" y="1246"/>
                  <a:pt x="1563" y="1254"/>
                </a:cubicBezTo>
                <a:cubicBezTo>
                  <a:pt x="1547" y="1280"/>
                  <a:pt x="1565" y="1307"/>
                  <a:pt x="1590" y="1307"/>
                </a:cubicBezTo>
                <a:cubicBezTo>
                  <a:pt x="1812" y="1307"/>
                  <a:pt x="1812" y="1307"/>
                  <a:pt x="1812" y="1307"/>
                </a:cubicBezTo>
                <a:cubicBezTo>
                  <a:pt x="1813" y="1308"/>
                  <a:pt x="1815" y="1308"/>
                  <a:pt x="1816" y="1308"/>
                </a:cubicBezTo>
                <a:cubicBezTo>
                  <a:pt x="1886" y="1317"/>
                  <a:pt x="1934" y="1392"/>
                  <a:pt x="1899" y="1466"/>
                </a:cubicBezTo>
                <a:cubicBezTo>
                  <a:pt x="1884" y="1498"/>
                  <a:pt x="1842" y="1524"/>
                  <a:pt x="1806" y="1524"/>
                </a:cubicBezTo>
                <a:cubicBezTo>
                  <a:pt x="1586" y="1524"/>
                  <a:pt x="1586" y="1524"/>
                  <a:pt x="1586" y="1524"/>
                </a:cubicBezTo>
                <a:cubicBezTo>
                  <a:pt x="1577" y="1524"/>
                  <a:pt x="1568" y="1529"/>
                  <a:pt x="1563" y="1537"/>
                </a:cubicBezTo>
                <a:cubicBezTo>
                  <a:pt x="1547" y="1563"/>
                  <a:pt x="1565" y="1590"/>
                  <a:pt x="1590" y="1590"/>
                </a:cubicBezTo>
                <a:cubicBezTo>
                  <a:pt x="1781" y="1590"/>
                  <a:pt x="1781" y="1590"/>
                  <a:pt x="1781" y="1590"/>
                </a:cubicBezTo>
                <a:cubicBezTo>
                  <a:pt x="1783" y="1591"/>
                  <a:pt x="1785" y="1592"/>
                  <a:pt x="1787" y="1592"/>
                </a:cubicBezTo>
                <a:cubicBezTo>
                  <a:pt x="1855" y="1605"/>
                  <a:pt x="1898" y="1680"/>
                  <a:pt x="1863" y="1751"/>
                </a:cubicBezTo>
                <a:cubicBezTo>
                  <a:pt x="1846" y="1786"/>
                  <a:pt x="1810" y="1807"/>
                  <a:pt x="1771" y="1807"/>
                </a:cubicBezTo>
                <a:cubicBezTo>
                  <a:pt x="1586" y="1807"/>
                  <a:pt x="1586" y="1807"/>
                  <a:pt x="1586" y="1807"/>
                </a:cubicBezTo>
                <a:cubicBezTo>
                  <a:pt x="1577" y="1807"/>
                  <a:pt x="1568" y="1812"/>
                  <a:pt x="1563" y="1820"/>
                </a:cubicBezTo>
                <a:cubicBezTo>
                  <a:pt x="1547" y="1846"/>
                  <a:pt x="1565" y="1873"/>
                  <a:pt x="1590" y="1873"/>
                </a:cubicBezTo>
                <a:cubicBezTo>
                  <a:pt x="1770" y="1873"/>
                  <a:pt x="1770" y="1873"/>
                  <a:pt x="1770" y="1873"/>
                </a:cubicBezTo>
                <a:cubicBezTo>
                  <a:pt x="1838" y="1873"/>
                  <a:pt x="1900" y="1834"/>
                  <a:pt x="1927" y="1772"/>
                </a:cubicBezTo>
                <a:cubicBezTo>
                  <a:pt x="1959" y="1695"/>
                  <a:pt x="1937" y="1617"/>
                  <a:pt x="1885" y="1570"/>
                </a:cubicBezTo>
                <a:cubicBezTo>
                  <a:pt x="1940" y="1540"/>
                  <a:pt x="1977" y="1482"/>
                  <a:pt x="1977" y="1416"/>
                </a:cubicBezTo>
                <a:cubicBezTo>
                  <a:pt x="1977" y="1365"/>
                  <a:pt x="1955" y="1319"/>
                  <a:pt x="1920" y="1287"/>
                </a:cubicBezTo>
                <a:cubicBezTo>
                  <a:pt x="1975" y="1257"/>
                  <a:pt x="2013" y="1199"/>
                  <a:pt x="2013" y="11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7" name="Freeform 10">
            <a:extLst>
              <a:ext uri="{FF2B5EF4-FFF2-40B4-BE49-F238E27FC236}">
                <a16:creationId xmlns:a16="http://schemas.microsoft.com/office/drawing/2014/main" id="{6704EE3C-9C1A-4339-9256-0351BDB1D41E}"/>
              </a:ext>
            </a:extLst>
          </p:cNvPr>
          <p:cNvSpPr>
            <a:spLocks noEditPoints="1"/>
          </p:cNvSpPr>
          <p:nvPr/>
        </p:nvSpPr>
        <p:spPr bwMode="auto">
          <a:xfrm>
            <a:off x="226079" y="2075472"/>
            <a:ext cx="493600" cy="495116"/>
          </a:xfrm>
          <a:custGeom>
            <a:avLst/>
            <a:gdLst>
              <a:gd name="T0" fmla="*/ 1007 w 2048"/>
              <a:gd name="T1" fmla="*/ 1036 h 2048"/>
              <a:gd name="T2" fmla="*/ 484 w 2048"/>
              <a:gd name="T3" fmla="*/ 649 h 2048"/>
              <a:gd name="T4" fmla="*/ 1150 w 2048"/>
              <a:gd name="T5" fmla="*/ 787 h 2048"/>
              <a:gd name="T6" fmla="*/ 787 w 2048"/>
              <a:gd name="T7" fmla="*/ 488 h 2048"/>
              <a:gd name="T8" fmla="*/ 1008 w 2048"/>
              <a:gd name="T9" fmla="*/ 1253 h 2048"/>
              <a:gd name="T10" fmla="*/ 740 w 2048"/>
              <a:gd name="T11" fmla="*/ 1509 h 2048"/>
              <a:gd name="T12" fmla="*/ 500 w 2048"/>
              <a:gd name="T13" fmla="*/ 1238 h 2048"/>
              <a:gd name="T14" fmla="*/ 335 w 2048"/>
              <a:gd name="T15" fmla="*/ 1074 h 2048"/>
              <a:gd name="T16" fmla="*/ 65 w 2048"/>
              <a:gd name="T17" fmla="*/ 834 h 2048"/>
              <a:gd name="T18" fmla="*/ 337 w 2048"/>
              <a:gd name="T19" fmla="*/ 534 h 2048"/>
              <a:gd name="T20" fmla="*/ 355 w 2048"/>
              <a:gd name="T21" fmla="*/ 239 h 2048"/>
              <a:gd name="T22" fmla="*/ 705 w 2048"/>
              <a:gd name="T23" fmla="*/ 94 h 2048"/>
              <a:gd name="T24" fmla="*/ 926 w 2048"/>
              <a:gd name="T25" fmla="*/ 290 h 2048"/>
              <a:gd name="T26" fmla="*/ 1331 w 2048"/>
              <a:gd name="T27" fmla="*/ 309 h 2048"/>
              <a:gd name="T28" fmla="*/ 1309 w 2048"/>
              <a:gd name="T29" fmla="*/ 670 h 2048"/>
              <a:gd name="T30" fmla="*/ 1309 w 2048"/>
              <a:gd name="T31" fmla="*/ 903 h 2048"/>
              <a:gd name="T32" fmla="*/ 1341 w 2048"/>
              <a:gd name="T33" fmla="*/ 963 h 2048"/>
              <a:gd name="T34" fmla="*/ 1341 w 2048"/>
              <a:gd name="T35" fmla="*/ 611 h 2048"/>
              <a:gd name="T36" fmla="*/ 1183 w 2048"/>
              <a:gd name="T37" fmla="*/ 185 h 2048"/>
              <a:gd name="T38" fmla="*/ 740 w 2048"/>
              <a:gd name="T39" fmla="*/ 0 h 2048"/>
              <a:gd name="T40" fmla="*/ 263 w 2048"/>
              <a:gd name="T41" fmla="*/ 197 h 2048"/>
              <a:gd name="T42" fmla="*/ 81 w 2048"/>
              <a:gd name="T43" fmla="*/ 641 h 2048"/>
              <a:gd name="T44" fmla="*/ 271 w 2048"/>
              <a:gd name="T45" fmla="*/ 1054 h 2048"/>
              <a:gd name="T46" fmla="*/ 520 w 2048"/>
              <a:gd name="T47" fmla="*/ 1303 h 2048"/>
              <a:gd name="T48" fmla="*/ 932 w 2048"/>
              <a:gd name="T49" fmla="*/ 1493 h 2048"/>
              <a:gd name="T50" fmla="*/ 1636 w 2048"/>
              <a:gd name="T51" fmla="*/ 1520 h 2048"/>
              <a:gd name="T52" fmla="*/ 1520 w 2048"/>
              <a:gd name="T53" fmla="*/ 1701 h 2048"/>
              <a:gd name="T54" fmla="*/ 1403 w 2048"/>
              <a:gd name="T55" fmla="*/ 1520 h 2048"/>
              <a:gd name="T56" fmla="*/ 1925 w 2048"/>
              <a:gd name="T57" fmla="*/ 1266 h 2048"/>
              <a:gd name="T58" fmla="*/ 1645 w 2048"/>
              <a:gd name="T59" fmla="*/ 1147 h 2048"/>
              <a:gd name="T60" fmla="*/ 1395 w 2048"/>
              <a:gd name="T61" fmla="*/ 1147 h 2048"/>
              <a:gd name="T62" fmla="*/ 1115 w 2048"/>
              <a:gd name="T63" fmla="*/ 1266 h 2048"/>
              <a:gd name="T64" fmla="*/ 1234 w 2048"/>
              <a:gd name="T65" fmla="*/ 1359 h 2048"/>
              <a:gd name="T66" fmla="*/ 1230 w 2048"/>
              <a:gd name="T67" fmla="*/ 1169 h 2048"/>
              <a:gd name="T68" fmla="*/ 1477 w 2048"/>
              <a:gd name="T69" fmla="*/ 1067 h 2048"/>
              <a:gd name="T70" fmla="*/ 1608 w 2048"/>
              <a:gd name="T71" fmla="*/ 1204 h 2048"/>
              <a:gd name="T72" fmla="*/ 1869 w 2048"/>
              <a:gd name="T73" fmla="*/ 1214 h 2048"/>
              <a:gd name="T74" fmla="*/ 1861 w 2048"/>
              <a:gd name="T75" fmla="*/ 1454 h 2048"/>
              <a:gd name="T76" fmla="*/ 1861 w 2048"/>
              <a:gd name="T77" fmla="*/ 1585 h 2048"/>
              <a:gd name="T78" fmla="*/ 1869 w 2048"/>
              <a:gd name="T79" fmla="*/ 1826 h 2048"/>
              <a:gd name="T80" fmla="*/ 1608 w 2048"/>
              <a:gd name="T81" fmla="*/ 1836 h 2048"/>
              <a:gd name="T82" fmla="*/ 1477 w 2048"/>
              <a:gd name="T83" fmla="*/ 1973 h 2048"/>
              <a:gd name="T84" fmla="*/ 1230 w 2048"/>
              <a:gd name="T85" fmla="*/ 1871 h 2048"/>
              <a:gd name="T86" fmla="*/ 1234 w 2048"/>
              <a:gd name="T87" fmla="*/ 1681 h 2048"/>
              <a:gd name="T88" fmla="*/ 1056 w 2048"/>
              <a:gd name="T89" fmla="*/ 1489 h 2048"/>
              <a:gd name="T90" fmla="*/ 1054 w 2048"/>
              <a:gd name="T91" fmla="*/ 1413 h 2048"/>
              <a:gd name="T92" fmla="*/ 1168 w 2048"/>
              <a:gd name="T93" fmla="*/ 1695 h 2048"/>
              <a:gd name="T94" fmla="*/ 1345 w 2048"/>
              <a:gd name="T95" fmla="*/ 1872 h 2048"/>
              <a:gd name="T96" fmla="*/ 1626 w 2048"/>
              <a:gd name="T97" fmla="*/ 1986 h 2048"/>
              <a:gd name="T98" fmla="*/ 1915 w 2048"/>
              <a:gd name="T99" fmla="*/ 1872 h 2048"/>
              <a:gd name="T100" fmla="*/ 2048 w 2048"/>
              <a:gd name="T101" fmla="*/ 1550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8" h="2048">
                <a:moveTo>
                  <a:pt x="504" y="690"/>
                </a:moveTo>
                <a:cubicBezTo>
                  <a:pt x="493" y="721"/>
                  <a:pt x="488" y="754"/>
                  <a:pt x="488" y="787"/>
                </a:cubicBezTo>
                <a:cubicBezTo>
                  <a:pt x="488" y="952"/>
                  <a:pt x="622" y="1086"/>
                  <a:pt x="787" y="1086"/>
                </a:cubicBezTo>
                <a:cubicBezTo>
                  <a:pt x="850" y="1086"/>
                  <a:pt x="911" y="1066"/>
                  <a:pt x="962" y="1029"/>
                </a:cubicBezTo>
                <a:cubicBezTo>
                  <a:pt x="976" y="1019"/>
                  <a:pt x="997" y="1022"/>
                  <a:pt x="1007" y="1036"/>
                </a:cubicBezTo>
                <a:cubicBezTo>
                  <a:pt x="1018" y="1051"/>
                  <a:pt x="1014" y="1071"/>
                  <a:pt x="1000" y="1081"/>
                </a:cubicBezTo>
                <a:cubicBezTo>
                  <a:pt x="938" y="1127"/>
                  <a:pt x="864" y="1150"/>
                  <a:pt x="787" y="1150"/>
                </a:cubicBezTo>
                <a:cubicBezTo>
                  <a:pt x="586" y="1150"/>
                  <a:pt x="423" y="987"/>
                  <a:pt x="423" y="787"/>
                </a:cubicBezTo>
                <a:cubicBezTo>
                  <a:pt x="423" y="746"/>
                  <a:pt x="430" y="707"/>
                  <a:pt x="443" y="669"/>
                </a:cubicBezTo>
                <a:cubicBezTo>
                  <a:pt x="449" y="652"/>
                  <a:pt x="467" y="643"/>
                  <a:pt x="484" y="649"/>
                </a:cubicBezTo>
                <a:cubicBezTo>
                  <a:pt x="501" y="654"/>
                  <a:pt x="510" y="673"/>
                  <a:pt x="504" y="690"/>
                </a:cubicBezTo>
                <a:close/>
                <a:moveTo>
                  <a:pt x="1067" y="967"/>
                </a:moveTo>
                <a:cubicBezTo>
                  <a:pt x="1072" y="969"/>
                  <a:pt x="1077" y="970"/>
                  <a:pt x="1082" y="970"/>
                </a:cubicBezTo>
                <a:cubicBezTo>
                  <a:pt x="1093" y="970"/>
                  <a:pt x="1105" y="964"/>
                  <a:pt x="1110" y="953"/>
                </a:cubicBezTo>
                <a:cubicBezTo>
                  <a:pt x="1137" y="902"/>
                  <a:pt x="1150" y="844"/>
                  <a:pt x="1150" y="787"/>
                </a:cubicBezTo>
                <a:cubicBezTo>
                  <a:pt x="1150" y="586"/>
                  <a:pt x="987" y="423"/>
                  <a:pt x="787" y="423"/>
                </a:cubicBezTo>
                <a:cubicBezTo>
                  <a:pt x="692" y="423"/>
                  <a:pt x="601" y="460"/>
                  <a:pt x="533" y="527"/>
                </a:cubicBezTo>
                <a:cubicBezTo>
                  <a:pt x="520" y="539"/>
                  <a:pt x="520" y="560"/>
                  <a:pt x="533" y="572"/>
                </a:cubicBezTo>
                <a:cubicBezTo>
                  <a:pt x="545" y="585"/>
                  <a:pt x="565" y="585"/>
                  <a:pt x="578" y="573"/>
                </a:cubicBezTo>
                <a:cubicBezTo>
                  <a:pt x="634" y="518"/>
                  <a:pt x="708" y="488"/>
                  <a:pt x="787" y="488"/>
                </a:cubicBezTo>
                <a:cubicBezTo>
                  <a:pt x="952" y="488"/>
                  <a:pt x="1086" y="622"/>
                  <a:pt x="1086" y="787"/>
                </a:cubicBezTo>
                <a:cubicBezTo>
                  <a:pt x="1086" y="835"/>
                  <a:pt x="1075" y="881"/>
                  <a:pt x="1053" y="923"/>
                </a:cubicBezTo>
                <a:cubicBezTo>
                  <a:pt x="1045" y="939"/>
                  <a:pt x="1051" y="958"/>
                  <a:pt x="1067" y="967"/>
                </a:cubicBezTo>
                <a:close/>
                <a:moveTo>
                  <a:pt x="1051" y="1269"/>
                </a:moveTo>
                <a:cubicBezTo>
                  <a:pt x="1043" y="1253"/>
                  <a:pt x="1024" y="1246"/>
                  <a:pt x="1008" y="1253"/>
                </a:cubicBezTo>
                <a:cubicBezTo>
                  <a:pt x="982" y="1266"/>
                  <a:pt x="954" y="1276"/>
                  <a:pt x="926" y="1284"/>
                </a:cubicBezTo>
                <a:cubicBezTo>
                  <a:pt x="915" y="1287"/>
                  <a:pt x="906" y="1297"/>
                  <a:pt x="903" y="1309"/>
                </a:cubicBezTo>
                <a:cubicBezTo>
                  <a:pt x="869" y="1480"/>
                  <a:pt x="869" y="1480"/>
                  <a:pt x="869" y="1480"/>
                </a:cubicBezTo>
                <a:cubicBezTo>
                  <a:pt x="866" y="1497"/>
                  <a:pt x="851" y="1509"/>
                  <a:pt x="834" y="1509"/>
                </a:cubicBezTo>
                <a:cubicBezTo>
                  <a:pt x="740" y="1509"/>
                  <a:pt x="740" y="1509"/>
                  <a:pt x="740" y="1509"/>
                </a:cubicBezTo>
                <a:cubicBezTo>
                  <a:pt x="723" y="1509"/>
                  <a:pt x="708" y="1497"/>
                  <a:pt x="705" y="1480"/>
                </a:cubicBezTo>
                <a:cubicBezTo>
                  <a:pt x="670" y="1309"/>
                  <a:pt x="670" y="1309"/>
                  <a:pt x="670" y="1309"/>
                </a:cubicBezTo>
                <a:cubicBezTo>
                  <a:pt x="668" y="1297"/>
                  <a:pt x="659" y="1287"/>
                  <a:pt x="647" y="1284"/>
                </a:cubicBezTo>
                <a:cubicBezTo>
                  <a:pt x="608" y="1273"/>
                  <a:pt x="570" y="1257"/>
                  <a:pt x="534" y="1237"/>
                </a:cubicBezTo>
                <a:cubicBezTo>
                  <a:pt x="523" y="1231"/>
                  <a:pt x="510" y="1232"/>
                  <a:pt x="500" y="1238"/>
                </a:cubicBezTo>
                <a:cubicBezTo>
                  <a:pt x="355" y="1335"/>
                  <a:pt x="355" y="1335"/>
                  <a:pt x="355" y="1335"/>
                </a:cubicBezTo>
                <a:cubicBezTo>
                  <a:pt x="341" y="1345"/>
                  <a:pt x="321" y="1343"/>
                  <a:pt x="309" y="1331"/>
                </a:cubicBezTo>
                <a:cubicBezTo>
                  <a:pt x="243" y="1265"/>
                  <a:pt x="243" y="1265"/>
                  <a:pt x="243" y="1265"/>
                </a:cubicBezTo>
                <a:cubicBezTo>
                  <a:pt x="231" y="1252"/>
                  <a:pt x="229" y="1233"/>
                  <a:pt x="239" y="1219"/>
                </a:cubicBezTo>
                <a:cubicBezTo>
                  <a:pt x="335" y="1074"/>
                  <a:pt x="335" y="1074"/>
                  <a:pt x="335" y="1074"/>
                </a:cubicBezTo>
                <a:cubicBezTo>
                  <a:pt x="342" y="1063"/>
                  <a:pt x="343" y="1050"/>
                  <a:pt x="337" y="1040"/>
                </a:cubicBezTo>
                <a:cubicBezTo>
                  <a:pt x="317" y="1004"/>
                  <a:pt x="301" y="966"/>
                  <a:pt x="290" y="926"/>
                </a:cubicBezTo>
                <a:cubicBezTo>
                  <a:pt x="286" y="915"/>
                  <a:pt x="277" y="906"/>
                  <a:pt x="265" y="903"/>
                </a:cubicBezTo>
                <a:cubicBezTo>
                  <a:pt x="94" y="869"/>
                  <a:pt x="94" y="869"/>
                  <a:pt x="94" y="869"/>
                </a:cubicBezTo>
                <a:cubicBezTo>
                  <a:pt x="77" y="866"/>
                  <a:pt x="65" y="851"/>
                  <a:pt x="65" y="834"/>
                </a:cubicBezTo>
                <a:cubicBezTo>
                  <a:pt x="65" y="740"/>
                  <a:pt x="65" y="740"/>
                  <a:pt x="65" y="740"/>
                </a:cubicBezTo>
                <a:cubicBezTo>
                  <a:pt x="65" y="723"/>
                  <a:pt x="77" y="708"/>
                  <a:pt x="94" y="705"/>
                </a:cubicBezTo>
                <a:cubicBezTo>
                  <a:pt x="265" y="670"/>
                  <a:pt x="265" y="670"/>
                  <a:pt x="265" y="670"/>
                </a:cubicBezTo>
                <a:cubicBezTo>
                  <a:pt x="277" y="668"/>
                  <a:pt x="286" y="659"/>
                  <a:pt x="290" y="647"/>
                </a:cubicBezTo>
                <a:cubicBezTo>
                  <a:pt x="301" y="608"/>
                  <a:pt x="317" y="570"/>
                  <a:pt x="337" y="534"/>
                </a:cubicBezTo>
                <a:cubicBezTo>
                  <a:pt x="343" y="523"/>
                  <a:pt x="342" y="510"/>
                  <a:pt x="335" y="500"/>
                </a:cubicBezTo>
                <a:cubicBezTo>
                  <a:pt x="239" y="355"/>
                  <a:pt x="239" y="355"/>
                  <a:pt x="239" y="355"/>
                </a:cubicBezTo>
                <a:cubicBezTo>
                  <a:pt x="229" y="341"/>
                  <a:pt x="231" y="321"/>
                  <a:pt x="243" y="309"/>
                </a:cubicBezTo>
                <a:cubicBezTo>
                  <a:pt x="309" y="243"/>
                  <a:pt x="309" y="243"/>
                  <a:pt x="309" y="243"/>
                </a:cubicBezTo>
                <a:cubicBezTo>
                  <a:pt x="321" y="231"/>
                  <a:pt x="341" y="229"/>
                  <a:pt x="355" y="239"/>
                </a:cubicBezTo>
                <a:cubicBezTo>
                  <a:pt x="500" y="335"/>
                  <a:pt x="500" y="335"/>
                  <a:pt x="500" y="335"/>
                </a:cubicBezTo>
                <a:cubicBezTo>
                  <a:pt x="510" y="342"/>
                  <a:pt x="523" y="343"/>
                  <a:pt x="534" y="337"/>
                </a:cubicBezTo>
                <a:cubicBezTo>
                  <a:pt x="570" y="317"/>
                  <a:pt x="608" y="301"/>
                  <a:pt x="647" y="290"/>
                </a:cubicBezTo>
                <a:cubicBezTo>
                  <a:pt x="659" y="286"/>
                  <a:pt x="668" y="277"/>
                  <a:pt x="670" y="265"/>
                </a:cubicBezTo>
                <a:cubicBezTo>
                  <a:pt x="705" y="94"/>
                  <a:pt x="705" y="94"/>
                  <a:pt x="705" y="94"/>
                </a:cubicBezTo>
                <a:cubicBezTo>
                  <a:pt x="708" y="77"/>
                  <a:pt x="723" y="65"/>
                  <a:pt x="740" y="65"/>
                </a:cubicBezTo>
                <a:cubicBezTo>
                  <a:pt x="834" y="65"/>
                  <a:pt x="834" y="65"/>
                  <a:pt x="834" y="65"/>
                </a:cubicBezTo>
                <a:cubicBezTo>
                  <a:pt x="851" y="65"/>
                  <a:pt x="866" y="77"/>
                  <a:pt x="869" y="94"/>
                </a:cubicBezTo>
                <a:cubicBezTo>
                  <a:pt x="903" y="265"/>
                  <a:pt x="903" y="265"/>
                  <a:pt x="903" y="265"/>
                </a:cubicBezTo>
                <a:cubicBezTo>
                  <a:pt x="906" y="277"/>
                  <a:pt x="915" y="286"/>
                  <a:pt x="926" y="290"/>
                </a:cubicBezTo>
                <a:cubicBezTo>
                  <a:pt x="966" y="301"/>
                  <a:pt x="1004" y="317"/>
                  <a:pt x="1040" y="337"/>
                </a:cubicBezTo>
                <a:cubicBezTo>
                  <a:pt x="1050" y="343"/>
                  <a:pt x="1064" y="342"/>
                  <a:pt x="1074" y="335"/>
                </a:cubicBezTo>
                <a:cubicBezTo>
                  <a:pt x="1219" y="239"/>
                  <a:pt x="1219" y="239"/>
                  <a:pt x="1219" y="239"/>
                </a:cubicBezTo>
                <a:cubicBezTo>
                  <a:pt x="1233" y="229"/>
                  <a:pt x="1252" y="231"/>
                  <a:pt x="1265" y="243"/>
                </a:cubicBezTo>
                <a:cubicBezTo>
                  <a:pt x="1331" y="309"/>
                  <a:pt x="1331" y="309"/>
                  <a:pt x="1331" y="309"/>
                </a:cubicBezTo>
                <a:cubicBezTo>
                  <a:pt x="1343" y="321"/>
                  <a:pt x="1345" y="341"/>
                  <a:pt x="1335" y="355"/>
                </a:cubicBezTo>
                <a:cubicBezTo>
                  <a:pt x="1238" y="500"/>
                  <a:pt x="1238" y="500"/>
                  <a:pt x="1238" y="500"/>
                </a:cubicBezTo>
                <a:cubicBezTo>
                  <a:pt x="1232" y="510"/>
                  <a:pt x="1231" y="523"/>
                  <a:pt x="1237" y="534"/>
                </a:cubicBezTo>
                <a:cubicBezTo>
                  <a:pt x="1257" y="570"/>
                  <a:pt x="1273" y="608"/>
                  <a:pt x="1284" y="647"/>
                </a:cubicBezTo>
                <a:cubicBezTo>
                  <a:pt x="1287" y="659"/>
                  <a:pt x="1297" y="668"/>
                  <a:pt x="1309" y="670"/>
                </a:cubicBezTo>
                <a:cubicBezTo>
                  <a:pt x="1480" y="705"/>
                  <a:pt x="1480" y="705"/>
                  <a:pt x="1480" y="705"/>
                </a:cubicBezTo>
                <a:cubicBezTo>
                  <a:pt x="1497" y="708"/>
                  <a:pt x="1509" y="723"/>
                  <a:pt x="1509" y="740"/>
                </a:cubicBezTo>
                <a:cubicBezTo>
                  <a:pt x="1509" y="834"/>
                  <a:pt x="1509" y="834"/>
                  <a:pt x="1509" y="834"/>
                </a:cubicBezTo>
                <a:cubicBezTo>
                  <a:pt x="1509" y="851"/>
                  <a:pt x="1497" y="866"/>
                  <a:pt x="1480" y="869"/>
                </a:cubicBezTo>
                <a:cubicBezTo>
                  <a:pt x="1309" y="903"/>
                  <a:pt x="1309" y="903"/>
                  <a:pt x="1309" y="903"/>
                </a:cubicBezTo>
                <a:cubicBezTo>
                  <a:pt x="1297" y="906"/>
                  <a:pt x="1287" y="915"/>
                  <a:pt x="1284" y="926"/>
                </a:cubicBezTo>
                <a:cubicBezTo>
                  <a:pt x="1276" y="955"/>
                  <a:pt x="1265" y="983"/>
                  <a:pt x="1253" y="1010"/>
                </a:cubicBezTo>
                <a:cubicBezTo>
                  <a:pt x="1245" y="1026"/>
                  <a:pt x="1252" y="1045"/>
                  <a:pt x="1268" y="1053"/>
                </a:cubicBezTo>
                <a:cubicBezTo>
                  <a:pt x="1284" y="1061"/>
                  <a:pt x="1303" y="1054"/>
                  <a:pt x="1311" y="1038"/>
                </a:cubicBezTo>
                <a:cubicBezTo>
                  <a:pt x="1322" y="1014"/>
                  <a:pt x="1332" y="989"/>
                  <a:pt x="1341" y="963"/>
                </a:cubicBezTo>
                <a:cubicBezTo>
                  <a:pt x="1493" y="932"/>
                  <a:pt x="1493" y="932"/>
                  <a:pt x="1493" y="932"/>
                </a:cubicBezTo>
                <a:cubicBezTo>
                  <a:pt x="1540" y="923"/>
                  <a:pt x="1574" y="881"/>
                  <a:pt x="1574" y="834"/>
                </a:cubicBezTo>
                <a:cubicBezTo>
                  <a:pt x="1574" y="740"/>
                  <a:pt x="1574" y="740"/>
                  <a:pt x="1574" y="740"/>
                </a:cubicBezTo>
                <a:cubicBezTo>
                  <a:pt x="1574" y="692"/>
                  <a:pt x="1540" y="651"/>
                  <a:pt x="1493" y="641"/>
                </a:cubicBezTo>
                <a:cubicBezTo>
                  <a:pt x="1341" y="611"/>
                  <a:pt x="1341" y="611"/>
                  <a:pt x="1341" y="611"/>
                </a:cubicBezTo>
                <a:cubicBezTo>
                  <a:pt x="1331" y="579"/>
                  <a:pt x="1318" y="549"/>
                  <a:pt x="1303" y="520"/>
                </a:cubicBezTo>
                <a:cubicBezTo>
                  <a:pt x="1389" y="391"/>
                  <a:pt x="1389" y="391"/>
                  <a:pt x="1389" y="391"/>
                </a:cubicBezTo>
                <a:cubicBezTo>
                  <a:pt x="1415" y="351"/>
                  <a:pt x="1410" y="297"/>
                  <a:pt x="1376" y="263"/>
                </a:cubicBezTo>
                <a:cubicBezTo>
                  <a:pt x="1310" y="197"/>
                  <a:pt x="1310" y="197"/>
                  <a:pt x="1310" y="197"/>
                </a:cubicBezTo>
                <a:cubicBezTo>
                  <a:pt x="1276" y="164"/>
                  <a:pt x="1223" y="158"/>
                  <a:pt x="1183" y="185"/>
                </a:cubicBezTo>
                <a:cubicBezTo>
                  <a:pt x="1054" y="271"/>
                  <a:pt x="1054" y="271"/>
                  <a:pt x="1054" y="271"/>
                </a:cubicBezTo>
                <a:cubicBezTo>
                  <a:pt x="1025" y="256"/>
                  <a:pt x="994" y="243"/>
                  <a:pt x="963" y="233"/>
                </a:cubicBezTo>
                <a:cubicBezTo>
                  <a:pt x="932" y="81"/>
                  <a:pt x="932" y="81"/>
                  <a:pt x="932" y="81"/>
                </a:cubicBezTo>
                <a:cubicBezTo>
                  <a:pt x="923" y="34"/>
                  <a:pt x="881" y="0"/>
                  <a:pt x="834" y="0"/>
                </a:cubicBezTo>
                <a:cubicBezTo>
                  <a:pt x="740" y="0"/>
                  <a:pt x="740" y="0"/>
                  <a:pt x="740" y="0"/>
                </a:cubicBezTo>
                <a:cubicBezTo>
                  <a:pt x="692" y="0"/>
                  <a:pt x="651" y="34"/>
                  <a:pt x="641" y="81"/>
                </a:cubicBezTo>
                <a:cubicBezTo>
                  <a:pt x="611" y="233"/>
                  <a:pt x="611" y="233"/>
                  <a:pt x="611" y="233"/>
                </a:cubicBezTo>
                <a:cubicBezTo>
                  <a:pt x="579" y="243"/>
                  <a:pt x="549" y="256"/>
                  <a:pt x="520" y="271"/>
                </a:cubicBezTo>
                <a:cubicBezTo>
                  <a:pt x="391" y="185"/>
                  <a:pt x="391" y="185"/>
                  <a:pt x="391" y="185"/>
                </a:cubicBezTo>
                <a:cubicBezTo>
                  <a:pt x="351" y="158"/>
                  <a:pt x="297" y="164"/>
                  <a:pt x="263" y="197"/>
                </a:cubicBezTo>
                <a:cubicBezTo>
                  <a:pt x="197" y="263"/>
                  <a:pt x="197" y="263"/>
                  <a:pt x="197" y="263"/>
                </a:cubicBezTo>
                <a:cubicBezTo>
                  <a:pt x="164" y="297"/>
                  <a:pt x="158" y="351"/>
                  <a:pt x="185" y="391"/>
                </a:cubicBezTo>
                <a:cubicBezTo>
                  <a:pt x="271" y="520"/>
                  <a:pt x="271" y="520"/>
                  <a:pt x="271" y="520"/>
                </a:cubicBezTo>
                <a:cubicBezTo>
                  <a:pt x="256" y="549"/>
                  <a:pt x="243" y="579"/>
                  <a:pt x="233" y="611"/>
                </a:cubicBezTo>
                <a:cubicBezTo>
                  <a:pt x="81" y="641"/>
                  <a:pt x="81" y="641"/>
                  <a:pt x="81" y="641"/>
                </a:cubicBezTo>
                <a:cubicBezTo>
                  <a:pt x="34" y="651"/>
                  <a:pt x="0" y="692"/>
                  <a:pt x="0" y="740"/>
                </a:cubicBezTo>
                <a:cubicBezTo>
                  <a:pt x="0" y="834"/>
                  <a:pt x="0" y="834"/>
                  <a:pt x="0" y="834"/>
                </a:cubicBezTo>
                <a:cubicBezTo>
                  <a:pt x="0" y="881"/>
                  <a:pt x="34" y="923"/>
                  <a:pt x="81" y="932"/>
                </a:cubicBezTo>
                <a:cubicBezTo>
                  <a:pt x="233" y="963"/>
                  <a:pt x="233" y="963"/>
                  <a:pt x="233" y="963"/>
                </a:cubicBezTo>
                <a:cubicBezTo>
                  <a:pt x="243" y="994"/>
                  <a:pt x="256" y="1025"/>
                  <a:pt x="271" y="1054"/>
                </a:cubicBezTo>
                <a:cubicBezTo>
                  <a:pt x="185" y="1183"/>
                  <a:pt x="185" y="1183"/>
                  <a:pt x="185" y="1183"/>
                </a:cubicBezTo>
                <a:cubicBezTo>
                  <a:pt x="158" y="1223"/>
                  <a:pt x="164" y="1276"/>
                  <a:pt x="197" y="1310"/>
                </a:cubicBezTo>
                <a:cubicBezTo>
                  <a:pt x="263" y="1376"/>
                  <a:pt x="263" y="1376"/>
                  <a:pt x="263" y="1376"/>
                </a:cubicBezTo>
                <a:cubicBezTo>
                  <a:pt x="297" y="1410"/>
                  <a:pt x="351" y="1415"/>
                  <a:pt x="391" y="1389"/>
                </a:cubicBezTo>
                <a:cubicBezTo>
                  <a:pt x="520" y="1303"/>
                  <a:pt x="520" y="1303"/>
                  <a:pt x="520" y="1303"/>
                </a:cubicBezTo>
                <a:cubicBezTo>
                  <a:pt x="549" y="1318"/>
                  <a:pt x="579" y="1331"/>
                  <a:pt x="611" y="1341"/>
                </a:cubicBezTo>
                <a:cubicBezTo>
                  <a:pt x="641" y="1493"/>
                  <a:pt x="641" y="1493"/>
                  <a:pt x="641" y="1493"/>
                </a:cubicBezTo>
                <a:cubicBezTo>
                  <a:pt x="651" y="1540"/>
                  <a:pt x="692" y="1574"/>
                  <a:pt x="740" y="1574"/>
                </a:cubicBezTo>
                <a:cubicBezTo>
                  <a:pt x="834" y="1574"/>
                  <a:pt x="834" y="1574"/>
                  <a:pt x="834" y="1574"/>
                </a:cubicBezTo>
                <a:cubicBezTo>
                  <a:pt x="881" y="1574"/>
                  <a:pt x="923" y="1540"/>
                  <a:pt x="932" y="1493"/>
                </a:cubicBezTo>
                <a:cubicBezTo>
                  <a:pt x="963" y="1341"/>
                  <a:pt x="963" y="1341"/>
                  <a:pt x="963" y="1341"/>
                </a:cubicBezTo>
                <a:cubicBezTo>
                  <a:pt x="988" y="1333"/>
                  <a:pt x="1012" y="1323"/>
                  <a:pt x="1036" y="1312"/>
                </a:cubicBezTo>
                <a:cubicBezTo>
                  <a:pt x="1052" y="1304"/>
                  <a:pt x="1059" y="1285"/>
                  <a:pt x="1051" y="1269"/>
                </a:cubicBezTo>
                <a:close/>
                <a:moveTo>
                  <a:pt x="1520" y="1403"/>
                </a:moveTo>
                <a:cubicBezTo>
                  <a:pt x="1584" y="1403"/>
                  <a:pt x="1636" y="1456"/>
                  <a:pt x="1636" y="1520"/>
                </a:cubicBezTo>
                <a:cubicBezTo>
                  <a:pt x="1636" y="1538"/>
                  <a:pt x="1651" y="1552"/>
                  <a:pt x="1669" y="1552"/>
                </a:cubicBezTo>
                <a:cubicBezTo>
                  <a:pt x="1686" y="1552"/>
                  <a:pt x="1701" y="1538"/>
                  <a:pt x="1701" y="1520"/>
                </a:cubicBezTo>
                <a:cubicBezTo>
                  <a:pt x="1701" y="1420"/>
                  <a:pt x="1620" y="1339"/>
                  <a:pt x="1520" y="1339"/>
                </a:cubicBezTo>
                <a:cubicBezTo>
                  <a:pt x="1420" y="1339"/>
                  <a:pt x="1339" y="1420"/>
                  <a:pt x="1339" y="1520"/>
                </a:cubicBezTo>
                <a:cubicBezTo>
                  <a:pt x="1339" y="1620"/>
                  <a:pt x="1420" y="1701"/>
                  <a:pt x="1520" y="1701"/>
                </a:cubicBezTo>
                <a:cubicBezTo>
                  <a:pt x="1560" y="1701"/>
                  <a:pt x="1599" y="1688"/>
                  <a:pt x="1630" y="1663"/>
                </a:cubicBezTo>
                <a:cubicBezTo>
                  <a:pt x="1645" y="1652"/>
                  <a:pt x="1647" y="1632"/>
                  <a:pt x="1636" y="1618"/>
                </a:cubicBezTo>
                <a:cubicBezTo>
                  <a:pt x="1625" y="1604"/>
                  <a:pt x="1605" y="1601"/>
                  <a:pt x="1591" y="1612"/>
                </a:cubicBezTo>
                <a:cubicBezTo>
                  <a:pt x="1570" y="1628"/>
                  <a:pt x="1546" y="1636"/>
                  <a:pt x="1520" y="1636"/>
                </a:cubicBezTo>
                <a:cubicBezTo>
                  <a:pt x="1456" y="1636"/>
                  <a:pt x="1403" y="1584"/>
                  <a:pt x="1403" y="1520"/>
                </a:cubicBezTo>
                <a:cubicBezTo>
                  <a:pt x="1403" y="1456"/>
                  <a:pt x="1456" y="1403"/>
                  <a:pt x="1520" y="1403"/>
                </a:cubicBezTo>
                <a:close/>
                <a:moveTo>
                  <a:pt x="1986" y="1413"/>
                </a:moveTo>
                <a:cubicBezTo>
                  <a:pt x="1892" y="1395"/>
                  <a:pt x="1892" y="1395"/>
                  <a:pt x="1892" y="1395"/>
                </a:cubicBezTo>
                <a:cubicBezTo>
                  <a:pt x="1887" y="1378"/>
                  <a:pt x="1880" y="1361"/>
                  <a:pt x="1872" y="1345"/>
                </a:cubicBezTo>
                <a:cubicBezTo>
                  <a:pt x="1925" y="1266"/>
                  <a:pt x="1925" y="1266"/>
                  <a:pt x="1925" y="1266"/>
                </a:cubicBezTo>
                <a:cubicBezTo>
                  <a:pt x="1945" y="1235"/>
                  <a:pt x="1941" y="1194"/>
                  <a:pt x="1915" y="1168"/>
                </a:cubicBezTo>
                <a:cubicBezTo>
                  <a:pt x="1872" y="1125"/>
                  <a:pt x="1872" y="1125"/>
                  <a:pt x="1872" y="1125"/>
                </a:cubicBezTo>
                <a:cubicBezTo>
                  <a:pt x="1846" y="1099"/>
                  <a:pt x="1805" y="1095"/>
                  <a:pt x="1774" y="1115"/>
                </a:cubicBezTo>
                <a:cubicBezTo>
                  <a:pt x="1695" y="1168"/>
                  <a:pt x="1695" y="1168"/>
                  <a:pt x="1695" y="1168"/>
                </a:cubicBezTo>
                <a:cubicBezTo>
                  <a:pt x="1679" y="1160"/>
                  <a:pt x="1662" y="1153"/>
                  <a:pt x="1645" y="1147"/>
                </a:cubicBezTo>
                <a:cubicBezTo>
                  <a:pt x="1626" y="1054"/>
                  <a:pt x="1626" y="1054"/>
                  <a:pt x="1626" y="1054"/>
                </a:cubicBezTo>
                <a:cubicBezTo>
                  <a:pt x="1619" y="1018"/>
                  <a:pt x="1587" y="992"/>
                  <a:pt x="1550" y="992"/>
                </a:cubicBezTo>
                <a:cubicBezTo>
                  <a:pt x="1489" y="992"/>
                  <a:pt x="1489" y="992"/>
                  <a:pt x="1489" y="992"/>
                </a:cubicBezTo>
                <a:cubicBezTo>
                  <a:pt x="1452" y="992"/>
                  <a:pt x="1420" y="1018"/>
                  <a:pt x="1413" y="1054"/>
                </a:cubicBezTo>
                <a:cubicBezTo>
                  <a:pt x="1395" y="1147"/>
                  <a:pt x="1395" y="1147"/>
                  <a:pt x="1395" y="1147"/>
                </a:cubicBezTo>
                <a:cubicBezTo>
                  <a:pt x="1378" y="1153"/>
                  <a:pt x="1361" y="1160"/>
                  <a:pt x="1345" y="1168"/>
                </a:cubicBezTo>
                <a:cubicBezTo>
                  <a:pt x="1266" y="1115"/>
                  <a:pt x="1266" y="1115"/>
                  <a:pt x="1266" y="1115"/>
                </a:cubicBezTo>
                <a:cubicBezTo>
                  <a:pt x="1235" y="1095"/>
                  <a:pt x="1194" y="1099"/>
                  <a:pt x="1168" y="1125"/>
                </a:cubicBezTo>
                <a:cubicBezTo>
                  <a:pt x="1125" y="1168"/>
                  <a:pt x="1125" y="1168"/>
                  <a:pt x="1125" y="1168"/>
                </a:cubicBezTo>
                <a:cubicBezTo>
                  <a:pt x="1099" y="1194"/>
                  <a:pt x="1095" y="1235"/>
                  <a:pt x="1115" y="1266"/>
                </a:cubicBezTo>
                <a:cubicBezTo>
                  <a:pt x="1168" y="1345"/>
                  <a:pt x="1168" y="1345"/>
                  <a:pt x="1168" y="1345"/>
                </a:cubicBezTo>
                <a:cubicBezTo>
                  <a:pt x="1157" y="1367"/>
                  <a:pt x="1148" y="1390"/>
                  <a:pt x="1141" y="1414"/>
                </a:cubicBezTo>
                <a:cubicBezTo>
                  <a:pt x="1137" y="1431"/>
                  <a:pt x="1147" y="1449"/>
                  <a:pt x="1164" y="1454"/>
                </a:cubicBezTo>
                <a:cubicBezTo>
                  <a:pt x="1181" y="1458"/>
                  <a:pt x="1199" y="1448"/>
                  <a:pt x="1204" y="1431"/>
                </a:cubicBezTo>
                <a:cubicBezTo>
                  <a:pt x="1211" y="1406"/>
                  <a:pt x="1221" y="1382"/>
                  <a:pt x="1234" y="1359"/>
                </a:cubicBezTo>
                <a:cubicBezTo>
                  <a:pt x="1240" y="1348"/>
                  <a:pt x="1239" y="1335"/>
                  <a:pt x="1232" y="1325"/>
                </a:cubicBezTo>
                <a:cubicBezTo>
                  <a:pt x="1169" y="1230"/>
                  <a:pt x="1169" y="1230"/>
                  <a:pt x="1169" y="1230"/>
                </a:cubicBezTo>
                <a:cubicBezTo>
                  <a:pt x="1165" y="1225"/>
                  <a:pt x="1166" y="1218"/>
                  <a:pt x="1170" y="1214"/>
                </a:cubicBezTo>
                <a:cubicBezTo>
                  <a:pt x="1214" y="1170"/>
                  <a:pt x="1214" y="1170"/>
                  <a:pt x="1214" y="1170"/>
                </a:cubicBezTo>
                <a:cubicBezTo>
                  <a:pt x="1218" y="1166"/>
                  <a:pt x="1225" y="1165"/>
                  <a:pt x="1230" y="1169"/>
                </a:cubicBezTo>
                <a:cubicBezTo>
                  <a:pt x="1325" y="1232"/>
                  <a:pt x="1325" y="1232"/>
                  <a:pt x="1325" y="1232"/>
                </a:cubicBezTo>
                <a:cubicBezTo>
                  <a:pt x="1335" y="1239"/>
                  <a:pt x="1348" y="1240"/>
                  <a:pt x="1359" y="1234"/>
                </a:cubicBezTo>
                <a:cubicBezTo>
                  <a:pt x="1382" y="1221"/>
                  <a:pt x="1406" y="1211"/>
                  <a:pt x="1431" y="1204"/>
                </a:cubicBezTo>
                <a:cubicBezTo>
                  <a:pt x="1443" y="1200"/>
                  <a:pt x="1452" y="1191"/>
                  <a:pt x="1454" y="1179"/>
                </a:cubicBezTo>
                <a:cubicBezTo>
                  <a:pt x="1477" y="1067"/>
                  <a:pt x="1477" y="1067"/>
                  <a:pt x="1477" y="1067"/>
                </a:cubicBezTo>
                <a:cubicBezTo>
                  <a:pt x="1478" y="1061"/>
                  <a:pt x="1483" y="1056"/>
                  <a:pt x="1489" y="1056"/>
                </a:cubicBezTo>
                <a:cubicBezTo>
                  <a:pt x="1550" y="1056"/>
                  <a:pt x="1550" y="1056"/>
                  <a:pt x="1550" y="1056"/>
                </a:cubicBezTo>
                <a:cubicBezTo>
                  <a:pt x="1557" y="1056"/>
                  <a:pt x="1562" y="1061"/>
                  <a:pt x="1563" y="1067"/>
                </a:cubicBezTo>
                <a:cubicBezTo>
                  <a:pt x="1585" y="1179"/>
                  <a:pt x="1585" y="1179"/>
                  <a:pt x="1585" y="1179"/>
                </a:cubicBezTo>
                <a:cubicBezTo>
                  <a:pt x="1588" y="1191"/>
                  <a:pt x="1597" y="1200"/>
                  <a:pt x="1608" y="1204"/>
                </a:cubicBezTo>
                <a:cubicBezTo>
                  <a:pt x="1634" y="1211"/>
                  <a:pt x="1658" y="1221"/>
                  <a:pt x="1681" y="1234"/>
                </a:cubicBezTo>
                <a:cubicBezTo>
                  <a:pt x="1691" y="1240"/>
                  <a:pt x="1704" y="1239"/>
                  <a:pt x="1714" y="1232"/>
                </a:cubicBezTo>
                <a:cubicBezTo>
                  <a:pt x="1810" y="1169"/>
                  <a:pt x="1810" y="1169"/>
                  <a:pt x="1810" y="1169"/>
                </a:cubicBezTo>
                <a:cubicBezTo>
                  <a:pt x="1815" y="1165"/>
                  <a:pt x="1822" y="1166"/>
                  <a:pt x="1826" y="1170"/>
                </a:cubicBezTo>
                <a:cubicBezTo>
                  <a:pt x="1869" y="1214"/>
                  <a:pt x="1869" y="1214"/>
                  <a:pt x="1869" y="1214"/>
                </a:cubicBezTo>
                <a:cubicBezTo>
                  <a:pt x="1874" y="1218"/>
                  <a:pt x="1874" y="1225"/>
                  <a:pt x="1871" y="1230"/>
                </a:cubicBezTo>
                <a:cubicBezTo>
                  <a:pt x="1807" y="1325"/>
                  <a:pt x="1807" y="1325"/>
                  <a:pt x="1807" y="1325"/>
                </a:cubicBezTo>
                <a:cubicBezTo>
                  <a:pt x="1801" y="1335"/>
                  <a:pt x="1800" y="1348"/>
                  <a:pt x="1806" y="1359"/>
                </a:cubicBezTo>
                <a:cubicBezTo>
                  <a:pt x="1819" y="1382"/>
                  <a:pt x="1829" y="1406"/>
                  <a:pt x="1836" y="1431"/>
                </a:cubicBezTo>
                <a:cubicBezTo>
                  <a:pt x="1839" y="1443"/>
                  <a:pt x="1849" y="1452"/>
                  <a:pt x="1861" y="1454"/>
                </a:cubicBezTo>
                <a:cubicBezTo>
                  <a:pt x="1973" y="1477"/>
                  <a:pt x="1973" y="1477"/>
                  <a:pt x="1973" y="1477"/>
                </a:cubicBezTo>
                <a:cubicBezTo>
                  <a:pt x="1979" y="1478"/>
                  <a:pt x="1983" y="1483"/>
                  <a:pt x="1983" y="1489"/>
                </a:cubicBezTo>
                <a:cubicBezTo>
                  <a:pt x="1983" y="1550"/>
                  <a:pt x="1983" y="1550"/>
                  <a:pt x="1983" y="1550"/>
                </a:cubicBezTo>
                <a:cubicBezTo>
                  <a:pt x="1983" y="1557"/>
                  <a:pt x="1979" y="1562"/>
                  <a:pt x="1973" y="1563"/>
                </a:cubicBezTo>
                <a:cubicBezTo>
                  <a:pt x="1861" y="1585"/>
                  <a:pt x="1861" y="1585"/>
                  <a:pt x="1861" y="1585"/>
                </a:cubicBezTo>
                <a:cubicBezTo>
                  <a:pt x="1849" y="1588"/>
                  <a:pt x="1839" y="1597"/>
                  <a:pt x="1836" y="1608"/>
                </a:cubicBezTo>
                <a:cubicBezTo>
                  <a:pt x="1829" y="1634"/>
                  <a:pt x="1819" y="1658"/>
                  <a:pt x="1806" y="1681"/>
                </a:cubicBezTo>
                <a:cubicBezTo>
                  <a:pt x="1800" y="1691"/>
                  <a:pt x="1801" y="1704"/>
                  <a:pt x="1807" y="1714"/>
                </a:cubicBezTo>
                <a:cubicBezTo>
                  <a:pt x="1871" y="1810"/>
                  <a:pt x="1871" y="1810"/>
                  <a:pt x="1871" y="1810"/>
                </a:cubicBezTo>
                <a:cubicBezTo>
                  <a:pt x="1874" y="1815"/>
                  <a:pt x="1874" y="1822"/>
                  <a:pt x="1869" y="1826"/>
                </a:cubicBezTo>
                <a:cubicBezTo>
                  <a:pt x="1826" y="1869"/>
                  <a:pt x="1826" y="1869"/>
                  <a:pt x="1826" y="1869"/>
                </a:cubicBezTo>
                <a:cubicBezTo>
                  <a:pt x="1822" y="1874"/>
                  <a:pt x="1815" y="1874"/>
                  <a:pt x="1810" y="1871"/>
                </a:cubicBezTo>
                <a:cubicBezTo>
                  <a:pt x="1714" y="1807"/>
                  <a:pt x="1714" y="1807"/>
                  <a:pt x="1714" y="1807"/>
                </a:cubicBezTo>
                <a:cubicBezTo>
                  <a:pt x="1704" y="1801"/>
                  <a:pt x="1691" y="1800"/>
                  <a:pt x="1681" y="1806"/>
                </a:cubicBezTo>
                <a:cubicBezTo>
                  <a:pt x="1658" y="1819"/>
                  <a:pt x="1634" y="1829"/>
                  <a:pt x="1608" y="1836"/>
                </a:cubicBezTo>
                <a:cubicBezTo>
                  <a:pt x="1597" y="1839"/>
                  <a:pt x="1588" y="1849"/>
                  <a:pt x="1585" y="1861"/>
                </a:cubicBezTo>
                <a:cubicBezTo>
                  <a:pt x="1563" y="1973"/>
                  <a:pt x="1563" y="1973"/>
                  <a:pt x="1563" y="1973"/>
                </a:cubicBezTo>
                <a:cubicBezTo>
                  <a:pt x="1562" y="1979"/>
                  <a:pt x="1557" y="1983"/>
                  <a:pt x="1550" y="1983"/>
                </a:cubicBezTo>
                <a:cubicBezTo>
                  <a:pt x="1489" y="1983"/>
                  <a:pt x="1489" y="1983"/>
                  <a:pt x="1489" y="1983"/>
                </a:cubicBezTo>
                <a:cubicBezTo>
                  <a:pt x="1483" y="1983"/>
                  <a:pt x="1478" y="1979"/>
                  <a:pt x="1477" y="1973"/>
                </a:cubicBezTo>
                <a:cubicBezTo>
                  <a:pt x="1454" y="1861"/>
                  <a:pt x="1454" y="1861"/>
                  <a:pt x="1454" y="1861"/>
                </a:cubicBezTo>
                <a:cubicBezTo>
                  <a:pt x="1452" y="1849"/>
                  <a:pt x="1443" y="1839"/>
                  <a:pt x="1431" y="1836"/>
                </a:cubicBezTo>
                <a:cubicBezTo>
                  <a:pt x="1406" y="1829"/>
                  <a:pt x="1382" y="1819"/>
                  <a:pt x="1359" y="1806"/>
                </a:cubicBezTo>
                <a:cubicBezTo>
                  <a:pt x="1348" y="1800"/>
                  <a:pt x="1335" y="1801"/>
                  <a:pt x="1325" y="1807"/>
                </a:cubicBezTo>
                <a:cubicBezTo>
                  <a:pt x="1230" y="1871"/>
                  <a:pt x="1230" y="1871"/>
                  <a:pt x="1230" y="1871"/>
                </a:cubicBezTo>
                <a:cubicBezTo>
                  <a:pt x="1225" y="1874"/>
                  <a:pt x="1218" y="1874"/>
                  <a:pt x="1214" y="1869"/>
                </a:cubicBezTo>
                <a:cubicBezTo>
                  <a:pt x="1170" y="1826"/>
                  <a:pt x="1170" y="1826"/>
                  <a:pt x="1170" y="1826"/>
                </a:cubicBezTo>
                <a:cubicBezTo>
                  <a:pt x="1166" y="1822"/>
                  <a:pt x="1165" y="1815"/>
                  <a:pt x="1169" y="1810"/>
                </a:cubicBezTo>
                <a:cubicBezTo>
                  <a:pt x="1232" y="1714"/>
                  <a:pt x="1232" y="1714"/>
                  <a:pt x="1232" y="1714"/>
                </a:cubicBezTo>
                <a:cubicBezTo>
                  <a:pt x="1239" y="1704"/>
                  <a:pt x="1240" y="1691"/>
                  <a:pt x="1234" y="1681"/>
                </a:cubicBezTo>
                <a:cubicBezTo>
                  <a:pt x="1221" y="1658"/>
                  <a:pt x="1211" y="1634"/>
                  <a:pt x="1204" y="1608"/>
                </a:cubicBezTo>
                <a:cubicBezTo>
                  <a:pt x="1200" y="1597"/>
                  <a:pt x="1191" y="1588"/>
                  <a:pt x="1179" y="1585"/>
                </a:cubicBezTo>
                <a:cubicBezTo>
                  <a:pt x="1067" y="1563"/>
                  <a:pt x="1067" y="1563"/>
                  <a:pt x="1067" y="1563"/>
                </a:cubicBezTo>
                <a:cubicBezTo>
                  <a:pt x="1061" y="1562"/>
                  <a:pt x="1056" y="1557"/>
                  <a:pt x="1056" y="1550"/>
                </a:cubicBezTo>
                <a:cubicBezTo>
                  <a:pt x="1056" y="1489"/>
                  <a:pt x="1056" y="1489"/>
                  <a:pt x="1056" y="1489"/>
                </a:cubicBezTo>
                <a:cubicBezTo>
                  <a:pt x="1056" y="1483"/>
                  <a:pt x="1061" y="1478"/>
                  <a:pt x="1067" y="1477"/>
                </a:cubicBezTo>
                <a:cubicBezTo>
                  <a:pt x="1073" y="1475"/>
                  <a:pt x="1073" y="1475"/>
                  <a:pt x="1073" y="1475"/>
                </a:cubicBezTo>
                <a:cubicBezTo>
                  <a:pt x="1091" y="1472"/>
                  <a:pt x="1102" y="1455"/>
                  <a:pt x="1099" y="1437"/>
                </a:cubicBezTo>
                <a:cubicBezTo>
                  <a:pt x="1095" y="1420"/>
                  <a:pt x="1078" y="1408"/>
                  <a:pt x="1061" y="1412"/>
                </a:cubicBezTo>
                <a:cubicBezTo>
                  <a:pt x="1054" y="1413"/>
                  <a:pt x="1054" y="1413"/>
                  <a:pt x="1054" y="1413"/>
                </a:cubicBezTo>
                <a:cubicBezTo>
                  <a:pt x="1018" y="1420"/>
                  <a:pt x="992" y="1452"/>
                  <a:pt x="992" y="1489"/>
                </a:cubicBezTo>
                <a:cubicBezTo>
                  <a:pt x="992" y="1550"/>
                  <a:pt x="992" y="1550"/>
                  <a:pt x="992" y="1550"/>
                </a:cubicBezTo>
                <a:cubicBezTo>
                  <a:pt x="992" y="1587"/>
                  <a:pt x="1018" y="1619"/>
                  <a:pt x="1054" y="1626"/>
                </a:cubicBezTo>
                <a:cubicBezTo>
                  <a:pt x="1147" y="1645"/>
                  <a:pt x="1147" y="1645"/>
                  <a:pt x="1147" y="1645"/>
                </a:cubicBezTo>
                <a:cubicBezTo>
                  <a:pt x="1153" y="1662"/>
                  <a:pt x="1160" y="1679"/>
                  <a:pt x="1168" y="1695"/>
                </a:cubicBezTo>
                <a:cubicBezTo>
                  <a:pt x="1115" y="1774"/>
                  <a:pt x="1115" y="1774"/>
                  <a:pt x="1115" y="1774"/>
                </a:cubicBezTo>
                <a:cubicBezTo>
                  <a:pt x="1095" y="1805"/>
                  <a:pt x="1099" y="1846"/>
                  <a:pt x="1125" y="1872"/>
                </a:cubicBezTo>
                <a:cubicBezTo>
                  <a:pt x="1168" y="1915"/>
                  <a:pt x="1168" y="1915"/>
                  <a:pt x="1168" y="1915"/>
                </a:cubicBezTo>
                <a:cubicBezTo>
                  <a:pt x="1194" y="1941"/>
                  <a:pt x="1235" y="1945"/>
                  <a:pt x="1266" y="1925"/>
                </a:cubicBezTo>
                <a:cubicBezTo>
                  <a:pt x="1345" y="1872"/>
                  <a:pt x="1345" y="1872"/>
                  <a:pt x="1345" y="1872"/>
                </a:cubicBezTo>
                <a:cubicBezTo>
                  <a:pt x="1361" y="1880"/>
                  <a:pt x="1378" y="1887"/>
                  <a:pt x="1395" y="1892"/>
                </a:cubicBezTo>
                <a:cubicBezTo>
                  <a:pt x="1413" y="1986"/>
                  <a:pt x="1413" y="1986"/>
                  <a:pt x="1413" y="1986"/>
                </a:cubicBezTo>
                <a:cubicBezTo>
                  <a:pt x="1420" y="2022"/>
                  <a:pt x="1452" y="2048"/>
                  <a:pt x="1489" y="2048"/>
                </a:cubicBezTo>
                <a:cubicBezTo>
                  <a:pt x="1550" y="2048"/>
                  <a:pt x="1550" y="2048"/>
                  <a:pt x="1550" y="2048"/>
                </a:cubicBezTo>
                <a:cubicBezTo>
                  <a:pt x="1587" y="2048"/>
                  <a:pt x="1619" y="2022"/>
                  <a:pt x="1626" y="1986"/>
                </a:cubicBezTo>
                <a:cubicBezTo>
                  <a:pt x="1645" y="1892"/>
                  <a:pt x="1645" y="1892"/>
                  <a:pt x="1645" y="1892"/>
                </a:cubicBezTo>
                <a:cubicBezTo>
                  <a:pt x="1662" y="1887"/>
                  <a:pt x="1679" y="1880"/>
                  <a:pt x="1695" y="1872"/>
                </a:cubicBezTo>
                <a:cubicBezTo>
                  <a:pt x="1774" y="1925"/>
                  <a:pt x="1774" y="1925"/>
                  <a:pt x="1774" y="1925"/>
                </a:cubicBezTo>
                <a:cubicBezTo>
                  <a:pt x="1805" y="1945"/>
                  <a:pt x="1846" y="1941"/>
                  <a:pt x="1872" y="1915"/>
                </a:cubicBezTo>
                <a:cubicBezTo>
                  <a:pt x="1915" y="1872"/>
                  <a:pt x="1915" y="1872"/>
                  <a:pt x="1915" y="1872"/>
                </a:cubicBezTo>
                <a:cubicBezTo>
                  <a:pt x="1941" y="1846"/>
                  <a:pt x="1945" y="1805"/>
                  <a:pt x="1925" y="1774"/>
                </a:cubicBezTo>
                <a:cubicBezTo>
                  <a:pt x="1872" y="1695"/>
                  <a:pt x="1872" y="1695"/>
                  <a:pt x="1872" y="1695"/>
                </a:cubicBezTo>
                <a:cubicBezTo>
                  <a:pt x="1880" y="1679"/>
                  <a:pt x="1887" y="1662"/>
                  <a:pt x="1892" y="1645"/>
                </a:cubicBezTo>
                <a:cubicBezTo>
                  <a:pt x="1986" y="1626"/>
                  <a:pt x="1986" y="1626"/>
                  <a:pt x="1986" y="1626"/>
                </a:cubicBezTo>
                <a:cubicBezTo>
                  <a:pt x="2022" y="1619"/>
                  <a:pt x="2048" y="1587"/>
                  <a:pt x="2048" y="1550"/>
                </a:cubicBezTo>
                <a:cubicBezTo>
                  <a:pt x="2048" y="1489"/>
                  <a:pt x="2048" y="1489"/>
                  <a:pt x="2048" y="1489"/>
                </a:cubicBezTo>
                <a:cubicBezTo>
                  <a:pt x="2048" y="1452"/>
                  <a:pt x="2022" y="1420"/>
                  <a:pt x="1986" y="14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dirty="0">
              <a:ln>
                <a:noFill/>
              </a:ln>
              <a:solidFill>
                <a:srgbClr val="000000"/>
              </a:solidFill>
              <a:effectLst/>
              <a:uLnTx/>
              <a:uFillTx/>
              <a:latin typeface="IBM Plex Sans"/>
              <a:ea typeface="+mn-ea"/>
              <a:cs typeface="+mn-cs"/>
            </a:endParaRPr>
          </a:p>
        </p:txBody>
      </p:sp>
      <p:grpSp>
        <p:nvGrpSpPr>
          <p:cNvPr id="18" name="Group 4">
            <a:extLst>
              <a:ext uri="{FF2B5EF4-FFF2-40B4-BE49-F238E27FC236}">
                <a16:creationId xmlns:a16="http://schemas.microsoft.com/office/drawing/2014/main" id="{618471EF-5777-4F73-A020-38B2853A0990}"/>
              </a:ext>
            </a:extLst>
          </p:cNvPr>
          <p:cNvGrpSpPr>
            <a:grpSpLocks noChangeAspect="1"/>
          </p:cNvGrpSpPr>
          <p:nvPr/>
        </p:nvGrpSpPr>
        <p:grpSpPr bwMode="auto">
          <a:xfrm>
            <a:off x="236311" y="1007664"/>
            <a:ext cx="425956" cy="412794"/>
            <a:chOff x="1915" y="301"/>
            <a:chExt cx="1780" cy="1725"/>
          </a:xfrm>
          <a:solidFill>
            <a:schemeClr val="accent2"/>
          </a:solidFill>
        </p:grpSpPr>
        <p:sp>
          <p:nvSpPr>
            <p:cNvPr id="19" name="Freeform 5">
              <a:extLst>
                <a:ext uri="{FF2B5EF4-FFF2-40B4-BE49-F238E27FC236}">
                  <a16:creationId xmlns:a16="http://schemas.microsoft.com/office/drawing/2014/main" id="{5608095B-076D-4EC7-8635-D8B199F66330}"/>
                </a:ext>
              </a:extLst>
            </p:cNvPr>
            <p:cNvSpPr>
              <a:spLocks noEditPoints="1"/>
            </p:cNvSpPr>
            <p:nvPr/>
          </p:nvSpPr>
          <p:spPr bwMode="auto">
            <a:xfrm>
              <a:off x="1915" y="301"/>
              <a:ext cx="1667" cy="1725"/>
            </a:xfrm>
            <a:custGeom>
              <a:avLst/>
              <a:gdLst>
                <a:gd name="T0" fmla="*/ 498 w 1892"/>
                <a:gd name="T1" fmla="*/ 1006 h 1950"/>
                <a:gd name="T2" fmla="*/ 1494 w 1892"/>
                <a:gd name="T3" fmla="*/ 1006 h 1950"/>
                <a:gd name="T4" fmla="*/ 1892 w 1892"/>
                <a:gd name="T5" fmla="*/ 622 h 1950"/>
                <a:gd name="T6" fmla="*/ 1494 w 1892"/>
                <a:gd name="T7" fmla="*/ 238 h 1950"/>
                <a:gd name="T8" fmla="*/ 522 w 1892"/>
                <a:gd name="T9" fmla="*/ 238 h 1950"/>
                <a:gd name="T10" fmla="*/ 216 w 1892"/>
                <a:gd name="T11" fmla="*/ 31 h 1950"/>
                <a:gd name="T12" fmla="*/ 16 w 1892"/>
                <a:gd name="T13" fmla="*/ 312 h 1950"/>
                <a:gd name="T14" fmla="*/ 313 w 1892"/>
                <a:gd name="T15" fmla="*/ 534 h 1950"/>
                <a:gd name="T16" fmla="*/ 523 w 1892"/>
                <a:gd name="T17" fmla="*/ 324 h 1950"/>
                <a:gd name="T18" fmla="*/ 1494 w 1892"/>
                <a:gd name="T19" fmla="*/ 324 h 1950"/>
                <a:gd name="T20" fmla="*/ 1807 w 1892"/>
                <a:gd name="T21" fmla="*/ 622 h 1950"/>
                <a:gd name="T22" fmla="*/ 1494 w 1892"/>
                <a:gd name="T23" fmla="*/ 921 h 1950"/>
                <a:gd name="T24" fmla="*/ 498 w 1892"/>
                <a:gd name="T25" fmla="*/ 921 h 1950"/>
                <a:gd name="T26" fmla="*/ 100 w 1892"/>
                <a:gd name="T27" fmla="*/ 1305 h 1950"/>
                <a:gd name="T28" fmla="*/ 498 w 1892"/>
                <a:gd name="T29" fmla="*/ 1689 h 1950"/>
                <a:gd name="T30" fmla="*/ 1191 w 1892"/>
                <a:gd name="T31" fmla="*/ 1689 h 1950"/>
                <a:gd name="T32" fmla="*/ 1008 w 1892"/>
                <a:gd name="T33" fmla="*/ 1872 h 1950"/>
                <a:gd name="T34" fmla="*/ 1008 w 1892"/>
                <a:gd name="T35" fmla="*/ 1932 h 1950"/>
                <a:gd name="T36" fmla="*/ 1068 w 1892"/>
                <a:gd name="T37" fmla="*/ 1933 h 1950"/>
                <a:gd name="T38" fmla="*/ 1069 w 1892"/>
                <a:gd name="T39" fmla="*/ 1932 h 1950"/>
                <a:gd name="T40" fmla="*/ 1324 w 1892"/>
                <a:gd name="T41" fmla="*/ 1677 h 1950"/>
                <a:gd name="T42" fmla="*/ 1324 w 1892"/>
                <a:gd name="T43" fmla="*/ 1616 h 1950"/>
                <a:gd name="T44" fmla="*/ 1324 w 1892"/>
                <a:gd name="T45" fmla="*/ 1616 h 1950"/>
                <a:gd name="T46" fmla="*/ 1069 w 1892"/>
                <a:gd name="T47" fmla="*/ 1360 h 1950"/>
                <a:gd name="T48" fmla="*/ 1008 w 1892"/>
                <a:gd name="T49" fmla="*/ 1361 h 1950"/>
                <a:gd name="T50" fmla="*/ 1008 w 1892"/>
                <a:gd name="T51" fmla="*/ 1421 h 1950"/>
                <a:gd name="T52" fmla="*/ 1192 w 1892"/>
                <a:gd name="T53" fmla="*/ 1604 h 1950"/>
                <a:gd name="T54" fmla="*/ 498 w 1892"/>
                <a:gd name="T55" fmla="*/ 1604 h 1950"/>
                <a:gd name="T56" fmla="*/ 185 w 1892"/>
                <a:gd name="T57" fmla="*/ 1305 h 1950"/>
                <a:gd name="T58" fmla="*/ 498 w 1892"/>
                <a:gd name="T59" fmla="*/ 1006 h 1950"/>
                <a:gd name="T60" fmla="*/ 270 w 1892"/>
                <a:gd name="T61" fmla="*/ 451 h 1950"/>
                <a:gd name="T62" fmla="*/ 100 w 1892"/>
                <a:gd name="T63" fmla="*/ 281 h 1950"/>
                <a:gd name="T64" fmla="*/ 270 w 1892"/>
                <a:gd name="T65" fmla="*/ 110 h 1950"/>
                <a:gd name="T66" fmla="*/ 441 w 1892"/>
                <a:gd name="T67" fmla="*/ 281 h 1950"/>
                <a:gd name="T68" fmla="*/ 270 w 1892"/>
                <a:gd name="T69" fmla="*/ 451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2" h="1950">
                  <a:moveTo>
                    <a:pt x="498" y="1006"/>
                  </a:moveTo>
                  <a:cubicBezTo>
                    <a:pt x="1494" y="1006"/>
                    <a:pt x="1494" y="1006"/>
                    <a:pt x="1494" y="1006"/>
                  </a:cubicBezTo>
                  <a:cubicBezTo>
                    <a:pt x="1713" y="1006"/>
                    <a:pt x="1892" y="834"/>
                    <a:pt x="1892" y="622"/>
                  </a:cubicBezTo>
                  <a:cubicBezTo>
                    <a:pt x="1892" y="411"/>
                    <a:pt x="1713" y="238"/>
                    <a:pt x="1494" y="238"/>
                  </a:cubicBezTo>
                  <a:cubicBezTo>
                    <a:pt x="522" y="238"/>
                    <a:pt x="522" y="238"/>
                    <a:pt x="522" y="238"/>
                  </a:cubicBezTo>
                  <a:cubicBezTo>
                    <a:pt x="498" y="95"/>
                    <a:pt x="359" y="0"/>
                    <a:pt x="216" y="31"/>
                  </a:cubicBezTo>
                  <a:cubicBezTo>
                    <a:pt x="87" y="59"/>
                    <a:pt x="0" y="182"/>
                    <a:pt x="16" y="312"/>
                  </a:cubicBezTo>
                  <a:cubicBezTo>
                    <a:pt x="34" y="458"/>
                    <a:pt x="170" y="557"/>
                    <a:pt x="313" y="534"/>
                  </a:cubicBezTo>
                  <a:cubicBezTo>
                    <a:pt x="421" y="515"/>
                    <a:pt x="505" y="431"/>
                    <a:pt x="523" y="324"/>
                  </a:cubicBezTo>
                  <a:cubicBezTo>
                    <a:pt x="1494" y="324"/>
                    <a:pt x="1494" y="324"/>
                    <a:pt x="1494" y="324"/>
                  </a:cubicBezTo>
                  <a:cubicBezTo>
                    <a:pt x="1666" y="324"/>
                    <a:pt x="1807" y="458"/>
                    <a:pt x="1807" y="622"/>
                  </a:cubicBezTo>
                  <a:cubicBezTo>
                    <a:pt x="1807" y="787"/>
                    <a:pt x="1666" y="921"/>
                    <a:pt x="1494" y="921"/>
                  </a:cubicBezTo>
                  <a:cubicBezTo>
                    <a:pt x="498" y="921"/>
                    <a:pt x="498" y="921"/>
                    <a:pt x="498" y="921"/>
                  </a:cubicBezTo>
                  <a:cubicBezTo>
                    <a:pt x="278" y="921"/>
                    <a:pt x="100" y="1093"/>
                    <a:pt x="100" y="1305"/>
                  </a:cubicBezTo>
                  <a:cubicBezTo>
                    <a:pt x="100" y="1517"/>
                    <a:pt x="278" y="1689"/>
                    <a:pt x="498" y="1689"/>
                  </a:cubicBezTo>
                  <a:cubicBezTo>
                    <a:pt x="1191" y="1689"/>
                    <a:pt x="1191" y="1689"/>
                    <a:pt x="1191" y="1689"/>
                  </a:cubicBezTo>
                  <a:cubicBezTo>
                    <a:pt x="1008" y="1872"/>
                    <a:pt x="1008" y="1872"/>
                    <a:pt x="1008" y="1872"/>
                  </a:cubicBezTo>
                  <a:cubicBezTo>
                    <a:pt x="991" y="1888"/>
                    <a:pt x="991" y="1916"/>
                    <a:pt x="1008" y="1932"/>
                  </a:cubicBezTo>
                  <a:cubicBezTo>
                    <a:pt x="1024" y="1949"/>
                    <a:pt x="1051" y="1950"/>
                    <a:pt x="1068" y="1933"/>
                  </a:cubicBezTo>
                  <a:cubicBezTo>
                    <a:pt x="1068" y="1933"/>
                    <a:pt x="1069" y="1932"/>
                    <a:pt x="1069" y="1932"/>
                  </a:cubicBezTo>
                  <a:cubicBezTo>
                    <a:pt x="1324" y="1677"/>
                    <a:pt x="1324" y="1677"/>
                    <a:pt x="1324" y="1677"/>
                  </a:cubicBezTo>
                  <a:cubicBezTo>
                    <a:pt x="1341" y="1660"/>
                    <a:pt x="1341" y="1633"/>
                    <a:pt x="1324" y="1616"/>
                  </a:cubicBezTo>
                  <a:cubicBezTo>
                    <a:pt x="1324" y="1616"/>
                    <a:pt x="1324" y="1616"/>
                    <a:pt x="1324" y="1616"/>
                  </a:cubicBezTo>
                  <a:cubicBezTo>
                    <a:pt x="1069" y="1360"/>
                    <a:pt x="1069" y="1360"/>
                    <a:pt x="1069" y="1360"/>
                  </a:cubicBezTo>
                  <a:cubicBezTo>
                    <a:pt x="1052" y="1344"/>
                    <a:pt x="1025" y="1345"/>
                    <a:pt x="1008" y="1361"/>
                  </a:cubicBezTo>
                  <a:cubicBezTo>
                    <a:pt x="993" y="1378"/>
                    <a:pt x="993" y="1404"/>
                    <a:pt x="1008" y="1421"/>
                  </a:cubicBezTo>
                  <a:cubicBezTo>
                    <a:pt x="1192" y="1604"/>
                    <a:pt x="1192" y="1604"/>
                    <a:pt x="1192" y="1604"/>
                  </a:cubicBezTo>
                  <a:cubicBezTo>
                    <a:pt x="498" y="1604"/>
                    <a:pt x="498" y="1604"/>
                    <a:pt x="498" y="1604"/>
                  </a:cubicBezTo>
                  <a:cubicBezTo>
                    <a:pt x="325" y="1604"/>
                    <a:pt x="185" y="1470"/>
                    <a:pt x="185" y="1305"/>
                  </a:cubicBezTo>
                  <a:cubicBezTo>
                    <a:pt x="185" y="1140"/>
                    <a:pt x="325" y="1006"/>
                    <a:pt x="498" y="1006"/>
                  </a:cubicBezTo>
                  <a:close/>
                  <a:moveTo>
                    <a:pt x="270" y="451"/>
                  </a:moveTo>
                  <a:cubicBezTo>
                    <a:pt x="176" y="451"/>
                    <a:pt x="100" y="375"/>
                    <a:pt x="100" y="281"/>
                  </a:cubicBezTo>
                  <a:cubicBezTo>
                    <a:pt x="100" y="186"/>
                    <a:pt x="176" y="110"/>
                    <a:pt x="270" y="110"/>
                  </a:cubicBezTo>
                  <a:cubicBezTo>
                    <a:pt x="365" y="110"/>
                    <a:pt x="441" y="186"/>
                    <a:pt x="441" y="281"/>
                  </a:cubicBezTo>
                  <a:cubicBezTo>
                    <a:pt x="441" y="375"/>
                    <a:pt x="365" y="451"/>
                    <a:pt x="270" y="4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0" name="Freeform 6">
              <a:extLst>
                <a:ext uri="{FF2B5EF4-FFF2-40B4-BE49-F238E27FC236}">
                  <a16:creationId xmlns:a16="http://schemas.microsoft.com/office/drawing/2014/main" id="{0632320D-0AEE-410B-9852-8A191684DA7B}"/>
                </a:ext>
              </a:extLst>
            </p:cNvPr>
            <p:cNvSpPr>
              <a:spLocks noEditPoints="1"/>
            </p:cNvSpPr>
            <p:nvPr/>
          </p:nvSpPr>
          <p:spPr bwMode="auto">
            <a:xfrm>
              <a:off x="3244" y="1530"/>
              <a:ext cx="451" cy="45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27 h 512"/>
                <a:gd name="T12" fmla="*/ 85 w 512"/>
                <a:gd name="T13" fmla="*/ 256 h 512"/>
                <a:gd name="T14" fmla="*/ 256 w 512"/>
                <a:gd name="T15" fmla="*/ 85 h 512"/>
                <a:gd name="T16" fmla="*/ 426 w 512"/>
                <a:gd name="T17" fmla="*/ 256 h 512"/>
                <a:gd name="T18" fmla="*/ 256 w 512"/>
                <a:gd name="T19" fmla="*/ 4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256" y="427"/>
                  </a:moveTo>
                  <a:cubicBezTo>
                    <a:pt x="161" y="427"/>
                    <a:pt x="85" y="350"/>
                    <a:pt x="85" y="256"/>
                  </a:cubicBezTo>
                  <a:cubicBezTo>
                    <a:pt x="85" y="162"/>
                    <a:pt x="161" y="85"/>
                    <a:pt x="256" y="85"/>
                  </a:cubicBezTo>
                  <a:cubicBezTo>
                    <a:pt x="350" y="85"/>
                    <a:pt x="426" y="162"/>
                    <a:pt x="426" y="256"/>
                  </a:cubicBezTo>
                  <a:cubicBezTo>
                    <a:pt x="426" y="350"/>
                    <a:pt x="350" y="427"/>
                    <a:pt x="256" y="4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0000"/>
                </a:solidFill>
                <a:effectLst/>
                <a:uLnTx/>
                <a:uFillTx/>
                <a:latin typeface="IBM Plex Sans"/>
                <a:ea typeface="+mn-ea"/>
                <a:cs typeface="+mn-cs"/>
              </a:endParaRPr>
            </a:p>
          </p:txBody>
        </p:sp>
      </p:grpSp>
      <p:pic>
        <p:nvPicPr>
          <p:cNvPr id="22" name="Picture 21">
            <a:extLst>
              <a:ext uri="{FF2B5EF4-FFF2-40B4-BE49-F238E27FC236}">
                <a16:creationId xmlns:a16="http://schemas.microsoft.com/office/drawing/2014/main" id="{9FDE9EFE-B45E-964F-A39F-05146919E27C}"/>
              </a:ext>
            </a:extLst>
          </p:cNvPr>
          <p:cNvPicPr>
            <a:picLocks/>
          </p:cNvPicPr>
          <p:nvPr/>
        </p:nvPicPr>
        <p:blipFill>
          <a:blip r:embed="rId5" cstate="email">
            <a:extLst>
              <a:ext uri="{28A0092B-C50C-407E-A947-70E740481C1C}">
                <a14:useLocalDpi xmlns:a14="http://schemas.microsoft.com/office/drawing/2010/main"/>
              </a:ext>
            </a:extLst>
          </a:blip>
          <a:stretch>
            <a:fillRect/>
          </a:stretch>
        </p:blipFill>
        <p:spPr>
          <a:xfrm>
            <a:off x="5205257" y="1599073"/>
            <a:ext cx="3383280" cy="1920240"/>
          </a:xfrm>
          <a:prstGeom prst="rect">
            <a:avLst/>
          </a:prstGeom>
          <a:ln>
            <a:noFill/>
          </a:ln>
          <a:effectLst>
            <a:outerShdw blurRad="50800" dist="38100" dir="2700000" algn="tl" rotWithShape="0">
              <a:prstClr val="black">
                <a:alpha val="40000"/>
              </a:prstClr>
            </a:outerShdw>
          </a:effectLst>
        </p:spPr>
      </p:pic>
      <p:sp>
        <p:nvSpPr>
          <p:cNvPr id="15" name="Slide Number Placeholder 2">
            <a:extLst>
              <a:ext uri="{FF2B5EF4-FFF2-40B4-BE49-F238E27FC236}">
                <a16:creationId xmlns:a16="http://schemas.microsoft.com/office/drawing/2014/main" id="{68FC56FF-E65D-1B45-A1B0-AAE1F978A934}"/>
              </a:ext>
            </a:extLst>
          </p:cNvPr>
          <p:cNvSpPr txBox="1">
            <a:spLocks/>
          </p:cNvSpPr>
          <p:nvPr/>
        </p:nvSpPr>
        <p:spPr>
          <a:xfrm>
            <a:off x="6858000" y="4826480"/>
            <a:ext cx="2057400" cy="137160"/>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3FD999D4-B456-9943-89B7-30D56181CE18}" type="slidenum">
              <a:rPr kumimoji="0" lang="en-US" sz="600" b="0" i="0" u="none" strike="noStrike" kern="1200" cap="none" spc="0" normalizeH="0" baseline="0" noProof="0">
                <a:ln>
                  <a:noFill/>
                </a:ln>
                <a:solidFill>
                  <a:srgbClr val="000000"/>
                </a:solidFill>
                <a:effectLst/>
                <a:uLnTx/>
                <a:uFillTx/>
                <a:latin typeface="IBM Plex Sans"/>
                <a:ea typeface="+mn-ea"/>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en-US" sz="600" b="0" i="0" u="none" strike="noStrike" kern="1200" cap="none" spc="0" normalizeH="0" baseline="0" noProof="0">
              <a:ln>
                <a:noFill/>
              </a:ln>
              <a:solidFill>
                <a:srgbClr val="000000"/>
              </a:solidFill>
              <a:effectLst/>
              <a:uLnTx/>
              <a:uFillTx/>
              <a:latin typeface="IBM Plex Sans"/>
              <a:ea typeface="+mn-ea"/>
              <a:cs typeface="Arial" charset="0"/>
            </a:endParaRPr>
          </a:p>
        </p:txBody>
      </p:sp>
      <p:pic>
        <p:nvPicPr>
          <p:cNvPr id="23" name="Picture 22">
            <a:extLst>
              <a:ext uri="{FF2B5EF4-FFF2-40B4-BE49-F238E27FC236}">
                <a16:creationId xmlns:a16="http://schemas.microsoft.com/office/drawing/2014/main" id="{0DCA7E59-2695-4E6E-8723-F7CEFCF06CB3}"/>
              </a:ext>
            </a:extLst>
          </p:cNvPr>
          <p:cNvPicPr>
            <a:picLocks noChangeAspect="1"/>
          </p:cNvPicPr>
          <p:nvPr/>
        </p:nvPicPr>
        <p:blipFill>
          <a:blip r:embed="rId6"/>
          <a:stretch>
            <a:fillRect/>
          </a:stretch>
        </p:blipFill>
        <p:spPr>
          <a:xfrm>
            <a:off x="258136" y="4777660"/>
            <a:ext cx="4170025" cy="188992"/>
          </a:xfrm>
          <a:prstGeom prst="rect">
            <a:avLst/>
          </a:prstGeom>
        </p:spPr>
      </p:pic>
    </p:spTree>
    <p:extLst>
      <p:ext uri="{BB962C8B-B14F-4D97-AF65-F5344CB8AC3E}">
        <p14:creationId xmlns:p14="http://schemas.microsoft.com/office/powerpoint/2010/main" val="1280792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87D737F-C66C-484C-90D7-7D04FC10498C}"/>
              </a:ext>
            </a:extLst>
          </p:cNvPr>
          <p:cNvSpPr/>
          <p:nvPr/>
        </p:nvSpPr>
        <p:spPr>
          <a:xfrm>
            <a:off x="4800600" y="0"/>
            <a:ext cx="4343400" cy="5143500"/>
          </a:xfrm>
          <a:prstGeom prst="rect">
            <a:avLst/>
          </a:prstGeom>
          <a:solidFill>
            <a:schemeClr val="accent2"/>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2" name="Title 1"/>
          <p:cNvSpPr>
            <a:spLocks noGrp="1"/>
          </p:cNvSpPr>
          <p:nvPr>
            <p:ph type="title"/>
          </p:nvPr>
        </p:nvSpPr>
        <p:spPr>
          <a:xfrm>
            <a:off x="228600" y="201168"/>
            <a:ext cx="4114800" cy="640080"/>
          </a:xfrm>
        </p:spPr>
        <p:txBody>
          <a:bodyPr/>
          <a:lstStyle/>
          <a:p>
            <a:r>
              <a:rPr lang="en-US" dirty="0"/>
              <a:t>Maximo Predict</a:t>
            </a:r>
            <a:br>
              <a:rPr lang="en-US" dirty="0"/>
            </a:br>
            <a:r>
              <a:rPr lang="en-US" sz="1200" dirty="0">
                <a:solidFill>
                  <a:schemeClr val="accent2"/>
                </a:solidFill>
              </a:rPr>
              <a:t>Predict Failures in Advance</a:t>
            </a:r>
          </a:p>
        </p:txBody>
      </p:sp>
      <p:sp>
        <p:nvSpPr>
          <p:cNvPr id="10" name="Text Placeholder 6"/>
          <p:cNvSpPr>
            <a:spLocks noGrp="1"/>
          </p:cNvSpPr>
          <p:nvPr>
            <p:ph type="body" sz="quarter" idx="13"/>
          </p:nvPr>
        </p:nvSpPr>
        <p:spPr>
          <a:xfrm>
            <a:off x="897130" y="1012512"/>
            <a:ext cx="4227653" cy="1293968"/>
          </a:xfrm>
          <a:prstGeom prst="rect">
            <a:avLst/>
          </a:prstGeom>
        </p:spPr>
        <p:txBody>
          <a:bodyPr/>
          <a:lstStyle/>
          <a:p>
            <a:pPr marL="0" lvl="1" indent="0">
              <a:spcBef>
                <a:spcPts val="0"/>
              </a:spcBef>
              <a:buNone/>
            </a:pPr>
            <a:r>
              <a:rPr lang="en-US" sz="1200" dirty="0">
                <a:solidFill>
                  <a:schemeClr val="accent2"/>
                </a:solidFill>
              </a:rPr>
              <a:t>Solution</a:t>
            </a:r>
          </a:p>
          <a:p>
            <a:pPr lvl="1">
              <a:spcBef>
                <a:spcPts val="300"/>
              </a:spcBef>
              <a:defRPr/>
            </a:pPr>
            <a:r>
              <a:rPr lang="en-US" sz="1050" dirty="0">
                <a:solidFill>
                  <a:srgbClr val="000000"/>
                </a:solidFill>
                <a:latin typeface="IBM Plex Sans"/>
              </a:rPr>
              <a:t>Build asset failure models</a:t>
            </a:r>
          </a:p>
          <a:p>
            <a:pPr lvl="1">
              <a:spcBef>
                <a:spcPts val="300"/>
              </a:spcBef>
              <a:defRPr/>
            </a:pPr>
            <a:r>
              <a:rPr lang="en-US" sz="1050" dirty="0">
                <a:solidFill>
                  <a:srgbClr val="000000"/>
                </a:solidFill>
                <a:latin typeface="IBM Plex Sans"/>
              </a:rPr>
              <a:t>Predict failures</a:t>
            </a:r>
          </a:p>
          <a:p>
            <a:pPr lvl="1">
              <a:spcBef>
                <a:spcPts val="300"/>
              </a:spcBef>
              <a:defRPr/>
            </a:pPr>
            <a:r>
              <a:rPr lang="en-US" sz="1050" dirty="0">
                <a:solidFill>
                  <a:srgbClr val="000000"/>
                </a:solidFill>
                <a:latin typeface="IBM Plex Sans"/>
              </a:rPr>
              <a:t>Determine factors that contribute to failure</a:t>
            </a:r>
          </a:p>
          <a:p>
            <a:pPr lvl="1">
              <a:spcBef>
                <a:spcPts val="300"/>
              </a:spcBef>
              <a:defRPr/>
            </a:pPr>
            <a:r>
              <a:rPr lang="en-US" sz="1050" dirty="0">
                <a:solidFill>
                  <a:srgbClr val="000000"/>
                </a:solidFill>
                <a:latin typeface="IBM Plex Sans"/>
              </a:rPr>
              <a:t>Score models with current sensor data</a:t>
            </a:r>
          </a:p>
        </p:txBody>
      </p:sp>
      <p:sp>
        <p:nvSpPr>
          <p:cNvPr id="11" name="Text Placeholder 6"/>
          <p:cNvSpPr>
            <a:spLocks noGrp="1"/>
          </p:cNvSpPr>
          <p:nvPr>
            <p:ph type="body" sz="quarter" idx="14"/>
          </p:nvPr>
        </p:nvSpPr>
        <p:spPr>
          <a:xfrm>
            <a:off x="897130" y="2283571"/>
            <a:ext cx="3924749" cy="1300908"/>
          </a:xfrm>
          <a:prstGeom prst="rect">
            <a:avLst/>
          </a:prstGeom>
        </p:spPr>
        <p:txBody>
          <a:bodyPr/>
          <a:lstStyle/>
          <a:p>
            <a:pPr marL="0" lvl="1" indent="0">
              <a:spcBef>
                <a:spcPts val="0"/>
              </a:spcBef>
              <a:buNone/>
            </a:pPr>
            <a:r>
              <a:rPr lang="en-US" sz="1200" dirty="0">
                <a:solidFill>
                  <a:schemeClr val="accent2"/>
                </a:solidFill>
              </a:rPr>
              <a:t>Capabilities</a:t>
            </a:r>
          </a:p>
          <a:p>
            <a:pPr lvl="1">
              <a:spcBef>
                <a:spcPts val="300"/>
              </a:spcBef>
              <a:defRPr/>
            </a:pPr>
            <a:r>
              <a:rPr lang="en-US" sz="1050" dirty="0">
                <a:solidFill>
                  <a:srgbClr val="000000"/>
                </a:solidFill>
                <a:latin typeface="IBM Plex Sans"/>
              </a:rPr>
              <a:t>Templates provided to build 5 common predictive models</a:t>
            </a:r>
          </a:p>
          <a:p>
            <a:pPr lvl="1">
              <a:spcBef>
                <a:spcPts val="300"/>
              </a:spcBef>
              <a:defRPr/>
            </a:pPr>
            <a:r>
              <a:rPr lang="en-US" sz="1050" dirty="0">
                <a:solidFill>
                  <a:srgbClr val="000000"/>
                </a:solidFill>
                <a:latin typeface="IBM Plex Sans"/>
              </a:rPr>
              <a:t>Score predictive models using Watson ML</a:t>
            </a:r>
          </a:p>
          <a:p>
            <a:pPr lvl="1">
              <a:spcBef>
                <a:spcPts val="300"/>
              </a:spcBef>
              <a:defRPr/>
            </a:pPr>
            <a:r>
              <a:rPr lang="en-US" sz="1050" dirty="0">
                <a:solidFill>
                  <a:srgbClr val="000000"/>
                </a:solidFill>
                <a:latin typeface="IBM Plex Sans"/>
              </a:rPr>
              <a:t>View pre-built visualizations for the 5 common models</a:t>
            </a:r>
          </a:p>
          <a:p>
            <a:pPr lvl="1">
              <a:spcBef>
                <a:spcPts val="300"/>
              </a:spcBef>
              <a:defRPr/>
            </a:pPr>
            <a:r>
              <a:rPr lang="en-US" sz="1050" dirty="0">
                <a:solidFill>
                  <a:srgbClr val="000000"/>
                </a:solidFill>
                <a:latin typeface="IBM Plex Sans"/>
              </a:rPr>
              <a:t>Use model scores to assess asset health with Maximo Health</a:t>
            </a:r>
          </a:p>
        </p:txBody>
      </p:sp>
      <p:sp>
        <p:nvSpPr>
          <p:cNvPr id="12" name="Text Placeholder 6"/>
          <p:cNvSpPr>
            <a:spLocks noGrp="1"/>
          </p:cNvSpPr>
          <p:nvPr>
            <p:ph type="body" sz="quarter" idx="4294967295"/>
          </p:nvPr>
        </p:nvSpPr>
        <p:spPr>
          <a:xfrm>
            <a:off x="896937" y="3524335"/>
            <a:ext cx="3675063" cy="833438"/>
          </a:xfrm>
          <a:prstGeom prst="rect">
            <a:avLst/>
          </a:prstGeom>
        </p:spPr>
        <p:txBody>
          <a:bodyPr/>
          <a:lstStyle/>
          <a:p>
            <a:pPr marL="0" lvl="1" indent="0">
              <a:spcBef>
                <a:spcPts val="0"/>
              </a:spcBef>
              <a:buNone/>
            </a:pPr>
            <a:r>
              <a:rPr lang="en-US" sz="1200" dirty="0">
                <a:solidFill>
                  <a:schemeClr val="accent2"/>
                </a:solidFill>
              </a:rPr>
              <a:t>Benefits</a:t>
            </a:r>
          </a:p>
          <a:p>
            <a:pPr lvl="1">
              <a:spcBef>
                <a:spcPts val="300"/>
              </a:spcBef>
              <a:defRPr/>
            </a:pPr>
            <a:r>
              <a:rPr lang="en-US" sz="1050" dirty="0">
                <a:solidFill>
                  <a:srgbClr val="000000"/>
                </a:solidFill>
                <a:latin typeface="IBM Plex Sans"/>
              </a:rPr>
              <a:t>Reduced failures</a:t>
            </a:r>
          </a:p>
          <a:p>
            <a:pPr lvl="1">
              <a:spcBef>
                <a:spcPts val="300"/>
              </a:spcBef>
              <a:defRPr/>
            </a:pPr>
            <a:r>
              <a:rPr lang="en-US" sz="1050" dirty="0">
                <a:solidFill>
                  <a:srgbClr val="000000"/>
                </a:solidFill>
                <a:latin typeface="IBM Plex Sans"/>
              </a:rPr>
              <a:t>Reduced maintenance costs </a:t>
            </a:r>
          </a:p>
          <a:p>
            <a:pPr lvl="1">
              <a:spcBef>
                <a:spcPts val="300"/>
              </a:spcBef>
              <a:defRPr/>
            </a:pPr>
            <a:r>
              <a:rPr lang="en-US" sz="1050" dirty="0">
                <a:solidFill>
                  <a:srgbClr val="000000"/>
                </a:solidFill>
                <a:latin typeface="IBM Plex Sans"/>
              </a:rPr>
              <a:t>Improved asset utilization</a:t>
            </a:r>
          </a:p>
          <a:p>
            <a:pPr lvl="1">
              <a:spcBef>
                <a:spcPts val="300"/>
              </a:spcBef>
              <a:defRPr/>
            </a:pPr>
            <a:r>
              <a:rPr lang="en-US" sz="1050" dirty="0">
                <a:solidFill>
                  <a:srgbClr val="000000"/>
                </a:solidFill>
                <a:latin typeface="IBM Plex Sans"/>
              </a:rPr>
              <a:t>Extended life of asset</a:t>
            </a:r>
          </a:p>
          <a:p>
            <a:pPr lvl="1">
              <a:spcBef>
                <a:spcPts val="300"/>
              </a:spcBef>
              <a:defRPr/>
            </a:pPr>
            <a:r>
              <a:rPr lang="en-US" sz="1050" dirty="0">
                <a:solidFill>
                  <a:srgbClr val="000000"/>
                </a:solidFill>
                <a:latin typeface="IBM Plex Sans"/>
              </a:rPr>
              <a:t>Increased production output</a:t>
            </a:r>
          </a:p>
        </p:txBody>
      </p:sp>
      <p:pic>
        <p:nvPicPr>
          <p:cNvPr id="13" name="Picture 30">
            <a:extLst>
              <a:ext uri="{FF2B5EF4-FFF2-40B4-BE49-F238E27FC236}">
                <a16:creationId xmlns:a16="http://schemas.microsoft.com/office/drawing/2014/main" id="{0BCBD41F-AECE-4961-8713-0390AB7A8C0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21879" y="1145895"/>
            <a:ext cx="4197572" cy="3610346"/>
          </a:xfrm>
          <a:prstGeom prst="rect">
            <a:avLst/>
          </a:prstGeom>
        </p:spPr>
      </p:pic>
      <p:sp>
        <p:nvSpPr>
          <p:cNvPr id="16" name="Freeform 5">
            <a:extLst>
              <a:ext uri="{FF2B5EF4-FFF2-40B4-BE49-F238E27FC236}">
                <a16:creationId xmlns:a16="http://schemas.microsoft.com/office/drawing/2014/main" id="{CF5C8C01-2E86-457F-80A8-CB9007942BDA}"/>
              </a:ext>
            </a:extLst>
          </p:cNvPr>
          <p:cNvSpPr>
            <a:spLocks/>
          </p:cNvSpPr>
          <p:nvPr/>
        </p:nvSpPr>
        <p:spPr bwMode="auto">
          <a:xfrm>
            <a:off x="226078" y="3531695"/>
            <a:ext cx="450314" cy="432056"/>
          </a:xfrm>
          <a:custGeom>
            <a:avLst/>
            <a:gdLst>
              <a:gd name="T0" fmla="*/ 1956 w 2070"/>
              <a:gd name="T1" fmla="*/ 1003 h 1980"/>
              <a:gd name="T2" fmla="*/ 1877 w 2070"/>
              <a:gd name="T3" fmla="*/ 675 h 1980"/>
              <a:gd name="T4" fmla="*/ 1376 w 2070"/>
              <a:gd name="T5" fmla="*/ 354 h 1980"/>
              <a:gd name="T6" fmla="*/ 1023 w 2070"/>
              <a:gd name="T7" fmla="*/ 29 h 1980"/>
              <a:gd name="T8" fmla="*/ 955 w 2070"/>
              <a:gd name="T9" fmla="*/ 125 h 1980"/>
              <a:gd name="T10" fmla="*/ 890 w 2070"/>
              <a:gd name="T11" fmla="*/ 602 h 1980"/>
              <a:gd name="T12" fmla="*/ 529 w 2070"/>
              <a:gd name="T13" fmla="*/ 852 h 1980"/>
              <a:gd name="T14" fmla="*/ 0 w 2070"/>
              <a:gd name="T15" fmla="*/ 949 h 1980"/>
              <a:gd name="T16" fmla="*/ 13 w 2070"/>
              <a:gd name="T17" fmla="*/ 1089 h 1980"/>
              <a:gd name="T18" fmla="*/ 66 w 2070"/>
              <a:gd name="T19" fmla="*/ 949 h 1980"/>
              <a:gd name="T20" fmla="*/ 536 w 2070"/>
              <a:gd name="T21" fmla="*/ 918 h 1980"/>
              <a:gd name="T22" fmla="*/ 566 w 2070"/>
              <a:gd name="T23" fmla="*/ 1883 h 1980"/>
              <a:gd name="T24" fmla="*/ 97 w 2070"/>
              <a:gd name="T25" fmla="*/ 1913 h 1980"/>
              <a:gd name="T26" fmla="*/ 66 w 2070"/>
              <a:gd name="T27" fmla="*/ 1199 h 1980"/>
              <a:gd name="T28" fmla="*/ 0 w 2070"/>
              <a:gd name="T29" fmla="*/ 1203 h 1980"/>
              <a:gd name="T30" fmla="*/ 97 w 2070"/>
              <a:gd name="T31" fmla="*/ 1980 h 1980"/>
              <a:gd name="T32" fmla="*/ 633 w 2070"/>
              <a:gd name="T33" fmla="*/ 1883 h 1980"/>
              <a:gd name="T34" fmla="*/ 798 w 2070"/>
              <a:gd name="T35" fmla="*/ 1871 h 1980"/>
              <a:gd name="T36" fmla="*/ 1452 w 2070"/>
              <a:gd name="T37" fmla="*/ 1873 h 1980"/>
              <a:gd name="T38" fmla="*/ 1449 w 2070"/>
              <a:gd name="T39" fmla="*/ 1807 h 1980"/>
              <a:gd name="T40" fmla="*/ 633 w 2070"/>
              <a:gd name="T41" fmla="*/ 1714 h 1980"/>
              <a:gd name="T42" fmla="*/ 962 w 2070"/>
              <a:gd name="T43" fmla="*/ 618 h 1980"/>
              <a:gd name="T44" fmla="*/ 1022 w 2070"/>
              <a:gd name="T45" fmla="*/ 153 h 1980"/>
              <a:gd name="T46" fmla="*/ 1225 w 2070"/>
              <a:gd name="T47" fmla="*/ 130 h 1980"/>
              <a:gd name="T48" fmla="*/ 1309 w 2070"/>
              <a:gd name="T49" fmla="*/ 715 h 1980"/>
              <a:gd name="T50" fmla="*/ 1877 w 2070"/>
              <a:gd name="T51" fmla="*/ 741 h 1980"/>
              <a:gd name="T52" fmla="*/ 1873 w 2070"/>
              <a:gd name="T53" fmla="*/ 958 h 1980"/>
              <a:gd name="T54" fmla="*/ 1563 w 2070"/>
              <a:gd name="T55" fmla="*/ 971 h 1980"/>
              <a:gd name="T56" fmla="*/ 1845 w 2070"/>
              <a:gd name="T57" fmla="*/ 1024 h 1980"/>
              <a:gd name="T58" fmla="*/ 1842 w 2070"/>
              <a:gd name="T59" fmla="*/ 1241 h 1980"/>
              <a:gd name="T60" fmla="*/ 1563 w 2070"/>
              <a:gd name="T61" fmla="*/ 1254 h 1980"/>
              <a:gd name="T62" fmla="*/ 1812 w 2070"/>
              <a:gd name="T63" fmla="*/ 1307 h 1980"/>
              <a:gd name="T64" fmla="*/ 1899 w 2070"/>
              <a:gd name="T65" fmla="*/ 1466 h 1980"/>
              <a:gd name="T66" fmla="*/ 1586 w 2070"/>
              <a:gd name="T67" fmla="*/ 1524 h 1980"/>
              <a:gd name="T68" fmla="*/ 1590 w 2070"/>
              <a:gd name="T69" fmla="*/ 1590 h 1980"/>
              <a:gd name="T70" fmla="*/ 1787 w 2070"/>
              <a:gd name="T71" fmla="*/ 1592 h 1980"/>
              <a:gd name="T72" fmla="*/ 1771 w 2070"/>
              <a:gd name="T73" fmla="*/ 1807 h 1980"/>
              <a:gd name="T74" fmla="*/ 1563 w 2070"/>
              <a:gd name="T75" fmla="*/ 1820 h 1980"/>
              <a:gd name="T76" fmla="*/ 1770 w 2070"/>
              <a:gd name="T77" fmla="*/ 1873 h 1980"/>
              <a:gd name="T78" fmla="*/ 1885 w 2070"/>
              <a:gd name="T79" fmla="*/ 1570 h 1980"/>
              <a:gd name="T80" fmla="*/ 1920 w 2070"/>
              <a:gd name="T81" fmla="*/ 1287 h 1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70" h="1980">
                <a:moveTo>
                  <a:pt x="2013" y="1132"/>
                </a:moveTo>
                <a:cubicBezTo>
                  <a:pt x="2013" y="1082"/>
                  <a:pt x="1991" y="1036"/>
                  <a:pt x="1956" y="1003"/>
                </a:cubicBezTo>
                <a:cubicBezTo>
                  <a:pt x="2028" y="965"/>
                  <a:pt x="2070" y="876"/>
                  <a:pt x="2036" y="784"/>
                </a:cubicBezTo>
                <a:cubicBezTo>
                  <a:pt x="2012" y="718"/>
                  <a:pt x="1947" y="675"/>
                  <a:pt x="1877" y="675"/>
                </a:cubicBezTo>
                <a:cubicBezTo>
                  <a:pt x="1376" y="675"/>
                  <a:pt x="1376" y="675"/>
                  <a:pt x="1376" y="675"/>
                </a:cubicBezTo>
                <a:cubicBezTo>
                  <a:pt x="1376" y="354"/>
                  <a:pt x="1376" y="354"/>
                  <a:pt x="1376" y="354"/>
                </a:cubicBezTo>
                <a:cubicBezTo>
                  <a:pt x="1376" y="225"/>
                  <a:pt x="1338" y="131"/>
                  <a:pt x="1265" y="77"/>
                </a:cubicBezTo>
                <a:cubicBezTo>
                  <a:pt x="1161" y="0"/>
                  <a:pt x="1066" y="19"/>
                  <a:pt x="1023" y="29"/>
                </a:cubicBezTo>
                <a:cubicBezTo>
                  <a:pt x="1012" y="31"/>
                  <a:pt x="1001" y="41"/>
                  <a:pt x="993" y="49"/>
                </a:cubicBezTo>
                <a:cubicBezTo>
                  <a:pt x="960" y="78"/>
                  <a:pt x="955" y="112"/>
                  <a:pt x="955" y="125"/>
                </a:cubicBezTo>
                <a:cubicBezTo>
                  <a:pt x="955" y="414"/>
                  <a:pt x="955" y="414"/>
                  <a:pt x="955" y="414"/>
                </a:cubicBezTo>
                <a:cubicBezTo>
                  <a:pt x="955" y="482"/>
                  <a:pt x="933" y="549"/>
                  <a:pt x="890" y="602"/>
                </a:cubicBezTo>
                <a:cubicBezTo>
                  <a:pt x="630" y="933"/>
                  <a:pt x="630" y="933"/>
                  <a:pt x="630" y="933"/>
                </a:cubicBezTo>
                <a:cubicBezTo>
                  <a:pt x="620" y="887"/>
                  <a:pt x="578" y="852"/>
                  <a:pt x="529" y="852"/>
                </a:cubicBezTo>
                <a:cubicBezTo>
                  <a:pt x="97" y="852"/>
                  <a:pt x="97" y="852"/>
                  <a:pt x="97" y="852"/>
                </a:cubicBezTo>
                <a:cubicBezTo>
                  <a:pt x="43" y="852"/>
                  <a:pt x="0" y="895"/>
                  <a:pt x="0" y="949"/>
                </a:cubicBezTo>
                <a:cubicBezTo>
                  <a:pt x="0" y="1066"/>
                  <a:pt x="0" y="1066"/>
                  <a:pt x="0" y="1066"/>
                </a:cubicBezTo>
                <a:cubicBezTo>
                  <a:pt x="0" y="1075"/>
                  <a:pt x="5" y="1084"/>
                  <a:pt x="13" y="1089"/>
                </a:cubicBezTo>
                <a:cubicBezTo>
                  <a:pt x="39" y="1105"/>
                  <a:pt x="66" y="1087"/>
                  <a:pt x="66" y="1062"/>
                </a:cubicBezTo>
                <a:cubicBezTo>
                  <a:pt x="66" y="949"/>
                  <a:pt x="66" y="949"/>
                  <a:pt x="66" y="949"/>
                </a:cubicBezTo>
                <a:cubicBezTo>
                  <a:pt x="66" y="932"/>
                  <a:pt x="80" y="918"/>
                  <a:pt x="97" y="918"/>
                </a:cubicBezTo>
                <a:cubicBezTo>
                  <a:pt x="536" y="918"/>
                  <a:pt x="536" y="918"/>
                  <a:pt x="536" y="918"/>
                </a:cubicBezTo>
                <a:cubicBezTo>
                  <a:pt x="552" y="918"/>
                  <a:pt x="566" y="932"/>
                  <a:pt x="566" y="949"/>
                </a:cubicBezTo>
                <a:cubicBezTo>
                  <a:pt x="566" y="1883"/>
                  <a:pt x="566" y="1883"/>
                  <a:pt x="566" y="1883"/>
                </a:cubicBezTo>
                <a:cubicBezTo>
                  <a:pt x="566" y="1900"/>
                  <a:pt x="552" y="1913"/>
                  <a:pt x="536" y="1913"/>
                </a:cubicBezTo>
                <a:cubicBezTo>
                  <a:pt x="97" y="1913"/>
                  <a:pt x="97" y="1913"/>
                  <a:pt x="97" y="1913"/>
                </a:cubicBezTo>
                <a:cubicBezTo>
                  <a:pt x="80" y="1913"/>
                  <a:pt x="66" y="1900"/>
                  <a:pt x="66" y="1883"/>
                </a:cubicBezTo>
                <a:cubicBezTo>
                  <a:pt x="66" y="1199"/>
                  <a:pt x="66" y="1199"/>
                  <a:pt x="66" y="1199"/>
                </a:cubicBezTo>
                <a:cubicBezTo>
                  <a:pt x="66" y="1190"/>
                  <a:pt x="62" y="1181"/>
                  <a:pt x="53" y="1176"/>
                </a:cubicBezTo>
                <a:cubicBezTo>
                  <a:pt x="27" y="1160"/>
                  <a:pt x="0" y="1178"/>
                  <a:pt x="0" y="1203"/>
                </a:cubicBezTo>
                <a:cubicBezTo>
                  <a:pt x="0" y="1883"/>
                  <a:pt x="0" y="1883"/>
                  <a:pt x="0" y="1883"/>
                </a:cubicBezTo>
                <a:cubicBezTo>
                  <a:pt x="0" y="1936"/>
                  <a:pt x="43" y="1980"/>
                  <a:pt x="97" y="1980"/>
                </a:cubicBezTo>
                <a:cubicBezTo>
                  <a:pt x="536" y="1980"/>
                  <a:pt x="536" y="1980"/>
                  <a:pt x="536" y="1980"/>
                </a:cubicBezTo>
                <a:cubicBezTo>
                  <a:pt x="589" y="1980"/>
                  <a:pt x="633" y="1936"/>
                  <a:pt x="633" y="1883"/>
                </a:cubicBezTo>
                <a:cubicBezTo>
                  <a:pt x="633" y="1788"/>
                  <a:pt x="633" y="1788"/>
                  <a:pt x="633" y="1788"/>
                </a:cubicBezTo>
                <a:cubicBezTo>
                  <a:pt x="798" y="1871"/>
                  <a:pt x="798" y="1871"/>
                  <a:pt x="798" y="1871"/>
                </a:cubicBezTo>
                <a:cubicBezTo>
                  <a:pt x="802" y="1872"/>
                  <a:pt x="806" y="1873"/>
                  <a:pt x="810" y="1873"/>
                </a:cubicBezTo>
                <a:cubicBezTo>
                  <a:pt x="1452" y="1873"/>
                  <a:pt x="1452" y="1873"/>
                  <a:pt x="1452" y="1873"/>
                </a:cubicBezTo>
                <a:cubicBezTo>
                  <a:pt x="1462" y="1873"/>
                  <a:pt x="1471" y="1869"/>
                  <a:pt x="1476" y="1861"/>
                </a:cubicBezTo>
                <a:cubicBezTo>
                  <a:pt x="1492" y="1834"/>
                  <a:pt x="1473" y="1807"/>
                  <a:pt x="1449" y="1807"/>
                </a:cubicBezTo>
                <a:cubicBezTo>
                  <a:pt x="820" y="1807"/>
                  <a:pt x="820" y="1807"/>
                  <a:pt x="820" y="1807"/>
                </a:cubicBezTo>
                <a:cubicBezTo>
                  <a:pt x="633" y="1714"/>
                  <a:pt x="633" y="1714"/>
                  <a:pt x="633" y="1714"/>
                </a:cubicBezTo>
                <a:cubicBezTo>
                  <a:pt x="633" y="1038"/>
                  <a:pt x="633" y="1038"/>
                  <a:pt x="633" y="1038"/>
                </a:cubicBezTo>
                <a:cubicBezTo>
                  <a:pt x="962" y="618"/>
                  <a:pt x="962" y="618"/>
                  <a:pt x="962" y="618"/>
                </a:cubicBezTo>
                <a:cubicBezTo>
                  <a:pt x="1001" y="569"/>
                  <a:pt x="1022" y="508"/>
                  <a:pt x="1022" y="446"/>
                </a:cubicBezTo>
                <a:cubicBezTo>
                  <a:pt x="1022" y="153"/>
                  <a:pt x="1022" y="153"/>
                  <a:pt x="1022" y="153"/>
                </a:cubicBezTo>
                <a:cubicBezTo>
                  <a:pt x="1022" y="119"/>
                  <a:pt x="1049" y="92"/>
                  <a:pt x="1082" y="91"/>
                </a:cubicBezTo>
                <a:cubicBezTo>
                  <a:pt x="1127" y="90"/>
                  <a:pt x="1182" y="97"/>
                  <a:pt x="1225" y="130"/>
                </a:cubicBezTo>
                <a:cubicBezTo>
                  <a:pt x="1281" y="171"/>
                  <a:pt x="1309" y="247"/>
                  <a:pt x="1309" y="354"/>
                </a:cubicBezTo>
                <a:cubicBezTo>
                  <a:pt x="1309" y="715"/>
                  <a:pt x="1309" y="715"/>
                  <a:pt x="1309" y="715"/>
                </a:cubicBezTo>
                <a:cubicBezTo>
                  <a:pt x="1309" y="729"/>
                  <a:pt x="1321" y="741"/>
                  <a:pt x="1335" y="741"/>
                </a:cubicBezTo>
                <a:cubicBezTo>
                  <a:pt x="1877" y="741"/>
                  <a:pt x="1877" y="741"/>
                  <a:pt x="1877" y="741"/>
                </a:cubicBezTo>
                <a:cubicBezTo>
                  <a:pt x="1918" y="741"/>
                  <a:pt x="1956" y="765"/>
                  <a:pt x="1972" y="803"/>
                </a:cubicBezTo>
                <a:cubicBezTo>
                  <a:pt x="2005" y="882"/>
                  <a:pt x="1948" y="958"/>
                  <a:pt x="1873" y="958"/>
                </a:cubicBezTo>
                <a:cubicBezTo>
                  <a:pt x="1586" y="958"/>
                  <a:pt x="1586" y="958"/>
                  <a:pt x="1586" y="958"/>
                </a:cubicBezTo>
                <a:cubicBezTo>
                  <a:pt x="1577" y="958"/>
                  <a:pt x="1568" y="963"/>
                  <a:pt x="1563" y="971"/>
                </a:cubicBezTo>
                <a:cubicBezTo>
                  <a:pt x="1547" y="997"/>
                  <a:pt x="1565" y="1024"/>
                  <a:pt x="1590" y="1024"/>
                </a:cubicBezTo>
                <a:cubicBezTo>
                  <a:pt x="1590" y="1024"/>
                  <a:pt x="1844" y="1024"/>
                  <a:pt x="1845" y="1024"/>
                </a:cubicBezTo>
                <a:cubicBezTo>
                  <a:pt x="1917" y="1029"/>
                  <a:pt x="1970" y="1105"/>
                  <a:pt x="1936" y="1181"/>
                </a:cubicBezTo>
                <a:cubicBezTo>
                  <a:pt x="1919" y="1218"/>
                  <a:pt x="1882" y="1241"/>
                  <a:pt x="1842" y="1241"/>
                </a:cubicBezTo>
                <a:cubicBezTo>
                  <a:pt x="1586" y="1241"/>
                  <a:pt x="1586" y="1241"/>
                  <a:pt x="1586" y="1241"/>
                </a:cubicBezTo>
                <a:cubicBezTo>
                  <a:pt x="1577" y="1241"/>
                  <a:pt x="1568" y="1246"/>
                  <a:pt x="1563" y="1254"/>
                </a:cubicBezTo>
                <a:cubicBezTo>
                  <a:pt x="1547" y="1280"/>
                  <a:pt x="1565" y="1307"/>
                  <a:pt x="1590" y="1307"/>
                </a:cubicBezTo>
                <a:cubicBezTo>
                  <a:pt x="1812" y="1307"/>
                  <a:pt x="1812" y="1307"/>
                  <a:pt x="1812" y="1307"/>
                </a:cubicBezTo>
                <a:cubicBezTo>
                  <a:pt x="1813" y="1308"/>
                  <a:pt x="1815" y="1308"/>
                  <a:pt x="1816" y="1308"/>
                </a:cubicBezTo>
                <a:cubicBezTo>
                  <a:pt x="1886" y="1317"/>
                  <a:pt x="1934" y="1392"/>
                  <a:pt x="1899" y="1466"/>
                </a:cubicBezTo>
                <a:cubicBezTo>
                  <a:pt x="1884" y="1498"/>
                  <a:pt x="1842" y="1524"/>
                  <a:pt x="1806" y="1524"/>
                </a:cubicBezTo>
                <a:cubicBezTo>
                  <a:pt x="1586" y="1524"/>
                  <a:pt x="1586" y="1524"/>
                  <a:pt x="1586" y="1524"/>
                </a:cubicBezTo>
                <a:cubicBezTo>
                  <a:pt x="1577" y="1524"/>
                  <a:pt x="1568" y="1529"/>
                  <a:pt x="1563" y="1537"/>
                </a:cubicBezTo>
                <a:cubicBezTo>
                  <a:pt x="1547" y="1563"/>
                  <a:pt x="1565" y="1590"/>
                  <a:pt x="1590" y="1590"/>
                </a:cubicBezTo>
                <a:cubicBezTo>
                  <a:pt x="1781" y="1590"/>
                  <a:pt x="1781" y="1590"/>
                  <a:pt x="1781" y="1590"/>
                </a:cubicBezTo>
                <a:cubicBezTo>
                  <a:pt x="1783" y="1591"/>
                  <a:pt x="1785" y="1592"/>
                  <a:pt x="1787" y="1592"/>
                </a:cubicBezTo>
                <a:cubicBezTo>
                  <a:pt x="1855" y="1605"/>
                  <a:pt x="1898" y="1680"/>
                  <a:pt x="1863" y="1751"/>
                </a:cubicBezTo>
                <a:cubicBezTo>
                  <a:pt x="1846" y="1786"/>
                  <a:pt x="1810" y="1807"/>
                  <a:pt x="1771" y="1807"/>
                </a:cubicBezTo>
                <a:cubicBezTo>
                  <a:pt x="1586" y="1807"/>
                  <a:pt x="1586" y="1807"/>
                  <a:pt x="1586" y="1807"/>
                </a:cubicBezTo>
                <a:cubicBezTo>
                  <a:pt x="1577" y="1807"/>
                  <a:pt x="1568" y="1812"/>
                  <a:pt x="1563" y="1820"/>
                </a:cubicBezTo>
                <a:cubicBezTo>
                  <a:pt x="1547" y="1846"/>
                  <a:pt x="1565" y="1873"/>
                  <a:pt x="1590" y="1873"/>
                </a:cubicBezTo>
                <a:cubicBezTo>
                  <a:pt x="1770" y="1873"/>
                  <a:pt x="1770" y="1873"/>
                  <a:pt x="1770" y="1873"/>
                </a:cubicBezTo>
                <a:cubicBezTo>
                  <a:pt x="1838" y="1873"/>
                  <a:pt x="1900" y="1834"/>
                  <a:pt x="1927" y="1772"/>
                </a:cubicBezTo>
                <a:cubicBezTo>
                  <a:pt x="1959" y="1695"/>
                  <a:pt x="1937" y="1617"/>
                  <a:pt x="1885" y="1570"/>
                </a:cubicBezTo>
                <a:cubicBezTo>
                  <a:pt x="1940" y="1540"/>
                  <a:pt x="1977" y="1482"/>
                  <a:pt x="1977" y="1416"/>
                </a:cubicBezTo>
                <a:cubicBezTo>
                  <a:pt x="1977" y="1365"/>
                  <a:pt x="1955" y="1319"/>
                  <a:pt x="1920" y="1287"/>
                </a:cubicBezTo>
                <a:cubicBezTo>
                  <a:pt x="1975" y="1257"/>
                  <a:pt x="2013" y="1199"/>
                  <a:pt x="2013" y="11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200" b="0" i="0" u="none" strike="noStrike" kern="1200" cap="none" spc="0" normalizeH="0" baseline="0" noProof="0">
              <a:ln>
                <a:noFill/>
              </a:ln>
              <a:solidFill>
                <a:srgbClr val="000000"/>
              </a:solidFill>
              <a:effectLst/>
              <a:uLnTx/>
              <a:uFillTx/>
              <a:latin typeface="IBM Plex Sans"/>
              <a:ea typeface="+mn-ea"/>
              <a:cs typeface="+mn-cs"/>
            </a:endParaRPr>
          </a:p>
        </p:txBody>
      </p:sp>
      <p:sp>
        <p:nvSpPr>
          <p:cNvPr id="17" name="Freeform 10">
            <a:extLst>
              <a:ext uri="{FF2B5EF4-FFF2-40B4-BE49-F238E27FC236}">
                <a16:creationId xmlns:a16="http://schemas.microsoft.com/office/drawing/2014/main" id="{6704EE3C-9C1A-4339-9256-0351BDB1D41E}"/>
              </a:ext>
            </a:extLst>
          </p:cNvPr>
          <p:cNvSpPr>
            <a:spLocks noEditPoints="1"/>
          </p:cNvSpPr>
          <p:nvPr/>
        </p:nvSpPr>
        <p:spPr bwMode="auto">
          <a:xfrm>
            <a:off x="226079" y="2264198"/>
            <a:ext cx="493600" cy="495116"/>
          </a:xfrm>
          <a:custGeom>
            <a:avLst/>
            <a:gdLst>
              <a:gd name="T0" fmla="*/ 1007 w 2048"/>
              <a:gd name="T1" fmla="*/ 1036 h 2048"/>
              <a:gd name="T2" fmla="*/ 484 w 2048"/>
              <a:gd name="T3" fmla="*/ 649 h 2048"/>
              <a:gd name="T4" fmla="*/ 1150 w 2048"/>
              <a:gd name="T5" fmla="*/ 787 h 2048"/>
              <a:gd name="T6" fmla="*/ 787 w 2048"/>
              <a:gd name="T7" fmla="*/ 488 h 2048"/>
              <a:gd name="T8" fmla="*/ 1008 w 2048"/>
              <a:gd name="T9" fmla="*/ 1253 h 2048"/>
              <a:gd name="T10" fmla="*/ 740 w 2048"/>
              <a:gd name="T11" fmla="*/ 1509 h 2048"/>
              <a:gd name="T12" fmla="*/ 500 w 2048"/>
              <a:gd name="T13" fmla="*/ 1238 h 2048"/>
              <a:gd name="T14" fmla="*/ 335 w 2048"/>
              <a:gd name="T15" fmla="*/ 1074 h 2048"/>
              <a:gd name="T16" fmla="*/ 65 w 2048"/>
              <a:gd name="T17" fmla="*/ 834 h 2048"/>
              <a:gd name="T18" fmla="*/ 337 w 2048"/>
              <a:gd name="T19" fmla="*/ 534 h 2048"/>
              <a:gd name="T20" fmla="*/ 355 w 2048"/>
              <a:gd name="T21" fmla="*/ 239 h 2048"/>
              <a:gd name="T22" fmla="*/ 705 w 2048"/>
              <a:gd name="T23" fmla="*/ 94 h 2048"/>
              <a:gd name="T24" fmla="*/ 926 w 2048"/>
              <a:gd name="T25" fmla="*/ 290 h 2048"/>
              <a:gd name="T26" fmla="*/ 1331 w 2048"/>
              <a:gd name="T27" fmla="*/ 309 h 2048"/>
              <a:gd name="T28" fmla="*/ 1309 w 2048"/>
              <a:gd name="T29" fmla="*/ 670 h 2048"/>
              <a:gd name="T30" fmla="*/ 1309 w 2048"/>
              <a:gd name="T31" fmla="*/ 903 h 2048"/>
              <a:gd name="T32" fmla="*/ 1341 w 2048"/>
              <a:gd name="T33" fmla="*/ 963 h 2048"/>
              <a:gd name="T34" fmla="*/ 1341 w 2048"/>
              <a:gd name="T35" fmla="*/ 611 h 2048"/>
              <a:gd name="T36" fmla="*/ 1183 w 2048"/>
              <a:gd name="T37" fmla="*/ 185 h 2048"/>
              <a:gd name="T38" fmla="*/ 740 w 2048"/>
              <a:gd name="T39" fmla="*/ 0 h 2048"/>
              <a:gd name="T40" fmla="*/ 263 w 2048"/>
              <a:gd name="T41" fmla="*/ 197 h 2048"/>
              <a:gd name="T42" fmla="*/ 81 w 2048"/>
              <a:gd name="T43" fmla="*/ 641 h 2048"/>
              <a:gd name="T44" fmla="*/ 271 w 2048"/>
              <a:gd name="T45" fmla="*/ 1054 h 2048"/>
              <a:gd name="T46" fmla="*/ 520 w 2048"/>
              <a:gd name="T47" fmla="*/ 1303 h 2048"/>
              <a:gd name="T48" fmla="*/ 932 w 2048"/>
              <a:gd name="T49" fmla="*/ 1493 h 2048"/>
              <a:gd name="T50" fmla="*/ 1636 w 2048"/>
              <a:gd name="T51" fmla="*/ 1520 h 2048"/>
              <a:gd name="T52" fmla="*/ 1520 w 2048"/>
              <a:gd name="T53" fmla="*/ 1701 h 2048"/>
              <a:gd name="T54" fmla="*/ 1403 w 2048"/>
              <a:gd name="T55" fmla="*/ 1520 h 2048"/>
              <a:gd name="T56" fmla="*/ 1925 w 2048"/>
              <a:gd name="T57" fmla="*/ 1266 h 2048"/>
              <a:gd name="T58" fmla="*/ 1645 w 2048"/>
              <a:gd name="T59" fmla="*/ 1147 h 2048"/>
              <a:gd name="T60" fmla="*/ 1395 w 2048"/>
              <a:gd name="T61" fmla="*/ 1147 h 2048"/>
              <a:gd name="T62" fmla="*/ 1115 w 2048"/>
              <a:gd name="T63" fmla="*/ 1266 h 2048"/>
              <a:gd name="T64" fmla="*/ 1234 w 2048"/>
              <a:gd name="T65" fmla="*/ 1359 h 2048"/>
              <a:gd name="T66" fmla="*/ 1230 w 2048"/>
              <a:gd name="T67" fmla="*/ 1169 h 2048"/>
              <a:gd name="T68" fmla="*/ 1477 w 2048"/>
              <a:gd name="T69" fmla="*/ 1067 h 2048"/>
              <a:gd name="T70" fmla="*/ 1608 w 2048"/>
              <a:gd name="T71" fmla="*/ 1204 h 2048"/>
              <a:gd name="T72" fmla="*/ 1869 w 2048"/>
              <a:gd name="T73" fmla="*/ 1214 h 2048"/>
              <a:gd name="T74" fmla="*/ 1861 w 2048"/>
              <a:gd name="T75" fmla="*/ 1454 h 2048"/>
              <a:gd name="T76" fmla="*/ 1861 w 2048"/>
              <a:gd name="T77" fmla="*/ 1585 h 2048"/>
              <a:gd name="T78" fmla="*/ 1869 w 2048"/>
              <a:gd name="T79" fmla="*/ 1826 h 2048"/>
              <a:gd name="T80" fmla="*/ 1608 w 2048"/>
              <a:gd name="T81" fmla="*/ 1836 h 2048"/>
              <a:gd name="T82" fmla="*/ 1477 w 2048"/>
              <a:gd name="T83" fmla="*/ 1973 h 2048"/>
              <a:gd name="T84" fmla="*/ 1230 w 2048"/>
              <a:gd name="T85" fmla="*/ 1871 h 2048"/>
              <a:gd name="T86" fmla="*/ 1234 w 2048"/>
              <a:gd name="T87" fmla="*/ 1681 h 2048"/>
              <a:gd name="T88" fmla="*/ 1056 w 2048"/>
              <a:gd name="T89" fmla="*/ 1489 h 2048"/>
              <a:gd name="T90" fmla="*/ 1054 w 2048"/>
              <a:gd name="T91" fmla="*/ 1413 h 2048"/>
              <a:gd name="T92" fmla="*/ 1168 w 2048"/>
              <a:gd name="T93" fmla="*/ 1695 h 2048"/>
              <a:gd name="T94" fmla="*/ 1345 w 2048"/>
              <a:gd name="T95" fmla="*/ 1872 h 2048"/>
              <a:gd name="T96" fmla="*/ 1626 w 2048"/>
              <a:gd name="T97" fmla="*/ 1986 h 2048"/>
              <a:gd name="T98" fmla="*/ 1915 w 2048"/>
              <a:gd name="T99" fmla="*/ 1872 h 2048"/>
              <a:gd name="T100" fmla="*/ 2048 w 2048"/>
              <a:gd name="T101" fmla="*/ 1550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8" h="2048">
                <a:moveTo>
                  <a:pt x="504" y="690"/>
                </a:moveTo>
                <a:cubicBezTo>
                  <a:pt x="493" y="721"/>
                  <a:pt x="488" y="754"/>
                  <a:pt x="488" y="787"/>
                </a:cubicBezTo>
                <a:cubicBezTo>
                  <a:pt x="488" y="952"/>
                  <a:pt x="622" y="1086"/>
                  <a:pt x="787" y="1086"/>
                </a:cubicBezTo>
                <a:cubicBezTo>
                  <a:pt x="850" y="1086"/>
                  <a:pt x="911" y="1066"/>
                  <a:pt x="962" y="1029"/>
                </a:cubicBezTo>
                <a:cubicBezTo>
                  <a:pt x="976" y="1019"/>
                  <a:pt x="997" y="1022"/>
                  <a:pt x="1007" y="1036"/>
                </a:cubicBezTo>
                <a:cubicBezTo>
                  <a:pt x="1018" y="1051"/>
                  <a:pt x="1014" y="1071"/>
                  <a:pt x="1000" y="1081"/>
                </a:cubicBezTo>
                <a:cubicBezTo>
                  <a:pt x="938" y="1127"/>
                  <a:pt x="864" y="1150"/>
                  <a:pt x="787" y="1150"/>
                </a:cubicBezTo>
                <a:cubicBezTo>
                  <a:pt x="586" y="1150"/>
                  <a:pt x="423" y="987"/>
                  <a:pt x="423" y="787"/>
                </a:cubicBezTo>
                <a:cubicBezTo>
                  <a:pt x="423" y="746"/>
                  <a:pt x="430" y="707"/>
                  <a:pt x="443" y="669"/>
                </a:cubicBezTo>
                <a:cubicBezTo>
                  <a:pt x="449" y="652"/>
                  <a:pt x="467" y="643"/>
                  <a:pt x="484" y="649"/>
                </a:cubicBezTo>
                <a:cubicBezTo>
                  <a:pt x="501" y="654"/>
                  <a:pt x="510" y="673"/>
                  <a:pt x="504" y="690"/>
                </a:cubicBezTo>
                <a:close/>
                <a:moveTo>
                  <a:pt x="1067" y="967"/>
                </a:moveTo>
                <a:cubicBezTo>
                  <a:pt x="1072" y="969"/>
                  <a:pt x="1077" y="970"/>
                  <a:pt x="1082" y="970"/>
                </a:cubicBezTo>
                <a:cubicBezTo>
                  <a:pt x="1093" y="970"/>
                  <a:pt x="1105" y="964"/>
                  <a:pt x="1110" y="953"/>
                </a:cubicBezTo>
                <a:cubicBezTo>
                  <a:pt x="1137" y="902"/>
                  <a:pt x="1150" y="844"/>
                  <a:pt x="1150" y="787"/>
                </a:cubicBezTo>
                <a:cubicBezTo>
                  <a:pt x="1150" y="586"/>
                  <a:pt x="987" y="423"/>
                  <a:pt x="787" y="423"/>
                </a:cubicBezTo>
                <a:cubicBezTo>
                  <a:pt x="692" y="423"/>
                  <a:pt x="601" y="460"/>
                  <a:pt x="533" y="527"/>
                </a:cubicBezTo>
                <a:cubicBezTo>
                  <a:pt x="520" y="539"/>
                  <a:pt x="520" y="560"/>
                  <a:pt x="533" y="572"/>
                </a:cubicBezTo>
                <a:cubicBezTo>
                  <a:pt x="545" y="585"/>
                  <a:pt x="565" y="585"/>
                  <a:pt x="578" y="573"/>
                </a:cubicBezTo>
                <a:cubicBezTo>
                  <a:pt x="634" y="518"/>
                  <a:pt x="708" y="488"/>
                  <a:pt x="787" y="488"/>
                </a:cubicBezTo>
                <a:cubicBezTo>
                  <a:pt x="952" y="488"/>
                  <a:pt x="1086" y="622"/>
                  <a:pt x="1086" y="787"/>
                </a:cubicBezTo>
                <a:cubicBezTo>
                  <a:pt x="1086" y="835"/>
                  <a:pt x="1075" y="881"/>
                  <a:pt x="1053" y="923"/>
                </a:cubicBezTo>
                <a:cubicBezTo>
                  <a:pt x="1045" y="939"/>
                  <a:pt x="1051" y="958"/>
                  <a:pt x="1067" y="967"/>
                </a:cubicBezTo>
                <a:close/>
                <a:moveTo>
                  <a:pt x="1051" y="1269"/>
                </a:moveTo>
                <a:cubicBezTo>
                  <a:pt x="1043" y="1253"/>
                  <a:pt x="1024" y="1246"/>
                  <a:pt x="1008" y="1253"/>
                </a:cubicBezTo>
                <a:cubicBezTo>
                  <a:pt x="982" y="1266"/>
                  <a:pt x="954" y="1276"/>
                  <a:pt x="926" y="1284"/>
                </a:cubicBezTo>
                <a:cubicBezTo>
                  <a:pt x="915" y="1287"/>
                  <a:pt x="906" y="1297"/>
                  <a:pt x="903" y="1309"/>
                </a:cubicBezTo>
                <a:cubicBezTo>
                  <a:pt x="869" y="1480"/>
                  <a:pt x="869" y="1480"/>
                  <a:pt x="869" y="1480"/>
                </a:cubicBezTo>
                <a:cubicBezTo>
                  <a:pt x="866" y="1497"/>
                  <a:pt x="851" y="1509"/>
                  <a:pt x="834" y="1509"/>
                </a:cubicBezTo>
                <a:cubicBezTo>
                  <a:pt x="740" y="1509"/>
                  <a:pt x="740" y="1509"/>
                  <a:pt x="740" y="1509"/>
                </a:cubicBezTo>
                <a:cubicBezTo>
                  <a:pt x="723" y="1509"/>
                  <a:pt x="708" y="1497"/>
                  <a:pt x="705" y="1480"/>
                </a:cubicBezTo>
                <a:cubicBezTo>
                  <a:pt x="670" y="1309"/>
                  <a:pt x="670" y="1309"/>
                  <a:pt x="670" y="1309"/>
                </a:cubicBezTo>
                <a:cubicBezTo>
                  <a:pt x="668" y="1297"/>
                  <a:pt x="659" y="1287"/>
                  <a:pt x="647" y="1284"/>
                </a:cubicBezTo>
                <a:cubicBezTo>
                  <a:pt x="608" y="1273"/>
                  <a:pt x="570" y="1257"/>
                  <a:pt x="534" y="1237"/>
                </a:cubicBezTo>
                <a:cubicBezTo>
                  <a:pt x="523" y="1231"/>
                  <a:pt x="510" y="1232"/>
                  <a:pt x="500" y="1238"/>
                </a:cubicBezTo>
                <a:cubicBezTo>
                  <a:pt x="355" y="1335"/>
                  <a:pt x="355" y="1335"/>
                  <a:pt x="355" y="1335"/>
                </a:cubicBezTo>
                <a:cubicBezTo>
                  <a:pt x="341" y="1345"/>
                  <a:pt x="321" y="1343"/>
                  <a:pt x="309" y="1331"/>
                </a:cubicBezTo>
                <a:cubicBezTo>
                  <a:pt x="243" y="1265"/>
                  <a:pt x="243" y="1265"/>
                  <a:pt x="243" y="1265"/>
                </a:cubicBezTo>
                <a:cubicBezTo>
                  <a:pt x="231" y="1252"/>
                  <a:pt x="229" y="1233"/>
                  <a:pt x="239" y="1219"/>
                </a:cubicBezTo>
                <a:cubicBezTo>
                  <a:pt x="335" y="1074"/>
                  <a:pt x="335" y="1074"/>
                  <a:pt x="335" y="1074"/>
                </a:cubicBezTo>
                <a:cubicBezTo>
                  <a:pt x="342" y="1063"/>
                  <a:pt x="343" y="1050"/>
                  <a:pt x="337" y="1040"/>
                </a:cubicBezTo>
                <a:cubicBezTo>
                  <a:pt x="317" y="1004"/>
                  <a:pt x="301" y="966"/>
                  <a:pt x="290" y="926"/>
                </a:cubicBezTo>
                <a:cubicBezTo>
                  <a:pt x="286" y="915"/>
                  <a:pt x="277" y="906"/>
                  <a:pt x="265" y="903"/>
                </a:cubicBezTo>
                <a:cubicBezTo>
                  <a:pt x="94" y="869"/>
                  <a:pt x="94" y="869"/>
                  <a:pt x="94" y="869"/>
                </a:cubicBezTo>
                <a:cubicBezTo>
                  <a:pt x="77" y="866"/>
                  <a:pt x="65" y="851"/>
                  <a:pt x="65" y="834"/>
                </a:cubicBezTo>
                <a:cubicBezTo>
                  <a:pt x="65" y="740"/>
                  <a:pt x="65" y="740"/>
                  <a:pt x="65" y="740"/>
                </a:cubicBezTo>
                <a:cubicBezTo>
                  <a:pt x="65" y="723"/>
                  <a:pt x="77" y="708"/>
                  <a:pt x="94" y="705"/>
                </a:cubicBezTo>
                <a:cubicBezTo>
                  <a:pt x="265" y="670"/>
                  <a:pt x="265" y="670"/>
                  <a:pt x="265" y="670"/>
                </a:cubicBezTo>
                <a:cubicBezTo>
                  <a:pt x="277" y="668"/>
                  <a:pt x="286" y="659"/>
                  <a:pt x="290" y="647"/>
                </a:cubicBezTo>
                <a:cubicBezTo>
                  <a:pt x="301" y="608"/>
                  <a:pt x="317" y="570"/>
                  <a:pt x="337" y="534"/>
                </a:cubicBezTo>
                <a:cubicBezTo>
                  <a:pt x="343" y="523"/>
                  <a:pt x="342" y="510"/>
                  <a:pt x="335" y="500"/>
                </a:cubicBezTo>
                <a:cubicBezTo>
                  <a:pt x="239" y="355"/>
                  <a:pt x="239" y="355"/>
                  <a:pt x="239" y="355"/>
                </a:cubicBezTo>
                <a:cubicBezTo>
                  <a:pt x="229" y="341"/>
                  <a:pt x="231" y="321"/>
                  <a:pt x="243" y="309"/>
                </a:cubicBezTo>
                <a:cubicBezTo>
                  <a:pt x="309" y="243"/>
                  <a:pt x="309" y="243"/>
                  <a:pt x="309" y="243"/>
                </a:cubicBezTo>
                <a:cubicBezTo>
                  <a:pt x="321" y="231"/>
                  <a:pt x="341" y="229"/>
                  <a:pt x="355" y="239"/>
                </a:cubicBezTo>
                <a:cubicBezTo>
                  <a:pt x="500" y="335"/>
                  <a:pt x="500" y="335"/>
                  <a:pt x="500" y="335"/>
                </a:cubicBezTo>
                <a:cubicBezTo>
                  <a:pt x="510" y="342"/>
                  <a:pt x="523" y="343"/>
                  <a:pt x="534" y="337"/>
                </a:cubicBezTo>
                <a:cubicBezTo>
                  <a:pt x="570" y="317"/>
                  <a:pt x="608" y="301"/>
                  <a:pt x="647" y="290"/>
                </a:cubicBezTo>
                <a:cubicBezTo>
                  <a:pt x="659" y="286"/>
                  <a:pt x="668" y="277"/>
                  <a:pt x="670" y="265"/>
                </a:cubicBezTo>
                <a:cubicBezTo>
                  <a:pt x="705" y="94"/>
                  <a:pt x="705" y="94"/>
                  <a:pt x="705" y="94"/>
                </a:cubicBezTo>
                <a:cubicBezTo>
                  <a:pt x="708" y="77"/>
                  <a:pt x="723" y="65"/>
                  <a:pt x="740" y="65"/>
                </a:cubicBezTo>
                <a:cubicBezTo>
                  <a:pt x="834" y="65"/>
                  <a:pt x="834" y="65"/>
                  <a:pt x="834" y="65"/>
                </a:cubicBezTo>
                <a:cubicBezTo>
                  <a:pt x="851" y="65"/>
                  <a:pt x="866" y="77"/>
                  <a:pt x="869" y="94"/>
                </a:cubicBezTo>
                <a:cubicBezTo>
                  <a:pt x="903" y="265"/>
                  <a:pt x="903" y="265"/>
                  <a:pt x="903" y="265"/>
                </a:cubicBezTo>
                <a:cubicBezTo>
                  <a:pt x="906" y="277"/>
                  <a:pt x="915" y="286"/>
                  <a:pt x="926" y="290"/>
                </a:cubicBezTo>
                <a:cubicBezTo>
                  <a:pt x="966" y="301"/>
                  <a:pt x="1004" y="317"/>
                  <a:pt x="1040" y="337"/>
                </a:cubicBezTo>
                <a:cubicBezTo>
                  <a:pt x="1050" y="343"/>
                  <a:pt x="1064" y="342"/>
                  <a:pt x="1074" y="335"/>
                </a:cubicBezTo>
                <a:cubicBezTo>
                  <a:pt x="1219" y="239"/>
                  <a:pt x="1219" y="239"/>
                  <a:pt x="1219" y="239"/>
                </a:cubicBezTo>
                <a:cubicBezTo>
                  <a:pt x="1233" y="229"/>
                  <a:pt x="1252" y="231"/>
                  <a:pt x="1265" y="243"/>
                </a:cubicBezTo>
                <a:cubicBezTo>
                  <a:pt x="1331" y="309"/>
                  <a:pt x="1331" y="309"/>
                  <a:pt x="1331" y="309"/>
                </a:cubicBezTo>
                <a:cubicBezTo>
                  <a:pt x="1343" y="321"/>
                  <a:pt x="1345" y="341"/>
                  <a:pt x="1335" y="355"/>
                </a:cubicBezTo>
                <a:cubicBezTo>
                  <a:pt x="1238" y="500"/>
                  <a:pt x="1238" y="500"/>
                  <a:pt x="1238" y="500"/>
                </a:cubicBezTo>
                <a:cubicBezTo>
                  <a:pt x="1232" y="510"/>
                  <a:pt x="1231" y="523"/>
                  <a:pt x="1237" y="534"/>
                </a:cubicBezTo>
                <a:cubicBezTo>
                  <a:pt x="1257" y="570"/>
                  <a:pt x="1273" y="608"/>
                  <a:pt x="1284" y="647"/>
                </a:cubicBezTo>
                <a:cubicBezTo>
                  <a:pt x="1287" y="659"/>
                  <a:pt x="1297" y="668"/>
                  <a:pt x="1309" y="670"/>
                </a:cubicBezTo>
                <a:cubicBezTo>
                  <a:pt x="1480" y="705"/>
                  <a:pt x="1480" y="705"/>
                  <a:pt x="1480" y="705"/>
                </a:cubicBezTo>
                <a:cubicBezTo>
                  <a:pt x="1497" y="708"/>
                  <a:pt x="1509" y="723"/>
                  <a:pt x="1509" y="740"/>
                </a:cubicBezTo>
                <a:cubicBezTo>
                  <a:pt x="1509" y="834"/>
                  <a:pt x="1509" y="834"/>
                  <a:pt x="1509" y="834"/>
                </a:cubicBezTo>
                <a:cubicBezTo>
                  <a:pt x="1509" y="851"/>
                  <a:pt x="1497" y="866"/>
                  <a:pt x="1480" y="869"/>
                </a:cubicBezTo>
                <a:cubicBezTo>
                  <a:pt x="1309" y="903"/>
                  <a:pt x="1309" y="903"/>
                  <a:pt x="1309" y="903"/>
                </a:cubicBezTo>
                <a:cubicBezTo>
                  <a:pt x="1297" y="906"/>
                  <a:pt x="1287" y="915"/>
                  <a:pt x="1284" y="926"/>
                </a:cubicBezTo>
                <a:cubicBezTo>
                  <a:pt x="1276" y="955"/>
                  <a:pt x="1265" y="983"/>
                  <a:pt x="1253" y="1010"/>
                </a:cubicBezTo>
                <a:cubicBezTo>
                  <a:pt x="1245" y="1026"/>
                  <a:pt x="1252" y="1045"/>
                  <a:pt x="1268" y="1053"/>
                </a:cubicBezTo>
                <a:cubicBezTo>
                  <a:pt x="1284" y="1061"/>
                  <a:pt x="1303" y="1054"/>
                  <a:pt x="1311" y="1038"/>
                </a:cubicBezTo>
                <a:cubicBezTo>
                  <a:pt x="1322" y="1014"/>
                  <a:pt x="1332" y="989"/>
                  <a:pt x="1341" y="963"/>
                </a:cubicBezTo>
                <a:cubicBezTo>
                  <a:pt x="1493" y="932"/>
                  <a:pt x="1493" y="932"/>
                  <a:pt x="1493" y="932"/>
                </a:cubicBezTo>
                <a:cubicBezTo>
                  <a:pt x="1540" y="923"/>
                  <a:pt x="1574" y="881"/>
                  <a:pt x="1574" y="834"/>
                </a:cubicBezTo>
                <a:cubicBezTo>
                  <a:pt x="1574" y="740"/>
                  <a:pt x="1574" y="740"/>
                  <a:pt x="1574" y="740"/>
                </a:cubicBezTo>
                <a:cubicBezTo>
                  <a:pt x="1574" y="692"/>
                  <a:pt x="1540" y="651"/>
                  <a:pt x="1493" y="641"/>
                </a:cubicBezTo>
                <a:cubicBezTo>
                  <a:pt x="1341" y="611"/>
                  <a:pt x="1341" y="611"/>
                  <a:pt x="1341" y="611"/>
                </a:cubicBezTo>
                <a:cubicBezTo>
                  <a:pt x="1331" y="579"/>
                  <a:pt x="1318" y="549"/>
                  <a:pt x="1303" y="520"/>
                </a:cubicBezTo>
                <a:cubicBezTo>
                  <a:pt x="1389" y="391"/>
                  <a:pt x="1389" y="391"/>
                  <a:pt x="1389" y="391"/>
                </a:cubicBezTo>
                <a:cubicBezTo>
                  <a:pt x="1415" y="351"/>
                  <a:pt x="1410" y="297"/>
                  <a:pt x="1376" y="263"/>
                </a:cubicBezTo>
                <a:cubicBezTo>
                  <a:pt x="1310" y="197"/>
                  <a:pt x="1310" y="197"/>
                  <a:pt x="1310" y="197"/>
                </a:cubicBezTo>
                <a:cubicBezTo>
                  <a:pt x="1276" y="164"/>
                  <a:pt x="1223" y="158"/>
                  <a:pt x="1183" y="185"/>
                </a:cubicBezTo>
                <a:cubicBezTo>
                  <a:pt x="1054" y="271"/>
                  <a:pt x="1054" y="271"/>
                  <a:pt x="1054" y="271"/>
                </a:cubicBezTo>
                <a:cubicBezTo>
                  <a:pt x="1025" y="256"/>
                  <a:pt x="994" y="243"/>
                  <a:pt x="963" y="233"/>
                </a:cubicBezTo>
                <a:cubicBezTo>
                  <a:pt x="932" y="81"/>
                  <a:pt x="932" y="81"/>
                  <a:pt x="932" y="81"/>
                </a:cubicBezTo>
                <a:cubicBezTo>
                  <a:pt x="923" y="34"/>
                  <a:pt x="881" y="0"/>
                  <a:pt x="834" y="0"/>
                </a:cubicBezTo>
                <a:cubicBezTo>
                  <a:pt x="740" y="0"/>
                  <a:pt x="740" y="0"/>
                  <a:pt x="740" y="0"/>
                </a:cubicBezTo>
                <a:cubicBezTo>
                  <a:pt x="692" y="0"/>
                  <a:pt x="651" y="34"/>
                  <a:pt x="641" y="81"/>
                </a:cubicBezTo>
                <a:cubicBezTo>
                  <a:pt x="611" y="233"/>
                  <a:pt x="611" y="233"/>
                  <a:pt x="611" y="233"/>
                </a:cubicBezTo>
                <a:cubicBezTo>
                  <a:pt x="579" y="243"/>
                  <a:pt x="549" y="256"/>
                  <a:pt x="520" y="271"/>
                </a:cubicBezTo>
                <a:cubicBezTo>
                  <a:pt x="391" y="185"/>
                  <a:pt x="391" y="185"/>
                  <a:pt x="391" y="185"/>
                </a:cubicBezTo>
                <a:cubicBezTo>
                  <a:pt x="351" y="158"/>
                  <a:pt x="297" y="164"/>
                  <a:pt x="263" y="197"/>
                </a:cubicBezTo>
                <a:cubicBezTo>
                  <a:pt x="197" y="263"/>
                  <a:pt x="197" y="263"/>
                  <a:pt x="197" y="263"/>
                </a:cubicBezTo>
                <a:cubicBezTo>
                  <a:pt x="164" y="297"/>
                  <a:pt x="158" y="351"/>
                  <a:pt x="185" y="391"/>
                </a:cubicBezTo>
                <a:cubicBezTo>
                  <a:pt x="271" y="520"/>
                  <a:pt x="271" y="520"/>
                  <a:pt x="271" y="520"/>
                </a:cubicBezTo>
                <a:cubicBezTo>
                  <a:pt x="256" y="549"/>
                  <a:pt x="243" y="579"/>
                  <a:pt x="233" y="611"/>
                </a:cubicBezTo>
                <a:cubicBezTo>
                  <a:pt x="81" y="641"/>
                  <a:pt x="81" y="641"/>
                  <a:pt x="81" y="641"/>
                </a:cubicBezTo>
                <a:cubicBezTo>
                  <a:pt x="34" y="651"/>
                  <a:pt x="0" y="692"/>
                  <a:pt x="0" y="740"/>
                </a:cubicBezTo>
                <a:cubicBezTo>
                  <a:pt x="0" y="834"/>
                  <a:pt x="0" y="834"/>
                  <a:pt x="0" y="834"/>
                </a:cubicBezTo>
                <a:cubicBezTo>
                  <a:pt x="0" y="881"/>
                  <a:pt x="34" y="923"/>
                  <a:pt x="81" y="932"/>
                </a:cubicBezTo>
                <a:cubicBezTo>
                  <a:pt x="233" y="963"/>
                  <a:pt x="233" y="963"/>
                  <a:pt x="233" y="963"/>
                </a:cubicBezTo>
                <a:cubicBezTo>
                  <a:pt x="243" y="994"/>
                  <a:pt x="256" y="1025"/>
                  <a:pt x="271" y="1054"/>
                </a:cubicBezTo>
                <a:cubicBezTo>
                  <a:pt x="185" y="1183"/>
                  <a:pt x="185" y="1183"/>
                  <a:pt x="185" y="1183"/>
                </a:cubicBezTo>
                <a:cubicBezTo>
                  <a:pt x="158" y="1223"/>
                  <a:pt x="164" y="1276"/>
                  <a:pt x="197" y="1310"/>
                </a:cubicBezTo>
                <a:cubicBezTo>
                  <a:pt x="263" y="1376"/>
                  <a:pt x="263" y="1376"/>
                  <a:pt x="263" y="1376"/>
                </a:cubicBezTo>
                <a:cubicBezTo>
                  <a:pt x="297" y="1410"/>
                  <a:pt x="351" y="1415"/>
                  <a:pt x="391" y="1389"/>
                </a:cubicBezTo>
                <a:cubicBezTo>
                  <a:pt x="520" y="1303"/>
                  <a:pt x="520" y="1303"/>
                  <a:pt x="520" y="1303"/>
                </a:cubicBezTo>
                <a:cubicBezTo>
                  <a:pt x="549" y="1318"/>
                  <a:pt x="579" y="1331"/>
                  <a:pt x="611" y="1341"/>
                </a:cubicBezTo>
                <a:cubicBezTo>
                  <a:pt x="641" y="1493"/>
                  <a:pt x="641" y="1493"/>
                  <a:pt x="641" y="1493"/>
                </a:cubicBezTo>
                <a:cubicBezTo>
                  <a:pt x="651" y="1540"/>
                  <a:pt x="692" y="1574"/>
                  <a:pt x="740" y="1574"/>
                </a:cubicBezTo>
                <a:cubicBezTo>
                  <a:pt x="834" y="1574"/>
                  <a:pt x="834" y="1574"/>
                  <a:pt x="834" y="1574"/>
                </a:cubicBezTo>
                <a:cubicBezTo>
                  <a:pt x="881" y="1574"/>
                  <a:pt x="923" y="1540"/>
                  <a:pt x="932" y="1493"/>
                </a:cubicBezTo>
                <a:cubicBezTo>
                  <a:pt x="963" y="1341"/>
                  <a:pt x="963" y="1341"/>
                  <a:pt x="963" y="1341"/>
                </a:cubicBezTo>
                <a:cubicBezTo>
                  <a:pt x="988" y="1333"/>
                  <a:pt x="1012" y="1323"/>
                  <a:pt x="1036" y="1312"/>
                </a:cubicBezTo>
                <a:cubicBezTo>
                  <a:pt x="1052" y="1304"/>
                  <a:pt x="1059" y="1285"/>
                  <a:pt x="1051" y="1269"/>
                </a:cubicBezTo>
                <a:close/>
                <a:moveTo>
                  <a:pt x="1520" y="1403"/>
                </a:moveTo>
                <a:cubicBezTo>
                  <a:pt x="1584" y="1403"/>
                  <a:pt x="1636" y="1456"/>
                  <a:pt x="1636" y="1520"/>
                </a:cubicBezTo>
                <a:cubicBezTo>
                  <a:pt x="1636" y="1538"/>
                  <a:pt x="1651" y="1552"/>
                  <a:pt x="1669" y="1552"/>
                </a:cubicBezTo>
                <a:cubicBezTo>
                  <a:pt x="1686" y="1552"/>
                  <a:pt x="1701" y="1538"/>
                  <a:pt x="1701" y="1520"/>
                </a:cubicBezTo>
                <a:cubicBezTo>
                  <a:pt x="1701" y="1420"/>
                  <a:pt x="1620" y="1339"/>
                  <a:pt x="1520" y="1339"/>
                </a:cubicBezTo>
                <a:cubicBezTo>
                  <a:pt x="1420" y="1339"/>
                  <a:pt x="1339" y="1420"/>
                  <a:pt x="1339" y="1520"/>
                </a:cubicBezTo>
                <a:cubicBezTo>
                  <a:pt x="1339" y="1620"/>
                  <a:pt x="1420" y="1701"/>
                  <a:pt x="1520" y="1701"/>
                </a:cubicBezTo>
                <a:cubicBezTo>
                  <a:pt x="1560" y="1701"/>
                  <a:pt x="1599" y="1688"/>
                  <a:pt x="1630" y="1663"/>
                </a:cubicBezTo>
                <a:cubicBezTo>
                  <a:pt x="1645" y="1652"/>
                  <a:pt x="1647" y="1632"/>
                  <a:pt x="1636" y="1618"/>
                </a:cubicBezTo>
                <a:cubicBezTo>
                  <a:pt x="1625" y="1604"/>
                  <a:pt x="1605" y="1601"/>
                  <a:pt x="1591" y="1612"/>
                </a:cubicBezTo>
                <a:cubicBezTo>
                  <a:pt x="1570" y="1628"/>
                  <a:pt x="1546" y="1636"/>
                  <a:pt x="1520" y="1636"/>
                </a:cubicBezTo>
                <a:cubicBezTo>
                  <a:pt x="1456" y="1636"/>
                  <a:pt x="1403" y="1584"/>
                  <a:pt x="1403" y="1520"/>
                </a:cubicBezTo>
                <a:cubicBezTo>
                  <a:pt x="1403" y="1456"/>
                  <a:pt x="1456" y="1403"/>
                  <a:pt x="1520" y="1403"/>
                </a:cubicBezTo>
                <a:close/>
                <a:moveTo>
                  <a:pt x="1986" y="1413"/>
                </a:moveTo>
                <a:cubicBezTo>
                  <a:pt x="1892" y="1395"/>
                  <a:pt x="1892" y="1395"/>
                  <a:pt x="1892" y="1395"/>
                </a:cubicBezTo>
                <a:cubicBezTo>
                  <a:pt x="1887" y="1378"/>
                  <a:pt x="1880" y="1361"/>
                  <a:pt x="1872" y="1345"/>
                </a:cubicBezTo>
                <a:cubicBezTo>
                  <a:pt x="1925" y="1266"/>
                  <a:pt x="1925" y="1266"/>
                  <a:pt x="1925" y="1266"/>
                </a:cubicBezTo>
                <a:cubicBezTo>
                  <a:pt x="1945" y="1235"/>
                  <a:pt x="1941" y="1194"/>
                  <a:pt x="1915" y="1168"/>
                </a:cubicBezTo>
                <a:cubicBezTo>
                  <a:pt x="1872" y="1125"/>
                  <a:pt x="1872" y="1125"/>
                  <a:pt x="1872" y="1125"/>
                </a:cubicBezTo>
                <a:cubicBezTo>
                  <a:pt x="1846" y="1099"/>
                  <a:pt x="1805" y="1095"/>
                  <a:pt x="1774" y="1115"/>
                </a:cubicBezTo>
                <a:cubicBezTo>
                  <a:pt x="1695" y="1168"/>
                  <a:pt x="1695" y="1168"/>
                  <a:pt x="1695" y="1168"/>
                </a:cubicBezTo>
                <a:cubicBezTo>
                  <a:pt x="1679" y="1160"/>
                  <a:pt x="1662" y="1153"/>
                  <a:pt x="1645" y="1147"/>
                </a:cubicBezTo>
                <a:cubicBezTo>
                  <a:pt x="1626" y="1054"/>
                  <a:pt x="1626" y="1054"/>
                  <a:pt x="1626" y="1054"/>
                </a:cubicBezTo>
                <a:cubicBezTo>
                  <a:pt x="1619" y="1018"/>
                  <a:pt x="1587" y="992"/>
                  <a:pt x="1550" y="992"/>
                </a:cubicBezTo>
                <a:cubicBezTo>
                  <a:pt x="1489" y="992"/>
                  <a:pt x="1489" y="992"/>
                  <a:pt x="1489" y="992"/>
                </a:cubicBezTo>
                <a:cubicBezTo>
                  <a:pt x="1452" y="992"/>
                  <a:pt x="1420" y="1018"/>
                  <a:pt x="1413" y="1054"/>
                </a:cubicBezTo>
                <a:cubicBezTo>
                  <a:pt x="1395" y="1147"/>
                  <a:pt x="1395" y="1147"/>
                  <a:pt x="1395" y="1147"/>
                </a:cubicBezTo>
                <a:cubicBezTo>
                  <a:pt x="1378" y="1153"/>
                  <a:pt x="1361" y="1160"/>
                  <a:pt x="1345" y="1168"/>
                </a:cubicBezTo>
                <a:cubicBezTo>
                  <a:pt x="1266" y="1115"/>
                  <a:pt x="1266" y="1115"/>
                  <a:pt x="1266" y="1115"/>
                </a:cubicBezTo>
                <a:cubicBezTo>
                  <a:pt x="1235" y="1095"/>
                  <a:pt x="1194" y="1099"/>
                  <a:pt x="1168" y="1125"/>
                </a:cubicBezTo>
                <a:cubicBezTo>
                  <a:pt x="1125" y="1168"/>
                  <a:pt x="1125" y="1168"/>
                  <a:pt x="1125" y="1168"/>
                </a:cubicBezTo>
                <a:cubicBezTo>
                  <a:pt x="1099" y="1194"/>
                  <a:pt x="1095" y="1235"/>
                  <a:pt x="1115" y="1266"/>
                </a:cubicBezTo>
                <a:cubicBezTo>
                  <a:pt x="1168" y="1345"/>
                  <a:pt x="1168" y="1345"/>
                  <a:pt x="1168" y="1345"/>
                </a:cubicBezTo>
                <a:cubicBezTo>
                  <a:pt x="1157" y="1367"/>
                  <a:pt x="1148" y="1390"/>
                  <a:pt x="1141" y="1414"/>
                </a:cubicBezTo>
                <a:cubicBezTo>
                  <a:pt x="1137" y="1431"/>
                  <a:pt x="1147" y="1449"/>
                  <a:pt x="1164" y="1454"/>
                </a:cubicBezTo>
                <a:cubicBezTo>
                  <a:pt x="1181" y="1458"/>
                  <a:pt x="1199" y="1448"/>
                  <a:pt x="1204" y="1431"/>
                </a:cubicBezTo>
                <a:cubicBezTo>
                  <a:pt x="1211" y="1406"/>
                  <a:pt x="1221" y="1382"/>
                  <a:pt x="1234" y="1359"/>
                </a:cubicBezTo>
                <a:cubicBezTo>
                  <a:pt x="1240" y="1348"/>
                  <a:pt x="1239" y="1335"/>
                  <a:pt x="1232" y="1325"/>
                </a:cubicBezTo>
                <a:cubicBezTo>
                  <a:pt x="1169" y="1230"/>
                  <a:pt x="1169" y="1230"/>
                  <a:pt x="1169" y="1230"/>
                </a:cubicBezTo>
                <a:cubicBezTo>
                  <a:pt x="1165" y="1225"/>
                  <a:pt x="1166" y="1218"/>
                  <a:pt x="1170" y="1214"/>
                </a:cubicBezTo>
                <a:cubicBezTo>
                  <a:pt x="1214" y="1170"/>
                  <a:pt x="1214" y="1170"/>
                  <a:pt x="1214" y="1170"/>
                </a:cubicBezTo>
                <a:cubicBezTo>
                  <a:pt x="1218" y="1166"/>
                  <a:pt x="1225" y="1165"/>
                  <a:pt x="1230" y="1169"/>
                </a:cubicBezTo>
                <a:cubicBezTo>
                  <a:pt x="1325" y="1232"/>
                  <a:pt x="1325" y="1232"/>
                  <a:pt x="1325" y="1232"/>
                </a:cubicBezTo>
                <a:cubicBezTo>
                  <a:pt x="1335" y="1239"/>
                  <a:pt x="1348" y="1240"/>
                  <a:pt x="1359" y="1234"/>
                </a:cubicBezTo>
                <a:cubicBezTo>
                  <a:pt x="1382" y="1221"/>
                  <a:pt x="1406" y="1211"/>
                  <a:pt x="1431" y="1204"/>
                </a:cubicBezTo>
                <a:cubicBezTo>
                  <a:pt x="1443" y="1200"/>
                  <a:pt x="1452" y="1191"/>
                  <a:pt x="1454" y="1179"/>
                </a:cubicBezTo>
                <a:cubicBezTo>
                  <a:pt x="1477" y="1067"/>
                  <a:pt x="1477" y="1067"/>
                  <a:pt x="1477" y="1067"/>
                </a:cubicBezTo>
                <a:cubicBezTo>
                  <a:pt x="1478" y="1061"/>
                  <a:pt x="1483" y="1056"/>
                  <a:pt x="1489" y="1056"/>
                </a:cubicBezTo>
                <a:cubicBezTo>
                  <a:pt x="1550" y="1056"/>
                  <a:pt x="1550" y="1056"/>
                  <a:pt x="1550" y="1056"/>
                </a:cubicBezTo>
                <a:cubicBezTo>
                  <a:pt x="1557" y="1056"/>
                  <a:pt x="1562" y="1061"/>
                  <a:pt x="1563" y="1067"/>
                </a:cubicBezTo>
                <a:cubicBezTo>
                  <a:pt x="1585" y="1179"/>
                  <a:pt x="1585" y="1179"/>
                  <a:pt x="1585" y="1179"/>
                </a:cubicBezTo>
                <a:cubicBezTo>
                  <a:pt x="1588" y="1191"/>
                  <a:pt x="1597" y="1200"/>
                  <a:pt x="1608" y="1204"/>
                </a:cubicBezTo>
                <a:cubicBezTo>
                  <a:pt x="1634" y="1211"/>
                  <a:pt x="1658" y="1221"/>
                  <a:pt x="1681" y="1234"/>
                </a:cubicBezTo>
                <a:cubicBezTo>
                  <a:pt x="1691" y="1240"/>
                  <a:pt x="1704" y="1239"/>
                  <a:pt x="1714" y="1232"/>
                </a:cubicBezTo>
                <a:cubicBezTo>
                  <a:pt x="1810" y="1169"/>
                  <a:pt x="1810" y="1169"/>
                  <a:pt x="1810" y="1169"/>
                </a:cubicBezTo>
                <a:cubicBezTo>
                  <a:pt x="1815" y="1165"/>
                  <a:pt x="1822" y="1166"/>
                  <a:pt x="1826" y="1170"/>
                </a:cubicBezTo>
                <a:cubicBezTo>
                  <a:pt x="1869" y="1214"/>
                  <a:pt x="1869" y="1214"/>
                  <a:pt x="1869" y="1214"/>
                </a:cubicBezTo>
                <a:cubicBezTo>
                  <a:pt x="1874" y="1218"/>
                  <a:pt x="1874" y="1225"/>
                  <a:pt x="1871" y="1230"/>
                </a:cubicBezTo>
                <a:cubicBezTo>
                  <a:pt x="1807" y="1325"/>
                  <a:pt x="1807" y="1325"/>
                  <a:pt x="1807" y="1325"/>
                </a:cubicBezTo>
                <a:cubicBezTo>
                  <a:pt x="1801" y="1335"/>
                  <a:pt x="1800" y="1348"/>
                  <a:pt x="1806" y="1359"/>
                </a:cubicBezTo>
                <a:cubicBezTo>
                  <a:pt x="1819" y="1382"/>
                  <a:pt x="1829" y="1406"/>
                  <a:pt x="1836" y="1431"/>
                </a:cubicBezTo>
                <a:cubicBezTo>
                  <a:pt x="1839" y="1443"/>
                  <a:pt x="1849" y="1452"/>
                  <a:pt x="1861" y="1454"/>
                </a:cubicBezTo>
                <a:cubicBezTo>
                  <a:pt x="1973" y="1477"/>
                  <a:pt x="1973" y="1477"/>
                  <a:pt x="1973" y="1477"/>
                </a:cubicBezTo>
                <a:cubicBezTo>
                  <a:pt x="1979" y="1478"/>
                  <a:pt x="1983" y="1483"/>
                  <a:pt x="1983" y="1489"/>
                </a:cubicBezTo>
                <a:cubicBezTo>
                  <a:pt x="1983" y="1550"/>
                  <a:pt x="1983" y="1550"/>
                  <a:pt x="1983" y="1550"/>
                </a:cubicBezTo>
                <a:cubicBezTo>
                  <a:pt x="1983" y="1557"/>
                  <a:pt x="1979" y="1562"/>
                  <a:pt x="1973" y="1563"/>
                </a:cubicBezTo>
                <a:cubicBezTo>
                  <a:pt x="1861" y="1585"/>
                  <a:pt x="1861" y="1585"/>
                  <a:pt x="1861" y="1585"/>
                </a:cubicBezTo>
                <a:cubicBezTo>
                  <a:pt x="1849" y="1588"/>
                  <a:pt x="1839" y="1597"/>
                  <a:pt x="1836" y="1608"/>
                </a:cubicBezTo>
                <a:cubicBezTo>
                  <a:pt x="1829" y="1634"/>
                  <a:pt x="1819" y="1658"/>
                  <a:pt x="1806" y="1681"/>
                </a:cubicBezTo>
                <a:cubicBezTo>
                  <a:pt x="1800" y="1691"/>
                  <a:pt x="1801" y="1704"/>
                  <a:pt x="1807" y="1714"/>
                </a:cubicBezTo>
                <a:cubicBezTo>
                  <a:pt x="1871" y="1810"/>
                  <a:pt x="1871" y="1810"/>
                  <a:pt x="1871" y="1810"/>
                </a:cubicBezTo>
                <a:cubicBezTo>
                  <a:pt x="1874" y="1815"/>
                  <a:pt x="1874" y="1822"/>
                  <a:pt x="1869" y="1826"/>
                </a:cubicBezTo>
                <a:cubicBezTo>
                  <a:pt x="1826" y="1869"/>
                  <a:pt x="1826" y="1869"/>
                  <a:pt x="1826" y="1869"/>
                </a:cubicBezTo>
                <a:cubicBezTo>
                  <a:pt x="1822" y="1874"/>
                  <a:pt x="1815" y="1874"/>
                  <a:pt x="1810" y="1871"/>
                </a:cubicBezTo>
                <a:cubicBezTo>
                  <a:pt x="1714" y="1807"/>
                  <a:pt x="1714" y="1807"/>
                  <a:pt x="1714" y="1807"/>
                </a:cubicBezTo>
                <a:cubicBezTo>
                  <a:pt x="1704" y="1801"/>
                  <a:pt x="1691" y="1800"/>
                  <a:pt x="1681" y="1806"/>
                </a:cubicBezTo>
                <a:cubicBezTo>
                  <a:pt x="1658" y="1819"/>
                  <a:pt x="1634" y="1829"/>
                  <a:pt x="1608" y="1836"/>
                </a:cubicBezTo>
                <a:cubicBezTo>
                  <a:pt x="1597" y="1839"/>
                  <a:pt x="1588" y="1849"/>
                  <a:pt x="1585" y="1861"/>
                </a:cubicBezTo>
                <a:cubicBezTo>
                  <a:pt x="1563" y="1973"/>
                  <a:pt x="1563" y="1973"/>
                  <a:pt x="1563" y="1973"/>
                </a:cubicBezTo>
                <a:cubicBezTo>
                  <a:pt x="1562" y="1979"/>
                  <a:pt x="1557" y="1983"/>
                  <a:pt x="1550" y="1983"/>
                </a:cubicBezTo>
                <a:cubicBezTo>
                  <a:pt x="1489" y="1983"/>
                  <a:pt x="1489" y="1983"/>
                  <a:pt x="1489" y="1983"/>
                </a:cubicBezTo>
                <a:cubicBezTo>
                  <a:pt x="1483" y="1983"/>
                  <a:pt x="1478" y="1979"/>
                  <a:pt x="1477" y="1973"/>
                </a:cubicBezTo>
                <a:cubicBezTo>
                  <a:pt x="1454" y="1861"/>
                  <a:pt x="1454" y="1861"/>
                  <a:pt x="1454" y="1861"/>
                </a:cubicBezTo>
                <a:cubicBezTo>
                  <a:pt x="1452" y="1849"/>
                  <a:pt x="1443" y="1839"/>
                  <a:pt x="1431" y="1836"/>
                </a:cubicBezTo>
                <a:cubicBezTo>
                  <a:pt x="1406" y="1829"/>
                  <a:pt x="1382" y="1819"/>
                  <a:pt x="1359" y="1806"/>
                </a:cubicBezTo>
                <a:cubicBezTo>
                  <a:pt x="1348" y="1800"/>
                  <a:pt x="1335" y="1801"/>
                  <a:pt x="1325" y="1807"/>
                </a:cubicBezTo>
                <a:cubicBezTo>
                  <a:pt x="1230" y="1871"/>
                  <a:pt x="1230" y="1871"/>
                  <a:pt x="1230" y="1871"/>
                </a:cubicBezTo>
                <a:cubicBezTo>
                  <a:pt x="1225" y="1874"/>
                  <a:pt x="1218" y="1874"/>
                  <a:pt x="1214" y="1869"/>
                </a:cubicBezTo>
                <a:cubicBezTo>
                  <a:pt x="1170" y="1826"/>
                  <a:pt x="1170" y="1826"/>
                  <a:pt x="1170" y="1826"/>
                </a:cubicBezTo>
                <a:cubicBezTo>
                  <a:pt x="1166" y="1822"/>
                  <a:pt x="1165" y="1815"/>
                  <a:pt x="1169" y="1810"/>
                </a:cubicBezTo>
                <a:cubicBezTo>
                  <a:pt x="1232" y="1714"/>
                  <a:pt x="1232" y="1714"/>
                  <a:pt x="1232" y="1714"/>
                </a:cubicBezTo>
                <a:cubicBezTo>
                  <a:pt x="1239" y="1704"/>
                  <a:pt x="1240" y="1691"/>
                  <a:pt x="1234" y="1681"/>
                </a:cubicBezTo>
                <a:cubicBezTo>
                  <a:pt x="1221" y="1658"/>
                  <a:pt x="1211" y="1634"/>
                  <a:pt x="1204" y="1608"/>
                </a:cubicBezTo>
                <a:cubicBezTo>
                  <a:pt x="1200" y="1597"/>
                  <a:pt x="1191" y="1588"/>
                  <a:pt x="1179" y="1585"/>
                </a:cubicBezTo>
                <a:cubicBezTo>
                  <a:pt x="1067" y="1563"/>
                  <a:pt x="1067" y="1563"/>
                  <a:pt x="1067" y="1563"/>
                </a:cubicBezTo>
                <a:cubicBezTo>
                  <a:pt x="1061" y="1562"/>
                  <a:pt x="1056" y="1557"/>
                  <a:pt x="1056" y="1550"/>
                </a:cubicBezTo>
                <a:cubicBezTo>
                  <a:pt x="1056" y="1489"/>
                  <a:pt x="1056" y="1489"/>
                  <a:pt x="1056" y="1489"/>
                </a:cubicBezTo>
                <a:cubicBezTo>
                  <a:pt x="1056" y="1483"/>
                  <a:pt x="1061" y="1478"/>
                  <a:pt x="1067" y="1477"/>
                </a:cubicBezTo>
                <a:cubicBezTo>
                  <a:pt x="1073" y="1475"/>
                  <a:pt x="1073" y="1475"/>
                  <a:pt x="1073" y="1475"/>
                </a:cubicBezTo>
                <a:cubicBezTo>
                  <a:pt x="1091" y="1472"/>
                  <a:pt x="1102" y="1455"/>
                  <a:pt x="1099" y="1437"/>
                </a:cubicBezTo>
                <a:cubicBezTo>
                  <a:pt x="1095" y="1420"/>
                  <a:pt x="1078" y="1408"/>
                  <a:pt x="1061" y="1412"/>
                </a:cubicBezTo>
                <a:cubicBezTo>
                  <a:pt x="1054" y="1413"/>
                  <a:pt x="1054" y="1413"/>
                  <a:pt x="1054" y="1413"/>
                </a:cubicBezTo>
                <a:cubicBezTo>
                  <a:pt x="1018" y="1420"/>
                  <a:pt x="992" y="1452"/>
                  <a:pt x="992" y="1489"/>
                </a:cubicBezTo>
                <a:cubicBezTo>
                  <a:pt x="992" y="1550"/>
                  <a:pt x="992" y="1550"/>
                  <a:pt x="992" y="1550"/>
                </a:cubicBezTo>
                <a:cubicBezTo>
                  <a:pt x="992" y="1587"/>
                  <a:pt x="1018" y="1619"/>
                  <a:pt x="1054" y="1626"/>
                </a:cubicBezTo>
                <a:cubicBezTo>
                  <a:pt x="1147" y="1645"/>
                  <a:pt x="1147" y="1645"/>
                  <a:pt x="1147" y="1645"/>
                </a:cubicBezTo>
                <a:cubicBezTo>
                  <a:pt x="1153" y="1662"/>
                  <a:pt x="1160" y="1679"/>
                  <a:pt x="1168" y="1695"/>
                </a:cubicBezTo>
                <a:cubicBezTo>
                  <a:pt x="1115" y="1774"/>
                  <a:pt x="1115" y="1774"/>
                  <a:pt x="1115" y="1774"/>
                </a:cubicBezTo>
                <a:cubicBezTo>
                  <a:pt x="1095" y="1805"/>
                  <a:pt x="1099" y="1846"/>
                  <a:pt x="1125" y="1872"/>
                </a:cubicBezTo>
                <a:cubicBezTo>
                  <a:pt x="1168" y="1915"/>
                  <a:pt x="1168" y="1915"/>
                  <a:pt x="1168" y="1915"/>
                </a:cubicBezTo>
                <a:cubicBezTo>
                  <a:pt x="1194" y="1941"/>
                  <a:pt x="1235" y="1945"/>
                  <a:pt x="1266" y="1925"/>
                </a:cubicBezTo>
                <a:cubicBezTo>
                  <a:pt x="1345" y="1872"/>
                  <a:pt x="1345" y="1872"/>
                  <a:pt x="1345" y="1872"/>
                </a:cubicBezTo>
                <a:cubicBezTo>
                  <a:pt x="1361" y="1880"/>
                  <a:pt x="1378" y="1887"/>
                  <a:pt x="1395" y="1892"/>
                </a:cubicBezTo>
                <a:cubicBezTo>
                  <a:pt x="1413" y="1986"/>
                  <a:pt x="1413" y="1986"/>
                  <a:pt x="1413" y="1986"/>
                </a:cubicBezTo>
                <a:cubicBezTo>
                  <a:pt x="1420" y="2022"/>
                  <a:pt x="1452" y="2048"/>
                  <a:pt x="1489" y="2048"/>
                </a:cubicBezTo>
                <a:cubicBezTo>
                  <a:pt x="1550" y="2048"/>
                  <a:pt x="1550" y="2048"/>
                  <a:pt x="1550" y="2048"/>
                </a:cubicBezTo>
                <a:cubicBezTo>
                  <a:pt x="1587" y="2048"/>
                  <a:pt x="1619" y="2022"/>
                  <a:pt x="1626" y="1986"/>
                </a:cubicBezTo>
                <a:cubicBezTo>
                  <a:pt x="1645" y="1892"/>
                  <a:pt x="1645" y="1892"/>
                  <a:pt x="1645" y="1892"/>
                </a:cubicBezTo>
                <a:cubicBezTo>
                  <a:pt x="1662" y="1887"/>
                  <a:pt x="1679" y="1880"/>
                  <a:pt x="1695" y="1872"/>
                </a:cubicBezTo>
                <a:cubicBezTo>
                  <a:pt x="1774" y="1925"/>
                  <a:pt x="1774" y="1925"/>
                  <a:pt x="1774" y="1925"/>
                </a:cubicBezTo>
                <a:cubicBezTo>
                  <a:pt x="1805" y="1945"/>
                  <a:pt x="1846" y="1941"/>
                  <a:pt x="1872" y="1915"/>
                </a:cubicBezTo>
                <a:cubicBezTo>
                  <a:pt x="1915" y="1872"/>
                  <a:pt x="1915" y="1872"/>
                  <a:pt x="1915" y="1872"/>
                </a:cubicBezTo>
                <a:cubicBezTo>
                  <a:pt x="1941" y="1846"/>
                  <a:pt x="1945" y="1805"/>
                  <a:pt x="1925" y="1774"/>
                </a:cubicBezTo>
                <a:cubicBezTo>
                  <a:pt x="1872" y="1695"/>
                  <a:pt x="1872" y="1695"/>
                  <a:pt x="1872" y="1695"/>
                </a:cubicBezTo>
                <a:cubicBezTo>
                  <a:pt x="1880" y="1679"/>
                  <a:pt x="1887" y="1662"/>
                  <a:pt x="1892" y="1645"/>
                </a:cubicBezTo>
                <a:cubicBezTo>
                  <a:pt x="1986" y="1626"/>
                  <a:pt x="1986" y="1626"/>
                  <a:pt x="1986" y="1626"/>
                </a:cubicBezTo>
                <a:cubicBezTo>
                  <a:pt x="2022" y="1619"/>
                  <a:pt x="2048" y="1587"/>
                  <a:pt x="2048" y="1550"/>
                </a:cubicBezTo>
                <a:cubicBezTo>
                  <a:pt x="2048" y="1489"/>
                  <a:pt x="2048" y="1489"/>
                  <a:pt x="2048" y="1489"/>
                </a:cubicBezTo>
                <a:cubicBezTo>
                  <a:pt x="2048" y="1452"/>
                  <a:pt x="2022" y="1420"/>
                  <a:pt x="1986" y="14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dirty="0">
              <a:ln>
                <a:noFill/>
              </a:ln>
              <a:solidFill>
                <a:srgbClr val="000000"/>
              </a:solidFill>
              <a:effectLst/>
              <a:uLnTx/>
              <a:uFillTx/>
              <a:latin typeface="IBM Plex Sans"/>
              <a:ea typeface="+mn-ea"/>
              <a:cs typeface="+mn-cs"/>
            </a:endParaRPr>
          </a:p>
        </p:txBody>
      </p:sp>
      <p:grpSp>
        <p:nvGrpSpPr>
          <p:cNvPr id="18" name="Group 4">
            <a:extLst>
              <a:ext uri="{FF2B5EF4-FFF2-40B4-BE49-F238E27FC236}">
                <a16:creationId xmlns:a16="http://schemas.microsoft.com/office/drawing/2014/main" id="{618471EF-5777-4F73-A020-38B2853A0990}"/>
              </a:ext>
            </a:extLst>
          </p:cNvPr>
          <p:cNvGrpSpPr>
            <a:grpSpLocks noChangeAspect="1"/>
          </p:cNvGrpSpPr>
          <p:nvPr/>
        </p:nvGrpSpPr>
        <p:grpSpPr bwMode="auto">
          <a:xfrm>
            <a:off x="236311" y="1019536"/>
            <a:ext cx="425956" cy="412794"/>
            <a:chOff x="1915" y="301"/>
            <a:chExt cx="1780" cy="1725"/>
          </a:xfrm>
          <a:solidFill>
            <a:schemeClr val="accent2"/>
          </a:solidFill>
        </p:grpSpPr>
        <p:sp>
          <p:nvSpPr>
            <p:cNvPr id="19" name="Freeform 5">
              <a:extLst>
                <a:ext uri="{FF2B5EF4-FFF2-40B4-BE49-F238E27FC236}">
                  <a16:creationId xmlns:a16="http://schemas.microsoft.com/office/drawing/2014/main" id="{5608095B-076D-4EC7-8635-D8B199F66330}"/>
                </a:ext>
              </a:extLst>
            </p:cNvPr>
            <p:cNvSpPr>
              <a:spLocks noEditPoints="1"/>
            </p:cNvSpPr>
            <p:nvPr/>
          </p:nvSpPr>
          <p:spPr bwMode="auto">
            <a:xfrm>
              <a:off x="1915" y="301"/>
              <a:ext cx="1667" cy="1725"/>
            </a:xfrm>
            <a:custGeom>
              <a:avLst/>
              <a:gdLst>
                <a:gd name="T0" fmla="*/ 498 w 1892"/>
                <a:gd name="T1" fmla="*/ 1006 h 1950"/>
                <a:gd name="T2" fmla="*/ 1494 w 1892"/>
                <a:gd name="T3" fmla="*/ 1006 h 1950"/>
                <a:gd name="T4" fmla="*/ 1892 w 1892"/>
                <a:gd name="T5" fmla="*/ 622 h 1950"/>
                <a:gd name="T6" fmla="*/ 1494 w 1892"/>
                <a:gd name="T7" fmla="*/ 238 h 1950"/>
                <a:gd name="T8" fmla="*/ 522 w 1892"/>
                <a:gd name="T9" fmla="*/ 238 h 1950"/>
                <a:gd name="T10" fmla="*/ 216 w 1892"/>
                <a:gd name="T11" fmla="*/ 31 h 1950"/>
                <a:gd name="T12" fmla="*/ 16 w 1892"/>
                <a:gd name="T13" fmla="*/ 312 h 1950"/>
                <a:gd name="T14" fmla="*/ 313 w 1892"/>
                <a:gd name="T15" fmla="*/ 534 h 1950"/>
                <a:gd name="T16" fmla="*/ 523 w 1892"/>
                <a:gd name="T17" fmla="*/ 324 h 1950"/>
                <a:gd name="T18" fmla="*/ 1494 w 1892"/>
                <a:gd name="T19" fmla="*/ 324 h 1950"/>
                <a:gd name="T20" fmla="*/ 1807 w 1892"/>
                <a:gd name="T21" fmla="*/ 622 h 1950"/>
                <a:gd name="T22" fmla="*/ 1494 w 1892"/>
                <a:gd name="T23" fmla="*/ 921 h 1950"/>
                <a:gd name="T24" fmla="*/ 498 w 1892"/>
                <a:gd name="T25" fmla="*/ 921 h 1950"/>
                <a:gd name="T26" fmla="*/ 100 w 1892"/>
                <a:gd name="T27" fmla="*/ 1305 h 1950"/>
                <a:gd name="T28" fmla="*/ 498 w 1892"/>
                <a:gd name="T29" fmla="*/ 1689 h 1950"/>
                <a:gd name="T30" fmla="*/ 1191 w 1892"/>
                <a:gd name="T31" fmla="*/ 1689 h 1950"/>
                <a:gd name="T32" fmla="*/ 1008 w 1892"/>
                <a:gd name="T33" fmla="*/ 1872 h 1950"/>
                <a:gd name="T34" fmla="*/ 1008 w 1892"/>
                <a:gd name="T35" fmla="*/ 1932 h 1950"/>
                <a:gd name="T36" fmla="*/ 1068 w 1892"/>
                <a:gd name="T37" fmla="*/ 1933 h 1950"/>
                <a:gd name="T38" fmla="*/ 1069 w 1892"/>
                <a:gd name="T39" fmla="*/ 1932 h 1950"/>
                <a:gd name="T40" fmla="*/ 1324 w 1892"/>
                <a:gd name="T41" fmla="*/ 1677 h 1950"/>
                <a:gd name="T42" fmla="*/ 1324 w 1892"/>
                <a:gd name="T43" fmla="*/ 1616 h 1950"/>
                <a:gd name="T44" fmla="*/ 1324 w 1892"/>
                <a:gd name="T45" fmla="*/ 1616 h 1950"/>
                <a:gd name="T46" fmla="*/ 1069 w 1892"/>
                <a:gd name="T47" fmla="*/ 1360 h 1950"/>
                <a:gd name="T48" fmla="*/ 1008 w 1892"/>
                <a:gd name="T49" fmla="*/ 1361 h 1950"/>
                <a:gd name="T50" fmla="*/ 1008 w 1892"/>
                <a:gd name="T51" fmla="*/ 1421 h 1950"/>
                <a:gd name="T52" fmla="*/ 1192 w 1892"/>
                <a:gd name="T53" fmla="*/ 1604 h 1950"/>
                <a:gd name="T54" fmla="*/ 498 w 1892"/>
                <a:gd name="T55" fmla="*/ 1604 h 1950"/>
                <a:gd name="T56" fmla="*/ 185 w 1892"/>
                <a:gd name="T57" fmla="*/ 1305 h 1950"/>
                <a:gd name="T58" fmla="*/ 498 w 1892"/>
                <a:gd name="T59" fmla="*/ 1006 h 1950"/>
                <a:gd name="T60" fmla="*/ 270 w 1892"/>
                <a:gd name="T61" fmla="*/ 451 h 1950"/>
                <a:gd name="T62" fmla="*/ 100 w 1892"/>
                <a:gd name="T63" fmla="*/ 281 h 1950"/>
                <a:gd name="T64" fmla="*/ 270 w 1892"/>
                <a:gd name="T65" fmla="*/ 110 h 1950"/>
                <a:gd name="T66" fmla="*/ 441 w 1892"/>
                <a:gd name="T67" fmla="*/ 281 h 1950"/>
                <a:gd name="T68" fmla="*/ 270 w 1892"/>
                <a:gd name="T69" fmla="*/ 451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2" h="1950">
                  <a:moveTo>
                    <a:pt x="498" y="1006"/>
                  </a:moveTo>
                  <a:cubicBezTo>
                    <a:pt x="1494" y="1006"/>
                    <a:pt x="1494" y="1006"/>
                    <a:pt x="1494" y="1006"/>
                  </a:cubicBezTo>
                  <a:cubicBezTo>
                    <a:pt x="1713" y="1006"/>
                    <a:pt x="1892" y="834"/>
                    <a:pt x="1892" y="622"/>
                  </a:cubicBezTo>
                  <a:cubicBezTo>
                    <a:pt x="1892" y="411"/>
                    <a:pt x="1713" y="238"/>
                    <a:pt x="1494" y="238"/>
                  </a:cubicBezTo>
                  <a:cubicBezTo>
                    <a:pt x="522" y="238"/>
                    <a:pt x="522" y="238"/>
                    <a:pt x="522" y="238"/>
                  </a:cubicBezTo>
                  <a:cubicBezTo>
                    <a:pt x="498" y="95"/>
                    <a:pt x="359" y="0"/>
                    <a:pt x="216" y="31"/>
                  </a:cubicBezTo>
                  <a:cubicBezTo>
                    <a:pt x="87" y="59"/>
                    <a:pt x="0" y="182"/>
                    <a:pt x="16" y="312"/>
                  </a:cubicBezTo>
                  <a:cubicBezTo>
                    <a:pt x="34" y="458"/>
                    <a:pt x="170" y="557"/>
                    <a:pt x="313" y="534"/>
                  </a:cubicBezTo>
                  <a:cubicBezTo>
                    <a:pt x="421" y="515"/>
                    <a:pt x="505" y="431"/>
                    <a:pt x="523" y="324"/>
                  </a:cubicBezTo>
                  <a:cubicBezTo>
                    <a:pt x="1494" y="324"/>
                    <a:pt x="1494" y="324"/>
                    <a:pt x="1494" y="324"/>
                  </a:cubicBezTo>
                  <a:cubicBezTo>
                    <a:pt x="1666" y="324"/>
                    <a:pt x="1807" y="458"/>
                    <a:pt x="1807" y="622"/>
                  </a:cubicBezTo>
                  <a:cubicBezTo>
                    <a:pt x="1807" y="787"/>
                    <a:pt x="1666" y="921"/>
                    <a:pt x="1494" y="921"/>
                  </a:cubicBezTo>
                  <a:cubicBezTo>
                    <a:pt x="498" y="921"/>
                    <a:pt x="498" y="921"/>
                    <a:pt x="498" y="921"/>
                  </a:cubicBezTo>
                  <a:cubicBezTo>
                    <a:pt x="278" y="921"/>
                    <a:pt x="100" y="1093"/>
                    <a:pt x="100" y="1305"/>
                  </a:cubicBezTo>
                  <a:cubicBezTo>
                    <a:pt x="100" y="1517"/>
                    <a:pt x="278" y="1689"/>
                    <a:pt x="498" y="1689"/>
                  </a:cubicBezTo>
                  <a:cubicBezTo>
                    <a:pt x="1191" y="1689"/>
                    <a:pt x="1191" y="1689"/>
                    <a:pt x="1191" y="1689"/>
                  </a:cubicBezTo>
                  <a:cubicBezTo>
                    <a:pt x="1008" y="1872"/>
                    <a:pt x="1008" y="1872"/>
                    <a:pt x="1008" y="1872"/>
                  </a:cubicBezTo>
                  <a:cubicBezTo>
                    <a:pt x="991" y="1888"/>
                    <a:pt x="991" y="1916"/>
                    <a:pt x="1008" y="1932"/>
                  </a:cubicBezTo>
                  <a:cubicBezTo>
                    <a:pt x="1024" y="1949"/>
                    <a:pt x="1051" y="1950"/>
                    <a:pt x="1068" y="1933"/>
                  </a:cubicBezTo>
                  <a:cubicBezTo>
                    <a:pt x="1068" y="1933"/>
                    <a:pt x="1069" y="1932"/>
                    <a:pt x="1069" y="1932"/>
                  </a:cubicBezTo>
                  <a:cubicBezTo>
                    <a:pt x="1324" y="1677"/>
                    <a:pt x="1324" y="1677"/>
                    <a:pt x="1324" y="1677"/>
                  </a:cubicBezTo>
                  <a:cubicBezTo>
                    <a:pt x="1341" y="1660"/>
                    <a:pt x="1341" y="1633"/>
                    <a:pt x="1324" y="1616"/>
                  </a:cubicBezTo>
                  <a:cubicBezTo>
                    <a:pt x="1324" y="1616"/>
                    <a:pt x="1324" y="1616"/>
                    <a:pt x="1324" y="1616"/>
                  </a:cubicBezTo>
                  <a:cubicBezTo>
                    <a:pt x="1069" y="1360"/>
                    <a:pt x="1069" y="1360"/>
                    <a:pt x="1069" y="1360"/>
                  </a:cubicBezTo>
                  <a:cubicBezTo>
                    <a:pt x="1052" y="1344"/>
                    <a:pt x="1025" y="1345"/>
                    <a:pt x="1008" y="1361"/>
                  </a:cubicBezTo>
                  <a:cubicBezTo>
                    <a:pt x="993" y="1378"/>
                    <a:pt x="993" y="1404"/>
                    <a:pt x="1008" y="1421"/>
                  </a:cubicBezTo>
                  <a:cubicBezTo>
                    <a:pt x="1192" y="1604"/>
                    <a:pt x="1192" y="1604"/>
                    <a:pt x="1192" y="1604"/>
                  </a:cubicBezTo>
                  <a:cubicBezTo>
                    <a:pt x="498" y="1604"/>
                    <a:pt x="498" y="1604"/>
                    <a:pt x="498" y="1604"/>
                  </a:cubicBezTo>
                  <a:cubicBezTo>
                    <a:pt x="325" y="1604"/>
                    <a:pt x="185" y="1470"/>
                    <a:pt x="185" y="1305"/>
                  </a:cubicBezTo>
                  <a:cubicBezTo>
                    <a:pt x="185" y="1140"/>
                    <a:pt x="325" y="1006"/>
                    <a:pt x="498" y="1006"/>
                  </a:cubicBezTo>
                  <a:close/>
                  <a:moveTo>
                    <a:pt x="270" y="451"/>
                  </a:moveTo>
                  <a:cubicBezTo>
                    <a:pt x="176" y="451"/>
                    <a:pt x="100" y="375"/>
                    <a:pt x="100" y="281"/>
                  </a:cubicBezTo>
                  <a:cubicBezTo>
                    <a:pt x="100" y="186"/>
                    <a:pt x="176" y="110"/>
                    <a:pt x="270" y="110"/>
                  </a:cubicBezTo>
                  <a:cubicBezTo>
                    <a:pt x="365" y="110"/>
                    <a:pt x="441" y="186"/>
                    <a:pt x="441" y="281"/>
                  </a:cubicBezTo>
                  <a:cubicBezTo>
                    <a:pt x="441" y="375"/>
                    <a:pt x="365" y="451"/>
                    <a:pt x="270" y="4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0" name="Freeform 6">
              <a:extLst>
                <a:ext uri="{FF2B5EF4-FFF2-40B4-BE49-F238E27FC236}">
                  <a16:creationId xmlns:a16="http://schemas.microsoft.com/office/drawing/2014/main" id="{0632320D-0AEE-410B-9852-8A191684DA7B}"/>
                </a:ext>
              </a:extLst>
            </p:cNvPr>
            <p:cNvSpPr>
              <a:spLocks noEditPoints="1"/>
            </p:cNvSpPr>
            <p:nvPr/>
          </p:nvSpPr>
          <p:spPr bwMode="auto">
            <a:xfrm>
              <a:off x="3244" y="1530"/>
              <a:ext cx="451" cy="45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27 h 512"/>
                <a:gd name="T12" fmla="*/ 85 w 512"/>
                <a:gd name="T13" fmla="*/ 256 h 512"/>
                <a:gd name="T14" fmla="*/ 256 w 512"/>
                <a:gd name="T15" fmla="*/ 85 h 512"/>
                <a:gd name="T16" fmla="*/ 426 w 512"/>
                <a:gd name="T17" fmla="*/ 256 h 512"/>
                <a:gd name="T18" fmla="*/ 256 w 512"/>
                <a:gd name="T19" fmla="*/ 4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256" y="427"/>
                  </a:moveTo>
                  <a:cubicBezTo>
                    <a:pt x="161" y="427"/>
                    <a:pt x="85" y="350"/>
                    <a:pt x="85" y="256"/>
                  </a:cubicBezTo>
                  <a:cubicBezTo>
                    <a:pt x="85" y="162"/>
                    <a:pt x="161" y="85"/>
                    <a:pt x="256" y="85"/>
                  </a:cubicBezTo>
                  <a:cubicBezTo>
                    <a:pt x="350" y="85"/>
                    <a:pt x="426" y="162"/>
                    <a:pt x="426" y="256"/>
                  </a:cubicBezTo>
                  <a:cubicBezTo>
                    <a:pt x="426" y="350"/>
                    <a:pt x="350" y="427"/>
                    <a:pt x="256" y="4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0000"/>
                </a:solidFill>
                <a:effectLst/>
                <a:uLnTx/>
                <a:uFillTx/>
                <a:latin typeface="IBM Plex Sans"/>
                <a:ea typeface="+mn-ea"/>
                <a:cs typeface="+mn-cs"/>
              </a:endParaRPr>
            </a:p>
          </p:txBody>
        </p:sp>
      </p:grpSp>
      <p:pic>
        <p:nvPicPr>
          <p:cNvPr id="15" name="Picture 5">
            <a:extLst>
              <a:ext uri="{FF2B5EF4-FFF2-40B4-BE49-F238E27FC236}">
                <a16:creationId xmlns:a16="http://schemas.microsoft.com/office/drawing/2014/main" id="{D35654F4-A140-9C41-9240-9B7043CAE3DE}"/>
              </a:ext>
            </a:extLst>
          </p:cNvPr>
          <p:cNvPicPr>
            <a:picLocks/>
          </p:cNvPicPr>
          <p:nvPr/>
        </p:nvPicPr>
        <p:blipFill>
          <a:blip r:embed="rId4" cstate="email">
            <a:extLst>
              <a:ext uri="{28A0092B-C50C-407E-A947-70E740481C1C}">
                <a14:useLocalDpi xmlns:a14="http://schemas.microsoft.com/office/drawing/2010/main"/>
              </a:ext>
            </a:extLst>
          </a:blip>
          <a:stretch>
            <a:fillRect/>
          </a:stretch>
        </p:blipFill>
        <p:spPr bwMode="auto">
          <a:xfrm>
            <a:off x="5212080" y="1585898"/>
            <a:ext cx="3369212" cy="1920240"/>
          </a:xfrm>
          <a:prstGeom prst="rect">
            <a:avLst/>
          </a:prstGeom>
          <a:noFill/>
          <a:ln>
            <a:noFill/>
          </a:ln>
          <a:effectLst>
            <a:outerShdw blurRad="50800" dist="38100" dir="2700000" algn="t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Slide Number Placeholder 2">
            <a:extLst>
              <a:ext uri="{FF2B5EF4-FFF2-40B4-BE49-F238E27FC236}">
                <a16:creationId xmlns:a16="http://schemas.microsoft.com/office/drawing/2014/main" id="{4166AA0D-36FB-654C-994A-8689D5F988E6}"/>
              </a:ext>
            </a:extLst>
          </p:cNvPr>
          <p:cNvSpPr txBox="1">
            <a:spLocks/>
          </p:cNvSpPr>
          <p:nvPr/>
        </p:nvSpPr>
        <p:spPr>
          <a:xfrm>
            <a:off x="6858000" y="4826480"/>
            <a:ext cx="2057400" cy="137160"/>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3FD999D4-B456-9943-89B7-30D56181CE18}" type="slidenum">
              <a:rPr kumimoji="0" lang="en-US" sz="600" b="0" i="0" u="none" strike="noStrike" kern="1200" cap="none" spc="0" normalizeH="0" baseline="0" noProof="0">
                <a:ln>
                  <a:noFill/>
                </a:ln>
                <a:solidFill>
                  <a:srgbClr val="000000"/>
                </a:solidFill>
                <a:effectLst/>
                <a:uLnTx/>
                <a:uFillTx/>
                <a:latin typeface="IBM Plex Sans"/>
                <a:ea typeface="+mn-ea"/>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US" sz="600" b="0" i="0" u="none" strike="noStrike" kern="1200" cap="none" spc="0" normalizeH="0" baseline="0" noProof="0">
              <a:ln>
                <a:noFill/>
              </a:ln>
              <a:solidFill>
                <a:srgbClr val="000000"/>
              </a:solidFill>
              <a:effectLst/>
              <a:uLnTx/>
              <a:uFillTx/>
              <a:latin typeface="IBM Plex Sans"/>
              <a:ea typeface="+mn-ea"/>
              <a:cs typeface="Arial" charset="0"/>
            </a:endParaRPr>
          </a:p>
        </p:txBody>
      </p:sp>
      <p:pic>
        <p:nvPicPr>
          <p:cNvPr id="22" name="Picture 21">
            <a:extLst>
              <a:ext uri="{FF2B5EF4-FFF2-40B4-BE49-F238E27FC236}">
                <a16:creationId xmlns:a16="http://schemas.microsoft.com/office/drawing/2014/main" id="{99E9FA7C-85EE-4BE2-8E2B-5FEC7555D71C}"/>
              </a:ext>
            </a:extLst>
          </p:cNvPr>
          <p:cNvPicPr>
            <a:picLocks noChangeAspect="1"/>
          </p:cNvPicPr>
          <p:nvPr/>
        </p:nvPicPr>
        <p:blipFill>
          <a:blip r:embed="rId5"/>
          <a:stretch>
            <a:fillRect/>
          </a:stretch>
        </p:blipFill>
        <p:spPr>
          <a:xfrm>
            <a:off x="258136" y="4777660"/>
            <a:ext cx="4170025" cy="188992"/>
          </a:xfrm>
          <a:prstGeom prst="rect">
            <a:avLst/>
          </a:prstGeom>
        </p:spPr>
      </p:pic>
    </p:spTree>
    <p:extLst>
      <p:ext uri="{BB962C8B-B14F-4D97-AF65-F5344CB8AC3E}">
        <p14:creationId xmlns:p14="http://schemas.microsoft.com/office/powerpoint/2010/main" val="14587560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C2A34E-8052-C545-97E8-2F248FC54C3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43815" y="1163445"/>
            <a:ext cx="5000187" cy="2799849"/>
          </a:xfrm>
          <a:prstGeom prst="rect">
            <a:avLst/>
          </a:prstGeom>
        </p:spPr>
      </p:pic>
      <p:sp>
        <p:nvSpPr>
          <p:cNvPr id="2" name="Title 1"/>
          <p:cNvSpPr>
            <a:spLocks noGrp="1"/>
          </p:cNvSpPr>
          <p:nvPr>
            <p:ph type="title"/>
          </p:nvPr>
        </p:nvSpPr>
        <p:spPr>
          <a:xfrm>
            <a:off x="228599" y="201168"/>
            <a:ext cx="4571999" cy="640080"/>
          </a:xfrm>
        </p:spPr>
        <p:txBody>
          <a:bodyPr/>
          <a:lstStyle/>
          <a:p>
            <a:r>
              <a:rPr lang="en-US" dirty="0"/>
              <a:t>Maximo Assist: Peer Guidance</a:t>
            </a:r>
            <a:endParaRPr lang="en-US" sz="1200" dirty="0">
              <a:solidFill>
                <a:schemeClr val="accent2"/>
              </a:solidFill>
              <a:latin typeface="+mn-lt"/>
            </a:endParaRPr>
          </a:p>
        </p:txBody>
      </p:sp>
      <p:sp>
        <p:nvSpPr>
          <p:cNvPr id="10" name="Text Placeholder 6"/>
          <p:cNvSpPr>
            <a:spLocks noGrp="1"/>
          </p:cNvSpPr>
          <p:nvPr>
            <p:ph type="body" sz="quarter" idx="13"/>
          </p:nvPr>
        </p:nvSpPr>
        <p:spPr>
          <a:xfrm>
            <a:off x="775776" y="927599"/>
            <a:ext cx="3903469" cy="871555"/>
          </a:xfrm>
          <a:prstGeom prst="rect">
            <a:avLst/>
          </a:prstGeom>
        </p:spPr>
        <p:txBody>
          <a:bodyPr/>
          <a:lstStyle/>
          <a:p>
            <a:pPr marL="0" lvl="1" indent="0">
              <a:spcBef>
                <a:spcPts val="0"/>
              </a:spcBef>
              <a:buNone/>
            </a:pPr>
            <a:r>
              <a:rPr lang="en-US" sz="1200" dirty="0">
                <a:solidFill>
                  <a:schemeClr val="accent2"/>
                </a:solidFill>
              </a:rPr>
              <a:t>Solution</a:t>
            </a:r>
          </a:p>
          <a:p>
            <a:pPr lvl="1">
              <a:spcBef>
                <a:spcPts val="0"/>
              </a:spcBef>
            </a:pPr>
            <a:r>
              <a:rPr lang="en-US" sz="1050" dirty="0"/>
              <a:t>Connect with remote peer or expert</a:t>
            </a:r>
          </a:p>
          <a:p>
            <a:pPr lvl="1">
              <a:spcBef>
                <a:spcPts val="0"/>
              </a:spcBef>
            </a:pPr>
            <a:r>
              <a:rPr lang="en-US" sz="1050" dirty="0"/>
              <a:t>Virtual collaboration via mobile phone</a:t>
            </a:r>
          </a:p>
          <a:p>
            <a:pPr lvl="1">
              <a:spcBef>
                <a:spcPts val="0"/>
              </a:spcBef>
            </a:pPr>
            <a:r>
              <a:rPr lang="en-US" sz="1050" dirty="0"/>
              <a:t>AR-enabled intelligent visual assistance</a:t>
            </a:r>
          </a:p>
        </p:txBody>
      </p:sp>
      <p:sp>
        <p:nvSpPr>
          <p:cNvPr id="11" name="Text Placeholder 6"/>
          <p:cNvSpPr>
            <a:spLocks noGrp="1"/>
          </p:cNvSpPr>
          <p:nvPr>
            <p:ph type="body" sz="quarter" idx="14"/>
          </p:nvPr>
        </p:nvSpPr>
        <p:spPr>
          <a:xfrm>
            <a:off x="773759" y="1754434"/>
            <a:ext cx="3117305" cy="1383763"/>
          </a:xfrm>
          <a:prstGeom prst="rect">
            <a:avLst/>
          </a:prstGeom>
        </p:spPr>
        <p:txBody>
          <a:bodyPr/>
          <a:lstStyle/>
          <a:p>
            <a:pPr marL="0" lvl="1" indent="0">
              <a:spcBef>
                <a:spcPts val="0"/>
              </a:spcBef>
              <a:buNone/>
            </a:pPr>
            <a:r>
              <a:rPr lang="en-US" sz="1200" dirty="0">
                <a:solidFill>
                  <a:schemeClr val="accent2"/>
                </a:solidFill>
              </a:rPr>
              <a:t>Capabilities</a:t>
            </a:r>
            <a:endParaRPr lang="en-US" sz="1050" dirty="0"/>
          </a:p>
          <a:p>
            <a:pPr lvl="1">
              <a:spcBef>
                <a:spcPts val="0"/>
              </a:spcBef>
            </a:pPr>
            <a:r>
              <a:rPr lang="en-US" sz="1050" dirty="0"/>
              <a:t>Seek Advice: Connect with remote expert organized by area of expertise </a:t>
            </a:r>
          </a:p>
          <a:p>
            <a:pPr lvl="1">
              <a:spcBef>
                <a:spcPts val="0"/>
              </a:spcBef>
            </a:pPr>
            <a:r>
              <a:rPr lang="en-US" sz="1050" dirty="0"/>
              <a:t>Collaborate: Expert and technician can interact via voice, chat and video</a:t>
            </a:r>
          </a:p>
          <a:p>
            <a:pPr lvl="1">
              <a:spcBef>
                <a:spcPts val="0"/>
              </a:spcBef>
            </a:pPr>
            <a:r>
              <a:rPr lang="en-US" sz="1050" dirty="0"/>
              <a:t>Guide: AR tools for pointed guidance on how to perform actions</a:t>
            </a:r>
          </a:p>
          <a:p>
            <a:pPr lvl="1">
              <a:spcBef>
                <a:spcPts val="0"/>
              </a:spcBef>
            </a:pPr>
            <a:r>
              <a:rPr lang="en-US" sz="1050" dirty="0"/>
              <a:t>Fix: Expert and technician can confirm issue is resolved</a:t>
            </a:r>
          </a:p>
          <a:p>
            <a:pPr lvl="1">
              <a:spcBef>
                <a:spcPts val="0"/>
              </a:spcBef>
            </a:pPr>
            <a:r>
              <a:rPr lang="en-US" sz="1050" dirty="0"/>
              <a:t>Learn: Capture interaction for future reference and training</a:t>
            </a:r>
          </a:p>
          <a:p>
            <a:pPr lvl="1">
              <a:spcBef>
                <a:spcPts val="0"/>
              </a:spcBef>
            </a:pPr>
            <a:endParaRPr lang="en-US" sz="1050" dirty="0"/>
          </a:p>
        </p:txBody>
      </p:sp>
      <p:sp>
        <p:nvSpPr>
          <p:cNvPr id="12" name="Text Placeholder 6"/>
          <p:cNvSpPr>
            <a:spLocks noGrp="1"/>
          </p:cNvSpPr>
          <p:nvPr>
            <p:ph type="body" sz="quarter" idx="4294967295"/>
          </p:nvPr>
        </p:nvSpPr>
        <p:spPr>
          <a:xfrm>
            <a:off x="775776" y="3540208"/>
            <a:ext cx="4511675" cy="1022350"/>
          </a:xfrm>
          <a:prstGeom prst="rect">
            <a:avLst/>
          </a:prstGeom>
        </p:spPr>
        <p:txBody>
          <a:bodyPr/>
          <a:lstStyle/>
          <a:p>
            <a:pPr marL="0" lvl="1" indent="0">
              <a:spcBef>
                <a:spcPts val="0"/>
              </a:spcBef>
              <a:buNone/>
            </a:pPr>
            <a:r>
              <a:rPr lang="en-US" sz="1200" dirty="0">
                <a:solidFill>
                  <a:schemeClr val="accent2"/>
                </a:solidFill>
              </a:rPr>
              <a:t>Benefits</a:t>
            </a:r>
          </a:p>
          <a:p>
            <a:pPr lvl="1">
              <a:spcBef>
                <a:spcPts val="0"/>
              </a:spcBef>
            </a:pPr>
            <a:r>
              <a:rPr lang="en-US" sz="1050" dirty="0"/>
              <a:t>Boost technician productivity </a:t>
            </a:r>
          </a:p>
          <a:p>
            <a:pPr lvl="1">
              <a:spcBef>
                <a:spcPts val="0"/>
              </a:spcBef>
            </a:pPr>
            <a:r>
              <a:rPr lang="en-US" sz="1050" dirty="0"/>
              <a:t>Improve first time fix rate </a:t>
            </a:r>
          </a:p>
          <a:p>
            <a:pPr lvl="1">
              <a:spcBef>
                <a:spcPts val="0"/>
              </a:spcBef>
            </a:pPr>
            <a:r>
              <a:rPr lang="en-US" sz="1050" dirty="0"/>
              <a:t>Reduce mean time to repair </a:t>
            </a:r>
          </a:p>
          <a:p>
            <a:pPr lvl="1">
              <a:spcBef>
                <a:spcPts val="0"/>
              </a:spcBef>
            </a:pPr>
            <a:r>
              <a:rPr lang="en-US" sz="1050" dirty="0"/>
              <a:t>Capture tribal knowledge and reduce knowledge gap</a:t>
            </a:r>
          </a:p>
          <a:p>
            <a:pPr lvl="1">
              <a:spcBef>
                <a:spcPts val="0"/>
              </a:spcBef>
            </a:pPr>
            <a:r>
              <a:rPr lang="en-US" sz="1050" dirty="0"/>
              <a:t>Reduce technician training costs</a:t>
            </a:r>
          </a:p>
          <a:p>
            <a:pPr lvl="1">
              <a:spcBef>
                <a:spcPts val="0"/>
              </a:spcBef>
            </a:pPr>
            <a:r>
              <a:rPr lang="en-US" sz="1050" dirty="0"/>
              <a:t>Reduce maintenance and operating costs </a:t>
            </a:r>
          </a:p>
        </p:txBody>
      </p:sp>
      <p:sp>
        <p:nvSpPr>
          <p:cNvPr id="16" name="Freeform 5">
            <a:extLst>
              <a:ext uri="{FF2B5EF4-FFF2-40B4-BE49-F238E27FC236}">
                <a16:creationId xmlns:a16="http://schemas.microsoft.com/office/drawing/2014/main" id="{CF5C8C01-2E86-457F-80A8-CB9007942BDA}"/>
              </a:ext>
            </a:extLst>
          </p:cNvPr>
          <p:cNvSpPr>
            <a:spLocks/>
          </p:cNvSpPr>
          <p:nvPr/>
        </p:nvSpPr>
        <p:spPr bwMode="auto">
          <a:xfrm>
            <a:off x="256516" y="3509847"/>
            <a:ext cx="450314" cy="432056"/>
          </a:xfrm>
          <a:custGeom>
            <a:avLst/>
            <a:gdLst>
              <a:gd name="T0" fmla="*/ 1956 w 2070"/>
              <a:gd name="T1" fmla="*/ 1003 h 1980"/>
              <a:gd name="T2" fmla="*/ 1877 w 2070"/>
              <a:gd name="T3" fmla="*/ 675 h 1980"/>
              <a:gd name="T4" fmla="*/ 1376 w 2070"/>
              <a:gd name="T5" fmla="*/ 354 h 1980"/>
              <a:gd name="T6" fmla="*/ 1023 w 2070"/>
              <a:gd name="T7" fmla="*/ 29 h 1980"/>
              <a:gd name="T8" fmla="*/ 955 w 2070"/>
              <a:gd name="T9" fmla="*/ 125 h 1980"/>
              <a:gd name="T10" fmla="*/ 890 w 2070"/>
              <a:gd name="T11" fmla="*/ 602 h 1980"/>
              <a:gd name="T12" fmla="*/ 529 w 2070"/>
              <a:gd name="T13" fmla="*/ 852 h 1980"/>
              <a:gd name="T14" fmla="*/ 0 w 2070"/>
              <a:gd name="T15" fmla="*/ 949 h 1980"/>
              <a:gd name="T16" fmla="*/ 13 w 2070"/>
              <a:gd name="T17" fmla="*/ 1089 h 1980"/>
              <a:gd name="T18" fmla="*/ 66 w 2070"/>
              <a:gd name="T19" fmla="*/ 949 h 1980"/>
              <a:gd name="T20" fmla="*/ 536 w 2070"/>
              <a:gd name="T21" fmla="*/ 918 h 1980"/>
              <a:gd name="T22" fmla="*/ 566 w 2070"/>
              <a:gd name="T23" fmla="*/ 1883 h 1980"/>
              <a:gd name="T24" fmla="*/ 97 w 2070"/>
              <a:gd name="T25" fmla="*/ 1913 h 1980"/>
              <a:gd name="T26" fmla="*/ 66 w 2070"/>
              <a:gd name="T27" fmla="*/ 1199 h 1980"/>
              <a:gd name="T28" fmla="*/ 0 w 2070"/>
              <a:gd name="T29" fmla="*/ 1203 h 1980"/>
              <a:gd name="T30" fmla="*/ 97 w 2070"/>
              <a:gd name="T31" fmla="*/ 1980 h 1980"/>
              <a:gd name="T32" fmla="*/ 633 w 2070"/>
              <a:gd name="T33" fmla="*/ 1883 h 1980"/>
              <a:gd name="T34" fmla="*/ 798 w 2070"/>
              <a:gd name="T35" fmla="*/ 1871 h 1980"/>
              <a:gd name="T36" fmla="*/ 1452 w 2070"/>
              <a:gd name="T37" fmla="*/ 1873 h 1980"/>
              <a:gd name="T38" fmla="*/ 1449 w 2070"/>
              <a:gd name="T39" fmla="*/ 1807 h 1980"/>
              <a:gd name="T40" fmla="*/ 633 w 2070"/>
              <a:gd name="T41" fmla="*/ 1714 h 1980"/>
              <a:gd name="T42" fmla="*/ 962 w 2070"/>
              <a:gd name="T43" fmla="*/ 618 h 1980"/>
              <a:gd name="T44" fmla="*/ 1022 w 2070"/>
              <a:gd name="T45" fmla="*/ 153 h 1980"/>
              <a:gd name="T46" fmla="*/ 1225 w 2070"/>
              <a:gd name="T47" fmla="*/ 130 h 1980"/>
              <a:gd name="T48" fmla="*/ 1309 w 2070"/>
              <a:gd name="T49" fmla="*/ 715 h 1980"/>
              <a:gd name="T50" fmla="*/ 1877 w 2070"/>
              <a:gd name="T51" fmla="*/ 741 h 1980"/>
              <a:gd name="T52" fmla="*/ 1873 w 2070"/>
              <a:gd name="T53" fmla="*/ 958 h 1980"/>
              <a:gd name="T54" fmla="*/ 1563 w 2070"/>
              <a:gd name="T55" fmla="*/ 971 h 1980"/>
              <a:gd name="T56" fmla="*/ 1845 w 2070"/>
              <a:gd name="T57" fmla="*/ 1024 h 1980"/>
              <a:gd name="T58" fmla="*/ 1842 w 2070"/>
              <a:gd name="T59" fmla="*/ 1241 h 1980"/>
              <a:gd name="T60" fmla="*/ 1563 w 2070"/>
              <a:gd name="T61" fmla="*/ 1254 h 1980"/>
              <a:gd name="T62" fmla="*/ 1812 w 2070"/>
              <a:gd name="T63" fmla="*/ 1307 h 1980"/>
              <a:gd name="T64" fmla="*/ 1899 w 2070"/>
              <a:gd name="T65" fmla="*/ 1466 h 1980"/>
              <a:gd name="T66" fmla="*/ 1586 w 2070"/>
              <a:gd name="T67" fmla="*/ 1524 h 1980"/>
              <a:gd name="T68" fmla="*/ 1590 w 2070"/>
              <a:gd name="T69" fmla="*/ 1590 h 1980"/>
              <a:gd name="T70" fmla="*/ 1787 w 2070"/>
              <a:gd name="T71" fmla="*/ 1592 h 1980"/>
              <a:gd name="T72" fmla="*/ 1771 w 2070"/>
              <a:gd name="T73" fmla="*/ 1807 h 1980"/>
              <a:gd name="T74" fmla="*/ 1563 w 2070"/>
              <a:gd name="T75" fmla="*/ 1820 h 1980"/>
              <a:gd name="T76" fmla="*/ 1770 w 2070"/>
              <a:gd name="T77" fmla="*/ 1873 h 1980"/>
              <a:gd name="T78" fmla="*/ 1885 w 2070"/>
              <a:gd name="T79" fmla="*/ 1570 h 1980"/>
              <a:gd name="T80" fmla="*/ 1920 w 2070"/>
              <a:gd name="T81" fmla="*/ 1287 h 1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70" h="1980">
                <a:moveTo>
                  <a:pt x="2013" y="1132"/>
                </a:moveTo>
                <a:cubicBezTo>
                  <a:pt x="2013" y="1082"/>
                  <a:pt x="1991" y="1036"/>
                  <a:pt x="1956" y="1003"/>
                </a:cubicBezTo>
                <a:cubicBezTo>
                  <a:pt x="2028" y="965"/>
                  <a:pt x="2070" y="876"/>
                  <a:pt x="2036" y="784"/>
                </a:cubicBezTo>
                <a:cubicBezTo>
                  <a:pt x="2012" y="718"/>
                  <a:pt x="1947" y="675"/>
                  <a:pt x="1877" y="675"/>
                </a:cubicBezTo>
                <a:cubicBezTo>
                  <a:pt x="1376" y="675"/>
                  <a:pt x="1376" y="675"/>
                  <a:pt x="1376" y="675"/>
                </a:cubicBezTo>
                <a:cubicBezTo>
                  <a:pt x="1376" y="354"/>
                  <a:pt x="1376" y="354"/>
                  <a:pt x="1376" y="354"/>
                </a:cubicBezTo>
                <a:cubicBezTo>
                  <a:pt x="1376" y="225"/>
                  <a:pt x="1338" y="131"/>
                  <a:pt x="1265" y="77"/>
                </a:cubicBezTo>
                <a:cubicBezTo>
                  <a:pt x="1161" y="0"/>
                  <a:pt x="1066" y="19"/>
                  <a:pt x="1023" y="29"/>
                </a:cubicBezTo>
                <a:cubicBezTo>
                  <a:pt x="1012" y="31"/>
                  <a:pt x="1001" y="41"/>
                  <a:pt x="993" y="49"/>
                </a:cubicBezTo>
                <a:cubicBezTo>
                  <a:pt x="960" y="78"/>
                  <a:pt x="955" y="112"/>
                  <a:pt x="955" y="125"/>
                </a:cubicBezTo>
                <a:cubicBezTo>
                  <a:pt x="955" y="414"/>
                  <a:pt x="955" y="414"/>
                  <a:pt x="955" y="414"/>
                </a:cubicBezTo>
                <a:cubicBezTo>
                  <a:pt x="955" y="482"/>
                  <a:pt x="933" y="549"/>
                  <a:pt x="890" y="602"/>
                </a:cubicBezTo>
                <a:cubicBezTo>
                  <a:pt x="630" y="933"/>
                  <a:pt x="630" y="933"/>
                  <a:pt x="630" y="933"/>
                </a:cubicBezTo>
                <a:cubicBezTo>
                  <a:pt x="620" y="887"/>
                  <a:pt x="578" y="852"/>
                  <a:pt x="529" y="852"/>
                </a:cubicBezTo>
                <a:cubicBezTo>
                  <a:pt x="97" y="852"/>
                  <a:pt x="97" y="852"/>
                  <a:pt x="97" y="852"/>
                </a:cubicBezTo>
                <a:cubicBezTo>
                  <a:pt x="43" y="852"/>
                  <a:pt x="0" y="895"/>
                  <a:pt x="0" y="949"/>
                </a:cubicBezTo>
                <a:cubicBezTo>
                  <a:pt x="0" y="1066"/>
                  <a:pt x="0" y="1066"/>
                  <a:pt x="0" y="1066"/>
                </a:cubicBezTo>
                <a:cubicBezTo>
                  <a:pt x="0" y="1075"/>
                  <a:pt x="5" y="1084"/>
                  <a:pt x="13" y="1089"/>
                </a:cubicBezTo>
                <a:cubicBezTo>
                  <a:pt x="39" y="1105"/>
                  <a:pt x="66" y="1087"/>
                  <a:pt x="66" y="1062"/>
                </a:cubicBezTo>
                <a:cubicBezTo>
                  <a:pt x="66" y="949"/>
                  <a:pt x="66" y="949"/>
                  <a:pt x="66" y="949"/>
                </a:cubicBezTo>
                <a:cubicBezTo>
                  <a:pt x="66" y="932"/>
                  <a:pt x="80" y="918"/>
                  <a:pt x="97" y="918"/>
                </a:cubicBezTo>
                <a:cubicBezTo>
                  <a:pt x="536" y="918"/>
                  <a:pt x="536" y="918"/>
                  <a:pt x="536" y="918"/>
                </a:cubicBezTo>
                <a:cubicBezTo>
                  <a:pt x="552" y="918"/>
                  <a:pt x="566" y="932"/>
                  <a:pt x="566" y="949"/>
                </a:cubicBezTo>
                <a:cubicBezTo>
                  <a:pt x="566" y="1883"/>
                  <a:pt x="566" y="1883"/>
                  <a:pt x="566" y="1883"/>
                </a:cubicBezTo>
                <a:cubicBezTo>
                  <a:pt x="566" y="1900"/>
                  <a:pt x="552" y="1913"/>
                  <a:pt x="536" y="1913"/>
                </a:cubicBezTo>
                <a:cubicBezTo>
                  <a:pt x="97" y="1913"/>
                  <a:pt x="97" y="1913"/>
                  <a:pt x="97" y="1913"/>
                </a:cubicBezTo>
                <a:cubicBezTo>
                  <a:pt x="80" y="1913"/>
                  <a:pt x="66" y="1900"/>
                  <a:pt x="66" y="1883"/>
                </a:cubicBezTo>
                <a:cubicBezTo>
                  <a:pt x="66" y="1199"/>
                  <a:pt x="66" y="1199"/>
                  <a:pt x="66" y="1199"/>
                </a:cubicBezTo>
                <a:cubicBezTo>
                  <a:pt x="66" y="1190"/>
                  <a:pt x="62" y="1181"/>
                  <a:pt x="53" y="1176"/>
                </a:cubicBezTo>
                <a:cubicBezTo>
                  <a:pt x="27" y="1160"/>
                  <a:pt x="0" y="1178"/>
                  <a:pt x="0" y="1203"/>
                </a:cubicBezTo>
                <a:cubicBezTo>
                  <a:pt x="0" y="1883"/>
                  <a:pt x="0" y="1883"/>
                  <a:pt x="0" y="1883"/>
                </a:cubicBezTo>
                <a:cubicBezTo>
                  <a:pt x="0" y="1936"/>
                  <a:pt x="43" y="1980"/>
                  <a:pt x="97" y="1980"/>
                </a:cubicBezTo>
                <a:cubicBezTo>
                  <a:pt x="536" y="1980"/>
                  <a:pt x="536" y="1980"/>
                  <a:pt x="536" y="1980"/>
                </a:cubicBezTo>
                <a:cubicBezTo>
                  <a:pt x="589" y="1980"/>
                  <a:pt x="633" y="1936"/>
                  <a:pt x="633" y="1883"/>
                </a:cubicBezTo>
                <a:cubicBezTo>
                  <a:pt x="633" y="1788"/>
                  <a:pt x="633" y="1788"/>
                  <a:pt x="633" y="1788"/>
                </a:cubicBezTo>
                <a:cubicBezTo>
                  <a:pt x="798" y="1871"/>
                  <a:pt x="798" y="1871"/>
                  <a:pt x="798" y="1871"/>
                </a:cubicBezTo>
                <a:cubicBezTo>
                  <a:pt x="802" y="1872"/>
                  <a:pt x="806" y="1873"/>
                  <a:pt x="810" y="1873"/>
                </a:cubicBezTo>
                <a:cubicBezTo>
                  <a:pt x="1452" y="1873"/>
                  <a:pt x="1452" y="1873"/>
                  <a:pt x="1452" y="1873"/>
                </a:cubicBezTo>
                <a:cubicBezTo>
                  <a:pt x="1462" y="1873"/>
                  <a:pt x="1471" y="1869"/>
                  <a:pt x="1476" y="1861"/>
                </a:cubicBezTo>
                <a:cubicBezTo>
                  <a:pt x="1492" y="1834"/>
                  <a:pt x="1473" y="1807"/>
                  <a:pt x="1449" y="1807"/>
                </a:cubicBezTo>
                <a:cubicBezTo>
                  <a:pt x="820" y="1807"/>
                  <a:pt x="820" y="1807"/>
                  <a:pt x="820" y="1807"/>
                </a:cubicBezTo>
                <a:cubicBezTo>
                  <a:pt x="633" y="1714"/>
                  <a:pt x="633" y="1714"/>
                  <a:pt x="633" y="1714"/>
                </a:cubicBezTo>
                <a:cubicBezTo>
                  <a:pt x="633" y="1038"/>
                  <a:pt x="633" y="1038"/>
                  <a:pt x="633" y="1038"/>
                </a:cubicBezTo>
                <a:cubicBezTo>
                  <a:pt x="962" y="618"/>
                  <a:pt x="962" y="618"/>
                  <a:pt x="962" y="618"/>
                </a:cubicBezTo>
                <a:cubicBezTo>
                  <a:pt x="1001" y="569"/>
                  <a:pt x="1022" y="508"/>
                  <a:pt x="1022" y="446"/>
                </a:cubicBezTo>
                <a:cubicBezTo>
                  <a:pt x="1022" y="153"/>
                  <a:pt x="1022" y="153"/>
                  <a:pt x="1022" y="153"/>
                </a:cubicBezTo>
                <a:cubicBezTo>
                  <a:pt x="1022" y="119"/>
                  <a:pt x="1049" y="92"/>
                  <a:pt x="1082" y="91"/>
                </a:cubicBezTo>
                <a:cubicBezTo>
                  <a:pt x="1127" y="90"/>
                  <a:pt x="1182" y="97"/>
                  <a:pt x="1225" y="130"/>
                </a:cubicBezTo>
                <a:cubicBezTo>
                  <a:pt x="1281" y="171"/>
                  <a:pt x="1309" y="247"/>
                  <a:pt x="1309" y="354"/>
                </a:cubicBezTo>
                <a:cubicBezTo>
                  <a:pt x="1309" y="715"/>
                  <a:pt x="1309" y="715"/>
                  <a:pt x="1309" y="715"/>
                </a:cubicBezTo>
                <a:cubicBezTo>
                  <a:pt x="1309" y="729"/>
                  <a:pt x="1321" y="741"/>
                  <a:pt x="1335" y="741"/>
                </a:cubicBezTo>
                <a:cubicBezTo>
                  <a:pt x="1877" y="741"/>
                  <a:pt x="1877" y="741"/>
                  <a:pt x="1877" y="741"/>
                </a:cubicBezTo>
                <a:cubicBezTo>
                  <a:pt x="1918" y="741"/>
                  <a:pt x="1956" y="765"/>
                  <a:pt x="1972" y="803"/>
                </a:cubicBezTo>
                <a:cubicBezTo>
                  <a:pt x="2005" y="882"/>
                  <a:pt x="1948" y="958"/>
                  <a:pt x="1873" y="958"/>
                </a:cubicBezTo>
                <a:cubicBezTo>
                  <a:pt x="1586" y="958"/>
                  <a:pt x="1586" y="958"/>
                  <a:pt x="1586" y="958"/>
                </a:cubicBezTo>
                <a:cubicBezTo>
                  <a:pt x="1577" y="958"/>
                  <a:pt x="1568" y="963"/>
                  <a:pt x="1563" y="971"/>
                </a:cubicBezTo>
                <a:cubicBezTo>
                  <a:pt x="1547" y="997"/>
                  <a:pt x="1565" y="1024"/>
                  <a:pt x="1590" y="1024"/>
                </a:cubicBezTo>
                <a:cubicBezTo>
                  <a:pt x="1590" y="1024"/>
                  <a:pt x="1844" y="1024"/>
                  <a:pt x="1845" y="1024"/>
                </a:cubicBezTo>
                <a:cubicBezTo>
                  <a:pt x="1917" y="1029"/>
                  <a:pt x="1970" y="1105"/>
                  <a:pt x="1936" y="1181"/>
                </a:cubicBezTo>
                <a:cubicBezTo>
                  <a:pt x="1919" y="1218"/>
                  <a:pt x="1882" y="1241"/>
                  <a:pt x="1842" y="1241"/>
                </a:cubicBezTo>
                <a:cubicBezTo>
                  <a:pt x="1586" y="1241"/>
                  <a:pt x="1586" y="1241"/>
                  <a:pt x="1586" y="1241"/>
                </a:cubicBezTo>
                <a:cubicBezTo>
                  <a:pt x="1577" y="1241"/>
                  <a:pt x="1568" y="1246"/>
                  <a:pt x="1563" y="1254"/>
                </a:cubicBezTo>
                <a:cubicBezTo>
                  <a:pt x="1547" y="1280"/>
                  <a:pt x="1565" y="1307"/>
                  <a:pt x="1590" y="1307"/>
                </a:cubicBezTo>
                <a:cubicBezTo>
                  <a:pt x="1812" y="1307"/>
                  <a:pt x="1812" y="1307"/>
                  <a:pt x="1812" y="1307"/>
                </a:cubicBezTo>
                <a:cubicBezTo>
                  <a:pt x="1813" y="1308"/>
                  <a:pt x="1815" y="1308"/>
                  <a:pt x="1816" y="1308"/>
                </a:cubicBezTo>
                <a:cubicBezTo>
                  <a:pt x="1886" y="1317"/>
                  <a:pt x="1934" y="1392"/>
                  <a:pt x="1899" y="1466"/>
                </a:cubicBezTo>
                <a:cubicBezTo>
                  <a:pt x="1884" y="1498"/>
                  <a:pt x="1842" y="1524"/>
                  <a:pt x="1806" y="1524"/>
                </a:cubicBezTo>
                <a:cubicBezTo>
                  <a:pt x="1586" y="1524"/>
                  <a:pt x="1586" y="1524"/>
                  <a:pt x="1586" y="1524"/>
                </a:cubicBezTo>
                <a:cubicBezTo>
                  <a:pt x="1577" y="1524"/>
                  <a:pt x="1568" y="1529"/>
                  <a:pt x="1563" y="1537"/>
                </a:cubicBezTo>
                <a:cubicBezTo>
                  <a:pt x="1547" y="1563"/>
                  <a:pt x="1565" y="1590"/>
                  <a:pt x="1590" y="1590"/>
                </a:cubicBezTo>
                <a:cubicBezTo>
                  <a:pt x="1781" y="1590"/>
                  <a:pt x="1781" y="1590"/>
                  <a:pt x="1781" y="1590"/>
                </a:cubicBezTo>
                <a:cubicBezTo>
                  <a:pt x="1783" y="1591"/>
                  <a:pt x="1785" y="1592"/>
                  <a:pt x="1787" y="1592"/>
                </a:cubicBezTo>
                <a:cubicBezTo>
                  <a:pt x="1855" y="1605"/>
                  <a:pt x="1898" y="1680"/>
                  <a:pt x="1863" y="1751"/>
                </a:cubicBezTo>
                <a:cubicBezTo>
                  <a:pt x="1846" y="1786"/>
                  <a:pt x="1810" y="1807"/>
                  <a:pt x="1771" y="1807"/>
                </a:cubicBezTo>
                <a:cubicBezTo>
                  <a:pt x="1586" y="1807"/>
                  <a:pt x="1586" y="1807"/>
                  <a:pt x="1586" y="1807"/>
                </a:cubicBezTo>
                <a:cubicBezTo>
                  <a:pt x="1577" y="1807"/>
                  <a:pt x="1568" y="1812"/>
                  <a:pt x="1563" y="1820"/>
                </a:cubicBezTo>
                <a:cubicBezTo>
                  <a:pt x="1547" y="1846"/>
                  <a:pt x="1565" y="1873"/>
                  <a:pt x="1590" y="1873"/>
                </a:cubicBezTo>
                <a:cubicBezTo>
                  <a:pt x="1770" y="1873"/>
                  <a:pt x="1770" y="1873"/>
                  <a:pt x="1770" y="1873"/>
                </a:cubicBezTo>
                <a:cubicBezTo>
                  <a:pt x="1838" y="1873"/>
                  <a:pt x="1900" y="1834"/>
                  <a:pt x="1927" y="1772"/>
                </a:cubicBezTo>
                <a:cubicBezTo>
                  <a:pt x="1959" y="1695"/>
                  <a:pt x="1937" y="1617"/>
                  <a:pt x="1885" y="1570"/>
                </a:cubicBezTo>
                <a:cubicBezTo>
                  <a:pt x="1940" y="1540"/>
                  <a:pt x="1977" y="1482"/>
                  <a:pt x="1977" y="1416"/>
                </a:cubicBezTo>
                <a:cubicBezTo>
                  <a:pt x="1977" y="1365"/>
                  <a:pt x="1955" y="1319"/>
                  <a:pt x="1920" y="1287"/>
                </a:cubicBezTo>
                <a:cubicBezTo>
                  <a:pt x="1975" y="1257"/>
                  <a:pt x="2013" y="1199"/>
                  <a:pt x="2013" y="11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7" name="Freeform 10">
            <a:extLst>
              <a:ext uri="{FF2B5EF4-FFF2-40B4-BE49-F238E27FC236}">
                <a16:creationId xmlns:a16="http://schemas.microsoft.com/office/drawing/2014/main" id="{6704EE3C-9C1A-4339-9256-0351BDB1D41E}"/>
              </a:ext>
            </a:extLst>
          </p:cNvPr>
          <p:cNvSpPr>
            <a:spLocks noEditPoints="1"/>
          </p:cNvSpPr>
          <p:nvPr/>
        </p:nvSpPr>
        <p:spPr bwMode="auto">
          <a:xfrm>
            <a:off x="226079" y="1837910"/>
            <a:ext cx="493600" cy="495116"/>
          </a:xfrm>
          <a:custGeom>
            <a:avLst/>
            <a:gdLst>
              <a:gd name="T0" fmla="*/ 1007 w 2048"/>
              <a:gd name="T1" fmla="*/ 1036 h 2048"/>
              <a:gd name="T2" fmla="*/ 484 w 2048"/>
              <a:gd name="T3" fmla="*/ 649 h 2048"/>
              <a:gd name="T4" fmla="*/ 1150 w 2048"/>
              <a:gd name="T5" fmla="*/ 787 h 2048"/>
              <a:gd name="T6" fmla="*/ 787 w 2048"/>
              <a:gd name="T7" fmla="*/ 488 h 2048"/>
              <a:gd name="T8" fmla="*/ 1008 w 2048"/>
              <a:gd name="T9" fmla="*/ 1253 h 2048"/>
              <a:gd name="T10" fmla="*/ 740 w 2048"/>
              <a:gd name="T11" fmla="*/ 1509 h 2048"/>
              <a:gd name="T12" fmla="*/ 500 w 2048"/>
              <a:gd name="T13" fmla="*/ 1238 h 2048"/>
              <a:gd name="T14" fmla="*/ 335 w 2048"/>
              <a:gd name="T15" fmla="*/ 1074 h 2048"/>
              <a:gd name="T16" fmla="*/ 65 w 2048"/>
              <a:gd name="T17" fmla="*/ 834 h 2048"/>
              <a:gd name="T18" fmla="*/ 337 w 2048"/>
              <a:gd name="T19" fmla="*/ 534 h 2048"/>
              <a:gd name="T20" fmla="*/ 355 w 2048"/>
              <a:gd name="T21" fmla="*/ 239 h 2048"/>
              <a:gd name="T22" fmla="*/ 705 w 2048"/>
              <a:gd name="T23" fmla="*/ 94 h 2048"/>
              <a:gd name="T24" fmla="*/ 926 w 2048"/>
              <a:gd name="T25" fmla="*/ 290 h 2048"/>
              <a:gd name="T26" fmla="*/ 1331 w 2048"/>
              <a:gd name="T27" fmla="*/ 309 h 2048"/>
              <a:gd name="T28" fmla="*/ 1309 w 2048"/>
              <a:gd name="T29" fmla="*/ 670 h 2048"/>
              <a:gd name="T30" fmla="*/ 1309 w 2048"/>
              <a:gd name="T31" fmla="*/ 903 h 2048"/>
              <a:gd name="T32" fmla="*/ 1341 w 2048"/>
              <a:gd name="T33" fmla="*/ 963 h 2048"/>
              <a:gd name="T34" fmla="*/ 1341 w 2048"/>
              <a:gd name="T35" fmla="*/ 611 h 2048"/>
              <a:gd name="T36" fmla="*/ 1183 w 2048"/>
              <a:gd name="T37" fmla="*/ 185 h 2048"/>
              <a:gd name="T38" fmla="*/ 740 w 2048"/>
              <a:gd name="T39" fmla="*/ 0 h 2048"/>
              <a:gd name="T40" fmla="*/ 263 w 2048"/>
              <a:gd name="T41" fmla="*/ 197 h 2048"/>
              <a:gd name="T42" fmla="*/ 81 w 2048"/>
              <a:gd name="T43" fmla="*/ 641 h 2048"/>
              <a:gd name="T44" fmla="*/ 271 w 2048"/>
              <a:gd name="T45" fmla="*/ 1054 h 2048"/>
              <a:gd name="T46" fmla="*/ 520 w 2048"/>
              <a:gd name="T47" fmla="*/ 1303 h 2048"/>
              <a:gd name="T48" fmla="*/ 932 w 2048"/>
              <a:gd name="T49" fmla="*/ 1493 h 2048"/>
              <a:gd name="T50" fmla="*/ 1636 w 2048"/>
              <a:gd name="T51" fmla="*/ 1520 h 2048"/>
              <a:gd name="T52" fmla="*/ 1520 w 2048"/>
              <a:gd name="T53" fmla="*/ 1701 h 2048"/>
              <a:gd name="T54" fmla="*/ 1403 w 2048"/>
              <a:gd name="T55" fmla="*/ 1520 h 2048"/>
              <a:gd name="T56" fmla="*/ 1925 w 2048"/>
              <a:gd name="T57" fmla="*/ 1266 h 2048"/>
              <a:gd name="T58" fmla="*/ 1645 w 2048"/>
              <a:gd name="T59" fmla="*/ 1147 h 2048"/>
              <a:gd name="T60" fmla="*/ 1395 w 2048"/>
              <a:gd name="T61" fmla="*/ 1147 h 2048"/>
              <a:gd name="T62" fmla="*/ 1115 w 2048"/>
              <a:gd name="T63" fmla="*/ 1266 h 2048"/>
              <a:gd name="T64" fmla="*/ 1234 w 2048"/>
              <a:gd name="T65" fmla="*/ 1359 h 2048"/>
              <a:gd name="T66" fmla="*/ 1230 w 2048"/>
              <a:gd name="T67" fmla="*/ 1169 h 2048"/>
              <a:gd name="T68" fmla="*/ 1477 w 2048"/>
              <a:gd name="T69" fmla="*/ 1067 h 2048"/>
              <a:gd name="T70" fmla="*/ 1608 w 2048"/>
              <a:gd name="T71" fmla="*/ 1204 h 2048"/>
              <a:gd name="T72" fmla="*/ 1869 w 2048"/>
              <a:gd name="T73" fmla="*/ 1214 h 2048"/>
              <a:gd name="T74" fmla="*/ 1861 w 2048"/>
              <a:gd name="T75" fmla="*/ 1454 h 2048"/>
              <a:gd name="T76" fmla="*/ 1861 w 2048"/>
              <a:gd name="T77" fmla="*/ 1585 h 2048"/>
              <a:gd name="T78" fmla="*/ 1869 w 2048"/>
              <a:gd name="T79" fmla="*/ 1826 h 2048"/>
              <a:gd name="T80" fmla="*/ 1608 w 2048"/>
              <a:gd name="T81" fmla="*/ 1836 h 2048"/>
              <a:gd name="T82" fmla="*/ 1477 w 2048"/>
              <a:gd name="T83" fmla="*/ 1973 h 2048"/>
              <a:gd name="T84" fmla="*/ 1230 w 2048"/>
              <a:gd name="T85" fmla="*/ 1871 h 2048"/>
              <a:gd name="T86" fmla="*/ 1234 w 2048"/>
              <a:gd name="T87" fmla="*/ 1681 h 2048"/>
              <a:gd name="T88" fmla="*/ 1056 w 2048"/>
              <a:gd name="T89" fmla="*/ 1489 h 2048"/>
              <a:gd name="T90" fmla="*/ 1054 w 2048"/>
              <a:gd name="T91" fmla="*/ 1413 h 2048"/>
              <a:gd name="T92" fmla="*/ 1168 w 2048"/>
              <a:gd name="T93" fmla="*/ 1695 h 2048"/>
              <a:gd name="T94" fmla="*/ 1345 w 2048"/>
              <a:gd name="T95" fmla="*/ 1872 h 2048"/>
              <a:gd name="T96" fmla="*/ 1626 w 2048"/>
              <a:gd name="T97" fmla="*/ 1986 h 2048"/>
              <a:gd name="T98" fmla="*/ 1915 w 2048"/>
              <a:gd name="T99" fmla="*/ 1872 h 2048"/>
              <a:gd name="T100" fmla="*/ 2048 w 2048"/>
              <a:gd name="T101" fmla="*/ 1550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8" h="2048">
                <a:moveTo>
                  <a:pt x="504" y="690"/>
                </a:moveTo>
                <a:cubicBezTo>
                  <a:pt x="493" y="721"/>
                  <a:pt x="488" y="754"/>
                  <a:pt x="488" y="787"/>
                </a:cubicBezTo>
                <a:cubicBezTo>
                  <a:pt x="488" y="952"/>
                  <a:pt x="622" y="1086"/>
                  <a:pt x="787" y="1086"/>
                </a:cubicBezTo>
                <a:cubicBezTo>
                  <a:pt x="850" y="1086"/>
                  <a:pt x="911" y="1066"/>
                  <a:pt x="962" y="1029"/>
                </a:cubicBezTo>
                <a:cubicBezTo>
                  <a:pt x="976" y="1019"/>
                  <a:pt x="997" y="1022"/>
                  <a:pt x="1007" y="1036"/>
                </a:cubicBezTo>
                <a:cubicBezTo>
                  <a:pt x="1018" y="1051"/>
                  <a:pt x="1014" y="1071"/>
                  <a:pt x="1000" y="1081"/>
                </a:cubicBezTo>
                <a:cubicBezTo>
                  <a:pt x="938" y="1127"/>
                  <a:pt x="864" y="1150"/>
                  <a:pt x="787" y="1150"/>
                </a:cubicBezTo>
                <a:cubicBezTo>
                  <a:pt x="586" y="1150"/>
                  <a:pt x="423" y="987"/>
                  <a:pt x="423" y="787"/>
                </a:cubicBezTo>
                <a:cubicBezTo>
                  <a:pt x="423" y="746"/>
                  <a:pt x="430" y="707"/>
                  <a:pt x="443" y="669"/>
                </a:cubicBezTo>
                <a:cubicBezTo>
                  <a:pt x="449" y="652"/>
                  <a:pt x="467" y="643"/>
                  <a:pt x="484" y="649"/>
                </a:cubicBezTo>
                <a:cubicBezTo>
                  <a:pt x="501" y="654"/>
                  <a:pt x="510" y="673"/>
                  <a:pt x="504" y="690"/>
                </a:cubicBezTo>
                <a:close/>
                <a:moveTo>
                  <a:pt x="1067" y="967"/>
                </a:moveTo>
                <a:cubicBezTo>
                  <a:pt x="1072" y="969"/>
                  <a:pt x="1077" y="970"/>
                  <a:pt x="1082" y="970"/>
                </a:cubicBezTo>
                <a:cubicBezTo>
                  <a:pt x="1093" y="970"/>
                  <a:pt x="1105" y="964"/>
                  <a:pt x="1110" y="953"/>
                </a:cubicBezTo>
                <a:cubicBezTo>
                  <a:pt x="1137" y="902"/>
                  <a:pt x="1150" y="844"/>
                  <a:pt x="1150" y="787"/>
                </a:cubicBezTo>
                <a:cubicBezTo>
                  <a:pt x="1150" y="586"/>
                  <a:pt x="987" y="423"/>
                  <a:pt x="787" y="423"/>
                </a:cubicBezTo>
                <a:cubicBezTo>
                  <a:pt x="692" y="423"/>
                  <a:pt x="601" y="460"/>
                  <a:pt x="533" y="527"/>
                </a:cubicBezTo>
                <a:cubicBezTo>
                  <a:pt x="520" y="539"/>
                  <a:pt x="520" y="560"/>
                  <a:pt x="533" y="572"/>
                </a:cubicBezTo>
                <a:cubicBezTo>
                  <a:pt x="545" y="585"/>
                  <a:pt x="565" y="585"/>
                  <a:pt x="578" y="573"/>
                </a:cubicBezTo>
                <a:cubicBezTo>
                  <a:pt x="634" y="518"/>
                  <a:pt x="708" y="488"/>
                  <a:pt x="787" y="488"/>
                </a:cubicBezTo>
                <a:cubicBezTo>
                  <a:pt x="952" y="488"/>
                  <a:pt x="1086" y="622"/>
                  <a:pt x="1086" y="787"/>
                </a:cubicBezTo>
                <a:cubicBezTo>
                  <a:pt x="1086" y="835"/>
                  <a:pt x="1075" y="881"/>
                  <a:pt x="1053" y="923"/>
                </a:cubicBezTo>
                <a:cubicBezTo>
                  <a:pt x="1045" y="939"/>
                  <a:pt x="1051" y="958"/>
                  <a:pt x="1067" y="967"/>
                </a:cubicBezTo>
                <a:close/>
                <a:moveTo>
                  <a:pt x="1051" y="1269"/>
                </a:moveTo>
                <a:cubicBezTo>
                  <a:pt x="1043" y="1253"/>
                  <a:pt x="1024" y="1246"/>
                  <a:pt x="1008" y="1253"/>
                </a:cubicBezTo>
                <a:cubicBezTo>
                  <a:pt x="982" y="1266"/>
                  <a:pt x="954" y="1276"/>
                  <a:pt x="926" y="1284"/>
                </a:cubicBezTo>
                <a:cubicBezTo>
                  <a:pt x="915" y="1287"/>
                  <a:pt x="906" y="1297"/>
                  <a:pt x="903" y="1309"/>
                </a:cubicBezTo>
                <a:cubicBezTo>
                  <a:pt x="869" y="1480"/>
                  <a:pt x="869" y="1480"/>
                  <a:pt x="869" y="1480"/>
                </a:cubicBezTo>
                <a:cubicBezTo>
                  <a:pt x="866" y="1497"/>
                  <a:pt x="851" y="1509"/>
                  <a:pt x="834" y="1509"/>
                </a:cubicBezTo>
                <a:cubicBezTo>
                  <a:pt x="740" y="1509"/>
                  <a:pt x="740" y="1509"/>
                  <a:pt x="740" y="1509"/>
                </a:cubicBezTo>
                <a:cubicBezTo>
                  <a:pt x="723" y="1509"/>
                  <a:pt x="708" y="1497"/>
                  <a:pt x="705" y="1480"/>
                </a:cubicBezTo>
                <a:cubicBezTo>
                  <a:pt x="670" y="1309"/>
                  <a:pt x="670" y="1309"/>
                  <a:pt x="670" y="1309"/>
                </a:cubicBezTo>
                <a:cubicBezTo>
                  <a:pt x="668" y="1297"/>
                  <a:pt x="659" y="1287"/>
                  <a:pt x="647" y="1284"/>
                </a:cubicBezTo>
                <a:cubicBezTo>
                  <a:pt x="608" y="1273"/>
                  <a:pt x="570" y="1257"/>
                  <a:pt x="534" y="1237"/>
                </a:cubicBezTo>
                <a:cubicBezTo>
                  <a:pt x="523" y="1231"/>
                  <a:pt x="510" y="1232"/>
                  <a:pt x="500" y="1238"/>
                </a:cubicBezTo>
                <a:cubicBezTo>
                  <a:pt x="355" y="1335"/>
                  <a:pt x="355" y="1335"/>
                  <a:pt x="355" y="1335"/>
                </a:cubicBezTo>
                <a:cubicBezTo>
                  <a:pt x="341" y="1345"/>
                  <a:pt x="321" y="1343"/>
                  <a:pt x="309" y="1331"/>
                </a:cubicBezTo>
                <a:cubicBezTo>
                  <a:pt x="243" y="1265"/>
                  <a:pt x="243" y="1265"/>
                  <a:pt x="243" y="1265"/>
                </a:cubicBezTo>
                <a:cubicBezTo>
                  <a:pt x="231" y="1252"/>
                  <a:pt x="229" y="1233"/>
                  <a:pt x="239" y="1219"/>
                </a:cubicBezTo>
                <a:cubicBezTo>
                  <a:pt x="335" y="1074"/>
                  <a:pt x="335" y="1074"/>
                  <a:pt x="335" y="1074"/>
                </a:cubicBezTo>
                <a:cubicBezTo>
                  <a:pt x="342" y="1063"/>
                  <a:pt x="343" y="1050"/>
                  <a:pt x="337" y="1040"/>
                </a:cubicBezTo>
                <a:cubicBezTo>
                  <a:pt x="317" y="1004"/>
                  <a:pt x="301" y="966"/>
                  <a:pt x="290" y="926"/>
                </a:cubicBezTo>
                <a:cubicBezTo>
                  <a:pt x="286" y="915"/>
                  <a:pt x="277" y="906"/>
                  <a:pt x="265" y="903"/>
                </a:cubicBezTo>
                <a:cubicBezTo>
                  <a:pt x="94" y="869"/>
                  <a:pt x="94" y="869"/>
                  <a:pt x="94" y="869"/>
                </a:cubicBezTo>
                <a:cubicBezTo>
                  <a:pt x="77" y="866"/>
                  <a:pt x="65" y="851"/>
                  <a:pt x="65" y="834"/>
                </a:cubicBezTo>
                <a:cubicBezTo>
                  <a:pt x="65" y="740"/>
                  <a:pt x="65" y="740"/>
                  <a:pt x="65" y="740"/>
                </a:cubicBezTo>
                <a:cubicBezTo>
                  <a:pt x="65" y="723"/>
                  <a:pt x="77" y="708"/>
                  <a:pt x="94" y="705"/>
                </a:cubicBezTo>
                <a:cubicBezTo>
                  <a:pt x="265" y="670"/>
                  <a:pt x="265" y="670"/>
                  <a:pt x="265" y="670"/>
                </a:cubicBezTo>
                <a:cubicBezTo>
                  <a:pt x="277" y="668"/>
                  <a:pt x="286" y="659"/>
                  <a:pt x="290" y="647"/>
                </a:cubicBezTo>
                <a:cubicBezTo>
                  <a:pt x="301" y="608"/>
                  <a:pt x="317" y="570"/>
                  <a:pt x="337" y="534"/>
                </a:cubicBezTo>
                <a:cubicBezTo>
                  <a:pt x="343" y="523"/>
                  <a:pt x="342" y="510"/>
                  <a:pt x="335" y="500"/>
                </a:cubicBezTo>
                <a:cubicBezTo>
                  <a:pt x="239" y="355"/>
                  <a:pt x="239" y="355"/>
                  <a:pt x="239" y="355"/>
                </a:cubicBezTo>
                <a:cubicBezTo>
                  <a:pt x="229" y="341"/>
                  <a:pt x="231" y="321"/>
                  <a:pt x="243" y="309"/>
                </a:cubicBezTo>
                <a:cubicBezTo>
                  <a:pt x="309" y="243"/>
                  <a:pt x="309" y="243"/>
                  <a:pt x="309" y="243"/>
                </a:cubicBezTo>
                <a:cubicBezTo>
                  <a:pt x="321" y="231"/>
                  <a:pt x="341" y="229"/>
                  <a:pt x="355" y="239"/>
                </a:cubicBezTo>
                <a:cubicBezTo>
                  <a:pt x="500" y="335"/>
                  <a:pt x="500" y="335"/>
                  <a:pt x="500" y="335"/>
                </a:cubicBezTo>
                <a:cubicBezTo>
                  <a:pt x="510" y="342"/>
                  <a:pt x="523" y="343"/>
                  <a:pt x="534" y="337"/>
                </a:cubicBezTo>
                <a:cubicBezTo>
                  <a:pt x="570" y="317"/>
                  <a:pt x="608" y="301"/>
                  <a:pt x="647" y="290"/>
                </a:cubicBezTo>
                <a:cubicBezTo>
                  <a:pt x="659" y="286"/>
                  <a:pt x="668" y="277"/>
                  <a:pt x="670" y="265"/>
                </a:cubicBezTo>
                <a:cubicBezTo>
                  <a:pt x="705" y="94"/>
                  <a:pt x="705" y="94"/>
                  <a:pt x="705" y="94"/>
                </a:cubicBezTo>
                <a:cubicBezTo>
                  <a:pt x="708" y="77"/>
                  <a:pt x="723" y="65"/>
                  <a:pt x="740" y="65"/>
                </a:cubicBezTo>
                <a:cubicBezTo>
                  <a:pt x="834" y="65"/>
                  <a:pt x="834" y="65"/>
                  <a:pt x="834" y="65"/>
                </a:cubicBezTo>
                <a:cubicBezTo>
                  <a:pt x="851" y="65"/>
                  <a:pt x="866" y="77"/>
                  <a:pt x="869" y="94"/>
                </a:cubicBezTo>
                <a:cubicBezTo>
                  <a:pt x="903" y="265"/>
                  <a:pt x="903" y="265"/>
                  <a:pt x="903" y="265"/>
                </a:cubicBezTo>
                <a:cubicBezTo>
                  <a:pt x="906" y="277"/>
                  <a:pt x="915" y="286"/>
                  <a:pt x="926" y="290"/>
                </a:cubicBezTo>
                <a:cubicBezTo>
                  <a:pt x="966" y="301"/>
                  <a:pt x="1004" y="317"/>
                  <a:pt x="1040" y="337"/>
                </a:cubicBezTo>
                <a:cubicBezTo>
                  <a:pt x="1050" y="343"/>
                  <a:pt x="1064" y="342"/>
                  <a:pt x="1074" y="335"/>
                </a:cubicBezTo>
                <a:cubicBezTo>
                  <a:pt x="1219" y="239"/>
                  <a:pt x="1219" y="239"/>
                  <a:pt x="1219" y="239"/>
                </a:cubicBezTo>
                <a:cubicBezTo>
                  <a:pt x="1233" y="229"/>
                  <a:pt x="1252" y="231"/>
                  <a:pt x="1265" y="243"/>
                </a:cubicBezTo>
                <a:cubicBezTo>
                  <a:pt x="1331" y="309"/>
                  <a:pt x="1331" y="309"/>
                  <a:pt x="1331" y="309"/>
                </a:cubicBezTo>
                <a:cubicBezTo>
                  <a:pt x="1343" y="321"/>
                  <a:pt x="1345" y="341"/>
                  <a:pt x="1335" y="355"/>
                </a:cubicBezTo>
                <a:cubicBezTo>
                  <a:pt x="1238" y="500"/>
                  <a:pt x="1238" y="500"/>
                  <a:pt x="1238" y="500"/>
                </a:cubicBezTo>
                <a:cubicBezTo>
                  <a:pt x="1232" y="510"/>
                  <a:pt x="1231" y="523"/>
                  <a:pt x="1237" y="534"/>
                </a:cubicBezTo>
                <a:cubicBezTo>
                  <a:pt x="1257" y="570"/>
                  <a:pt x="1273" y="608"/>
                  <a:pt x="1284" y="647"/>
                </a:cubicBezTo>
                <a:cubicBezTo>
                  <a:pt x="1287" y="659"/>
                  <a:pt x="1297" y="668"/>
                  <a:pt x="1309" y="670"/>
                </a:cubicBezTo>
                <a:cubicBezTo>
                  <a:pt x="1480" y="705"/>
                  <a:pt x="1480" y="705"/>
                  <a:pt x="1480" y="705"/>
                </a:cubicBezTo>
                <a:cubicBezTo>
                  <a:pt x="1497" y="708"/>
                  <a:pt x="1509" y="723"/>
                  <a:pt x="1509" y="740"/>
                </a:cubicBezTo>
                <a:cubicBezTo>
                  <a:pt x="1509" y="834"/>
                  <a:pt x="1509" y="834"/>
                  <a:pt x="1509" y="834"/>
                </a:cubicBezTo>
                <a:cubicBezTo>
                  <a:pt x="1509" y="851"/>
                  <a:pt x="1497" y="866"/>
                  <a:pt x="1480" y="869"/>
                </a:cubicBezTo>
                <a:cubicBezTo>
                  <a:pt x="1309" y="903"/>
                  <a:pt x="1309" y="903"/>
                  <a:pt x="1309" y="903"/>
                </a:cubicBezTo>
                <a:cubicBezTo>
                  <a:pt x="1297" y="906"/>
                  <a:pt x="1287" y="915"/>
                  <a:pt x="1284" y="926"/>
                </a:cubicBezTo>
                <a:cubicBezTo>
                  <a:pt x="1276" y="955"/>
                  <a:pt x="1265" y="983"/>
                  <a:pt x="1253" y="1010"/>
                </a:cubicBezTo>
                <a:cubicBezTo>
                  <a:pt x="1245" y="1026"/>
                  <a:pt x="1252" y="1045"/>
                  <a:pt x="1268" y="1053"/>
                </a:cubicBezTo>
                <a:cubicBezTo>
                  <a:pt x="1284" y="1061"/>
                  <a:pt x="1303" y="1054"/>
                  <a:pt x="1311" y="1038"/>
                </a:cubicBezTo>
                <a:cubicBezTo>
                  <a:pt x="1322" y="1014"/>
                  <a:pt x="1332" y="989"/>
                  <a:pt x="1341" y="963"/>
                </a:cubicBezTo>
                <a:cubicBezTo>
                  <a:pt x="1493" y="932"/>
                  <a:pt x="1493" y="932"/>
                  <a:pt x="1493" y="932"/>
                </a:cubicBezTo>
                <a:cubicBezTo>
                  <a:pt x="1540" y="923"/>
                  <a:pt x="1574" y="881"/>
                  <a:pt x="1574" y="834"/>
                </a:cubicBezTo>
                <a:cubicBezTo>
                  <a:pt x="1574" y="740"/>
                  <a:pt x="1574" y="740"/>
                  <a:pt x="1574" y="740"/>
                </a:cubicBezTo>
                <a:cubicBezTo>
                  <a:pt x="1574" y="692"/>
                  <a:pt x="1540" y="651"/>
                  <a:pt x="1493" y="641"/>
                </a:cubicBezTo>
                <a:cubicBezTo>
                  <a:pt x="1341" y="611"/>
                  <a:pt x="1341" y="611"/>
                  <a:pt x="1341" y="611"/>
                </a:cubicBezTo>
                <a:cubicBezTo>
                  <a:pt x="1331" y="579"/>
                  <a:pt x="1318" y="549"/>
                  <a:pt x="1303" y="520"/>
                </a:cubicBezTo>
                <a:cubicBezTo>
                  <a:pt x="1389" y="391"/>
                  <a:pt x="1389" y="391"/>
                  <a:pt x="1389" y="391"/>
                </a:cubicBezTo>
                <a:cubicBezTo>
                  <a:pt x="1415" y="351"/>
                  <a:pt x="1410" y="297"/>
                  <a:pt x="1376" y="263"/>
                </a:cubicBezTo>
                <a:cubicBezTo>
                  <a:pt x="1310" y="197"/>
                  <a:pt x="1310" y="197"/>
                  <a:pt x="1310" y="197"/>
                </a:cubicBezTo>
                <a:cubicBezTo>
                  <a:pt x="1276" y="164"/>
                  <a:pt x="1223" y="158"/>
                  <a:pt x="1183" y="185"/>
                </a:cubicBezTo>
                <a:cubicBezTo>
                  <a:pt x="1054" y="271"/>
                  <a:pt x="1054" y="271"/>
                  <a:pt x="1054" y="271"/>
                </a:cubicBezTo>
                <a:cubicBezTo>
                  <a:pt x="1025" y="256"/>
                  <a:pt x="994" y="243"/>
                  <a:pt x="963" y="233"/>
                </a:cubicBezTo>
                <a:cubicBezTo>
                  <a:pt x="932" y="81"/>
                  <a:pt x="932" y="81"/>
                  <a:pt x="932" y="81"/>
                </a:cubicBezTo>
                <a:cubicBezTo>
                  <a:pt x="923" y="34"/>
                  <a:pt x="881" y="0"/>
                  <a:pt x="834" y="0"/>
                </a:cubicBezTo>
                <a:cubicBezTo>
                  <a:pt x="740" y="0"/>
                  <a:pt x="740" y="0"/>
                  <a:pt x="740" y="0"/>
                </a:cubicBezTo>
                <a:cubicBezTo>
                  <a:pt x="692" y="0"/>
                  <a:pt x="651" y="34"/>
                  <a:pt x="641" y="81"/>
                </a:cubicBezTo>
                <a:cubicBezTo>
                  <a:pt x="611" y="233"/>
                  <a:pt x="611" y="233"/>
                  <a:pt x="611" y="233"/>
                </a:cubicBezTo>
                <a:cubicBezTo>
                  <a:pt x="579" y="243"/>
                  <a:pt x="549" y="256"/>
                  <a:pt x="520" y="271"/>
                </a:cubicBezTo>
                <a:cubicBezTo>
                  <a:pt x="391" y="185"/>
                  <a:pt x="391" y="185"/>
                  <a:pt x="391" y="185"/>
                </a:cubicBezTo>
                <a:cubicBezTo>
                  <a:pt x="351" y="158"/>
                  <a:pt x="297" y="164"/>
                  <a:pt x="263" y="197"/>
                </a:cubicBezTo>
                <a:cubicBezTo>
                  <a:pt x="197" y="263"/>
                  <a:pt x="197" y="263"/>
                  <a:pt x="197" y="263"/>
                </a:cubicBezTo>
                <a:cubicBezTo>
                  <a:pt x="164" y="297"/>
                  <a:pt x="158" y="351"/>
                  <a:pt x="185" y="391"/>
                </a:cubicBezTo>
                <a:cubicBezTo>
                  <a:pt x="271" y="520"/>
                  <a:pt x="271" y="520"/>
                  <a:pt x="271" y="520"/>
                </a:cubicBezTo>
                <a:cubicBezTo>
                  <a:pt x="256" y="549"/>
                  <a:pt x="243" y="579"/>
                  <a:pt x="233" y="611"/>
                </a:cubicBezTo>
                <a:cubicBezTo>
                  <a:pt x="81" y="641"/>
                  <a:pt x="81" y="641"/>
                  <a:pt x="81" y="641"/>
                </a:cubicBezTo>
                <a:cubicBezTo>
                  <a:pt x="34" y="651"/>
                  <a:pt x="0" y="692"/>
                  <a:pt x="0" y="740"/>
                </a:cubicBezTo>
                <a:cubicBezTo>
                  <a:pt x="0" y="834"/>
                  <a:pt x="0" y="834"/>
                  <a:pt x="0" y="834"/>
                </a:cubicBezTo>
                <a:cubicBezTo>
                  <a:pt x="0" y="881"/>
                  <a:pt x="34" y="923"/>
                  <a:pt x="81" y="932"/>
                </a:cubicBezTo>
                <a:cubicBezTo>
                  <a:pt x="233" y="963"/>
                  <a:pt x="233" y="963"/>
                  <a:pt x="233" y="963"/>
                </a:cubicBezTo>
                <a:cubicBezTo>
                  <a:pt x="243" y="994"/>
                  <a:pt x="256" y="1025"/>
                  <a:pt x="271" y="1054"/>
                </a:cubicBezTo>
                <a:cubicBezTo>
                  <a:pt x="185" y="1183"/>
                  <a:pt x="185" y="1183"/>
                  <a:pt x="185" y="1183"/>
                </a:cubicBezTo>
                <a:cubicBezTo>
                  <a:pt x="158" y="1223"/>
                  <a:pt x="164" y="1276"/>
                  <a:pt x="197" y="1310"/>
                </a:cubicBezTo>
                <a:cubicBezTo>
                  <a:pt x="263" y="1376"/>
                  <a:pt x="263" y="1376"/>
                  <a:pt x="263" y="1376"/>
                </a:cubicBezTo>
                <a:cubicBezTo>
                  <a:pt x="297" y="1410"/>
                  <a:pt x="351" y="1415"/>
                  <a:pt x="391" y="1389"/>
                </a:cubicBezTo>
                <a:cubicBezTo>
                  <a:pt x="520" y="1303"/>
                  <a:pt x="520" y="1303"/>
                  <a:pt x="520" y="1303"/>
                </a:cubicBezTo>
                <a:cubicBezTo>
                  <a:pt x="549" y="1318"/>
                  <a:pt x="579" y="1331"/>
                  <a:pt x="611" y="1341"/>
                </a:cubicBezTo>
                <a:cubicBezTo>
                  <a:pt x="641" y="1493"/>
                  <a:pt x="641" y="1493"/>
                  <a:pt x="641" y="1493"/>
                </a:cubicBezTo>
                <a:cubicBezTo>
                  <a:pt x="651" y="1540"/>
                  <a:pt x="692" y="1574"/>
                  <a:pt x="740" y="1574"/>
                </a:cubicBezTo>
                <a:cubicBezTo>
                  <a:pt x="834" y="1574"/>
                  <a:pt x="834" y="1574"/>
                  <a:pt x="834" y="1574"/>
                </a:cubicBezTo>
                <a:cubicBezTo>
                  <a:pt x="881" y="1574"/>
                  <a:pt x="923" y="1540"/>
                  <a:pt x="932" y="1493"/>
                </a:cubicBezTo>
                <a:cubicBezTo>
                  <a:pt x="963" y="1341"/>
                  <a:pt x="963" y="1341"/>
                  <a:pt x="963" y="1341"/>
                </a:cubicBezTo>
                <a:cubicBezTo>
                  <a:pt x="988" y="1333"/>
                  <a:pt x="1012" y="1323"/>
                  <a:pt x="1036" y="1312"/>
                </a:cubicBezTo>
                <a:cubicBezTo>
                  <a:pt x="1052" y="1304"/>
                  <a:pt x="1059" y="1285"/>
                  <a:pt x="1051" y="1269"/>
                </a:cubicBezTo>
                <a:close/>
                <a:moveTo>
                  <a:pt x="1520" y="1403"/>
                </a:moveTo>
                <a:cubicBezTo>
                  <a:pt x="1584" y="1403"/>
                  <a:pt x="1636" y="1456"/>
                  <a:pt x="1636" y="1520"/>
                </a:cubicBezTo>
                <a:cubicBezTo>
                  <a:pt x="1636" y="1538"/>
                  <a:pt x="1651" y="1552"/>
                  <a:pt x="1669" y="1552"/>
                </a:cubicBezTo>
                <a:cubicBezTo>
                  <a:pt x="1686" y="1552"/>
                  <a:pt x="1701" y="1538"/>
                  <a:pt x="1701" y="1520"/>
                </a:cubicBezTo>
                <a:cubicBezTo>
                  <a:pt x="1701" y="1420"/>
                  <a:pt x="1620" y="1339"/>
                  <a:pt x="1520" y="1339"/>
                </a:cubicBezTo>
                <a:cubicBezTo>
                  <a:pt x="1420" y="1339"/>
                  <a:pt x="1339" y="1420"/>
                  <a:pt x="1339" y="1520"/>
                </a:cubicBezTo>
                <a:cubicBezTo>
                  <a:pt x="1339" y="1620"/>
                  <a:pt x="1420" y="1701"/>
                  <a:pt x="1520" y="1701"/>
                </a:cubicBezTo>
                <a:cubicBezTo>
                  <a:pt x="1560" y="1701"/>
                  <a:pt x="1599" y="1688"/>
                  <a:pt x="1630" y="1663"/>
                </a:cubicBezTo>
                <a:cubicBezTo>
                  <a:pt x="1645" y="1652"/>
                  <a:pt x="1647" y="1632"/>
                  <a:pt x="1636" y="1618"/>
                </a:cubicBezTo>
                <a:cubicBezTo>
                  <a:pt x="1625" y="1604"/>
                  <a:pt x="1605" y="1601"/>
                  <a:pt x="1591" y="1612"/>
                </a:cubicBezTo>
                <a:cubicBezTo>
                  <a:pt x="1570" y="1628"/>
                  <a:pt x="1546" y="1636"/>
                  <a:pt x="1520" y="1636"/>
                </a:cubicBezTo>
                <a:cubicBezTo>
                  <a:pt x="1456" y="1636"/>
                  <a:pt x="1403" y="1584"/>
                  <a:pt x="1403" y="1520"/>
                </a:cubicBezTo>
                <a:cubicBezTo>
                  <a:pt x="1403" y="1456"/>
                  <a:pt x="1456" y="1403"/>
                  <a:pt x="1520" y="1403"/>
                </a:cubicBezTo>
                <a:close/>
                <a:moveTo>
                  <a:pt x="1986" y="1413"/>
                </a:moveTo>
                <a:cubicBezTo>
                  <a:pt x="1892" y="1395"/>
                  <a:pt x="1892" y="1395"/>
                  <a:pt x="1892" y="1395"/>
                </a:cubicBezTo>
                <a:cubicBezTo>
                  <a:pt x="1887" y="1378"/>
                  <a:pt x="1880" y="1361"/>
                  <a:pt x="1872" y="1345"/>
                </a:cubicBezTo>
                <a:cubicBezTo>
                  <a:pt x="1925" y="1266"/>
                  <a:pt x="1925" y="1266"/>
                  <a:pt x="1925" y="1266"/>
                </a:cubicBezTo>
                <a:cubicBezTo>
                  <a:pt x="1945" y="1235"/>
                  <a:pt x="1941" y="1194"/>
                  <a:pt x="1915" y="1168"/>
                </a:cubicBezTo>
                <a:cubicBezTo>
                  <a:pt x="1872" y="1125"/>
                  <a:pt x="1872" y="1125"/>
                  <a:pt x="1872" y="1125"/>
                </a:cubicBezTo>
                <a:cubicBezTo>
                  <a:pt x="1846" y="1099"/>
                  <a:pt x="1805" y="1095"/>
                  <a:pt x="1774" y="1115"/>
                </a:cubicBezTo>
                <a:cubicBezTo>
                  <a:pt x="1695" y="1168"/>
                  <a:pt x="1695" y="1168"/>
                  <a:pt x="1695" y="1168"/>
                </a:cubicBezTo>
                <a:cubicBezTo>
                  <a:pt x="1679" y="1160"/>
                  <a:pt x="1662" y="1153"/>
                  <a:pt x="1645" y="1147"/>
                </a:cubicBezTo>
                <a:cubicBezTo>
                  <a:pt x="1626" y="1054"/>
                  <a:pt x="1626" y="1054"/>
                  <a:pt x="1626" y="1054"/>
                </a:cubicBezTo>
                <a:cubicBezTo>
                  <a:pt x="1619" y="1018"/>
                  <a:pt x="1587" y="992"/>
                  <a:pt x="1550" y="992"/>
                </a:cubicBezTo>
                <a:cubicBezTo>
                  <a:pt x="1489" y="992"/>
                  <a:pt x="1489" y="992"/>
                  <a:pt x="1489" y="992"/>
                </a:cubicBezTo>
                <a:cubicBezTo>
                  <a:pt x="1452" y="992"/>
                  <a:pt x="1420" y="1018"/>
                  <a:pt x="1413" y="1054"/>
                </a:cubicBezTo>
                <a:cubicBezTo>
                  <a:pt x="1395" y="1147"/>
                  <a:pt x="1395" y="1147"/>
                  <a:pt x="1395" y="1147"/>
                </a:cubicBezTo>
                <a:cubicBezTo>
                  <a:pt x="1378" y="1153"/>
                  <a:pt x="1361" y="1160"/>
                  <a:pt x="1345" y="1168"/>
                </a:cubicBezTo>
                <a:cubicBezTo>
                  <a:pt x="1266" y="1115"/>
                  <a:pt x="1266" y="1115"/>
                  <a:pt x="1266" y="1115"/>
                </a:cubicBezTo>
                <a:cubicBezTo>
                  <a:pt x="1235" y="1095"/>
                  <a:pt x="1194" y="1099"/>
                  <a:pt x="1168" y="1125"/>
                </a:cubicBezTo>
                <a:cubicBezTo>
                  <a:pt x="1125" y="1168"/>
                  <a:pt x="1125" y="1168"/>
                  <a:pt x="1125" y="1168"/>
                </a:cubicBezTo>
                <a:cubicBezTo>
                  <a:pt x="1099" y="1194"/>
                  <a:pt x="1095" y="1235"/>
                  <a:pt x="1115" y="1266"/>
                </a:cubicBezTo>
                <a:cubicBezTo>
                  <a:pt x="1168" y="1345"/>
                  <a:pt x="1168" y="1345"/>
                  <a:pt x="1168" y="1345"/>
                </a:cubicBezTo>
                <a:cubicBezTo>
                  <a:pt x="1157" y="1367"/>
                  <a:pt x="1148" y="1390"/>
                  <a:pt x="1141" y="1414"/>
                </a:cubicBezTo>
                <a:cubicBezTo>
                  <a:pt x="1137" y="1431"/>
                  <a:pt x="1147" y="1449"/>
                  <a:pt x="1164" y="1454"/>
                </a:cubicBezTo>
                <a:cubicBezTo>
                  <a:pt x="1181" y="1458"/>
                  <a:pt x="1199" y="1448"/>
                  <a:pt x="1204" y="1431"/>
                </a:cubicBezTo>
                <a:cubicBezTo>
                  <a:pt x="1211" y="1406"/>
                  <a:pt x="1221" y="1382"/>
                  <a:pt x="1234" y="1359"/>
                </a:cubicBezTo>
                <a:cubicBezTo>
                  <a:pt x="1240" y="1348"/>
                  <a:pt x="1239" y="1335"/>
                  <a:pt x="1232" y="1325"/>
                </a:cubicBezTo>
                <a:cubicBezTo>
                  <a:pt x="1169" y="1230"/>
                  <a:pt x="1169" y="1230"/>
                  <a:pt x="1169" y="1230"/>
                </a:cubicBezTo>
                <a:cubicBezTo>
                  <a:pt x="1165" y="1225"/>
                  <a:pt x="1166" y="1218"/>
                  <a:pt x="1170" y="1214"/>
                </a:cubicBezTo>
                <a:cubicBezTo>
                  <a:pt x="1214" y="1170"/>
                  <a:pt x="1214" y="1170"/>
                  <a:pt x="1214" y="1170"/>
                </a:cubicBezTo>
                <a:cubicBezTo>
                  <a:pt x="1218" y="1166"/>
                  <a:pt x="1225" y="1165"/>
                  <a:pt x="1230" y="1169"/>
                </a:cubicBezTo>
                <a:cubicBezTo>
                  <a:pt x="1325" y="1232"/>
                  <a:pt x="1325" y="1232"/>
                  <a:pt x="1325" y="1232"/>
                </a:cubicBezTo>
                <a:cubicBezTo>
                  <a:pt x="1335" y="1239"/>
                  <a:pt x="1348" y="1240"/>
                  <a:pt x="1359" y="1234"/>
                </a:cubicBezTo>
                <a:cubicBezTo>
                  <a:pt x="1382" y="1221"/>
                  <a:pt x="1406" y="1211"/>
                  <a:pt x="1431" y="1204"/>
                </a:cubicBezTo>
                <a:cubicBezTo>
                  <a:pt x="1443" y="1200"/>
                  <a:pt x="1452" y="1191"/>
                  <a:pt x="1454" y="1179"/>
                </a:cubicBezTo>
                <a:cubicBezTo>
                  <a:pt x="1477" y="1067"/>
                  <a:pt x="1477" y="1067"/>
                  <a:pt x="1477" y="1067"/>
                </a:cubicBezTo>
                <a:cubicBezTo>
                  <a:pt x="1478" y="1061"/>
                  <a:pt x="1483" y="1056"/>
                  <a:pt x="1489" y="1056"/>
                </a:cubicBezTo>
                <a:cubicBezTo>
                  <a:pt x="1550" y="1056"/>
                  <a:pt x="1550" y="1056"/>
                  <a:pt x="1550" y="1056"/>
                </a:cubicBezTo>
                <a:cubicBezTo>
                  <a:pt x="1557" y="1056"/>
                  <a:pt x="1562" y="1061"/>
                  <a:pt x="1563" y="1067"/>
                </a:cubicBezTo>
                <a:cubicBezTo>
                  <a:pt x="1585" y="1179"/>
                  <a:pt x="1585" y="1179"/>
                  <a:pt x="1585" y="1179"/>
                </a:cubicBezTo>
                <a:cubicBezTo>
                  <a:pt x="1588" y="1191"/>
                  <a:pt x="1597" y="1200"/>
                  <a:pt x="1608" y="1204"/>
                </a:cubicBezTo>
                <a:cubicBezTo>
                  <a:pt x="1634" y="1211"/>
                  <a:pt x="1658" y="1221"/>
                  <a:pt x="1681" y="1234"/>
                </a:cubicBezTo>
                <a:cubicBezTo>
                  <a:pt x="1691" y="1240"/>
                  <a:pt x="1704" y="1239"/>
                  <a:pt x="1714" y="1232"/>
                </a:cubicBezTo>
                <a:cubicBezTo>
                  <a:pt x="1810" y="1169"/>
                  <a:pt x="1810" y="1169"/>
                  <a:pt x="1810" y="1169"/>
                </a:cubicBezTo>
                <a:cubicBezTo>
                  <a:pt x="1815" y="1165"/>
                  <a:pt x="1822" y="1166"/>
                  <a:pt x="1826" y="1170"/>
                </a:cubicBezTo>
                <a:cubicBezTo>
                  <a:pt x="1869" y="1214"/>
                  <a:pt x="1869" y="1214"/>
                  <a:pt x="1869" y="1214"/>
                </a:cubicBezTo>
                <a:cubicBezTo>
                  <a:pt x="1874" y="1218"/>
                  <a:pt x="1874" y="1225"/>
                  <a:pt x="1871" y="1230"/>
                </a:cubicBezTo>
                <a:cubicBezTo>
                  <a:pt x="1807" y="1325"/>
                  <a:pt x="1807" y="1325"/>
                  <a:pt x="1807" y="1325"/>
                </a:cubicBezTo>
                <a:cubicBezTo>
                  <a:pt x="1801" y="1335"/>
                  <a:pt x="1800" y="1348"/>
                  <a:pt x="1806" y="1359"/>
                </a:cubicBezTo>
                <a:cubicBezTo>
                  <a:pt x="1819" y="1382"/>
                  <a:pt x="1829" y="1406"/>
                  <a:pt x="1836" y="1431"/>
                </a:cubicBezTo>
                <a:cubicBezTo>
                  <a:pt x="1839" y="1443"/>
                  <a:pt x="1849" y="1452"/>
                  <a:pt x="1861" y="1454"/>
                </a:cubicBezTo>
                <a:cubicBezTo>
                  <a:pt x="1973" y="1477"/>
                  <a:pt x="1973" y="1477"/>
                  <a:pt x="1973" y="1477"/>
                </a:cubicBezTo>
                <a:cubicBezTo>
                  <a:pt x="1979" y="1478"/>
                  <a:pt x="1983" y="1483"/>
                  <a:pt x="1983" y="1489"/>
                </a:cubicBezTo>
                <a:cubicBezTo>
                  <a:pt x="1983" y="1550"/>
                  <a:pt x="1983" y="1550"/>
                  <a:pt x="1983" y="1550"/>
                </a:cubicBezTo>
                <a:cubicBezTo>
                  <a:pt x="1983" y="1557"/>
                  <a:pt x="1979" y="1562"/>
                  <a:pt x="1973" y="1563"/>
                </a:cubicBezTo>
                <a:cubicBezTo>
                  <a:pt x="1861" y="1585"/>
                  <a:pt x="1861" y="1585"/>
                  <a:pt x="1861" y="1585"/>
                </a:cubicBezTo>
                <a:cubicBezTo>
                  <a:pt x="1849" y="1588"/>
                  <a:pt x="1839" y="1597"/>
                  <a:pt x="1836" y="1608"/>
                </a:cubicBezTo>
                <a:cubicBezTo>
                  <a:pt x="1829" y="1634"/>
                  <a:pt x="1819" y="1658"/>
                  <a:pt x="1806" y="1681"/>
                </a:cubicBezTo>
                <a:cubicBezTo>
                  <a:pt x="1800" y="1691"/>
                  <a:pt x="1801" y="1704"/>
                  <a:pt x="1807" y="1714"/>
                </a:cubicBezTo>
                <a:cubicBezTo>
                  <a:pt x="1871" y="1810"/>
                  <a:pt x="1871" y="1810"/>
                  <a:pt x="1871" y="1810"/>
                </a:cubicBezTo>
                <a:cubicBezTo>
                  <a:pt x="1874" y="1815"/>
                  <a:pt x="1874" y="1822"/>
                  <a:pt x="1869" y="1826"/>
                </a:cubicBezTo>
                <a:cubicBezTo>
                  <a:pt x="1826" y="1869"/>
                  <a:pt x="1826" y="1869"/>
                  <a:pt x="1826" y="1869"/>
                </a:cubicBezTo>
                <a:cubicBezTo>
                  <a:pt x="1822" y="1874"/>
                  <a:pt x="1815" y="1874"/>
                  <a:pt x="1810" y="1871"/>
                </a:cubicBezTo>
                <a:cubicBezTo>
                  <a:pt x="1714" y="1807"/>
                  <a:pt x="1714" y="1807"/>
                  <a:pt x="1714" y="1807"/>
                </a:cubicBezTo>
                <a:cubicBezTo>
                  <a:pt x="1704" y="1801"/>
                  <a:pt x="1691" y="1800"/>
                  <a:pt x="1681" y="1806"/>
                </a:cubicBezTo>
                <a:cubicBezTo>
                  <a:pt x="1658" y="1819"/>
                  <a:pt x="1634" y="1829"/>
                  <a:pt x="1608" y="1836"/>
                </a:cubicBezTo>
                <a:cubicBezTo>
                  <a:pt x="1597" y="1839"/>
                  <a:pt x="1588" y="1849"/>
                  <a:pt x="1585" y="1861"/>
                </a:cubicBezTo>
                <a:cubicBezTo>
                  <a:pt x="1563" y="1973"/>
                  <a:pt x="1563" y="1973"/>
                  <a:pt x="1563" y="1973"/>
                </a:cubicBezTo>
                <a:cubicBezTo>
                  <a:pt x="1562" y="1979"/>
                  <a:pt x="1557" y="1983"/>
                  <a:pt x="1550" y="1983"/>
                </a:cubicBezTo>
                <a:cubicBezTo>
                  <a:pt x="1489" y="1983"/>
                  <a:pt x="1489" y="1983"/>
                  <a:pt x="1489" y="1983"/>
                </a:cubicBezTo>
                <a:cubicBezTo>
                  <a:pt x="1483" y="1983"/>
                  <a:pt x="1478" y="1979"/>
                  <a:pt x="1477" y="1973"/>
                </a:cubicBezTo>
                <a:cubicBezTo>
                  <a:pt x="1454" y="1861"/>
                  <a:pt x="1454" y="1861"/>
                  <a:pt x="1454" y="1861"/>
                </a:cubicBezTo>
                <a:cubicBezTo>
                  <a:pt x="1452" y="1849"/>
                  <a:pt x="1443" y="1839"/>
                  <a:pt x="1431" y="1836"/>
                </a:cubicBezTo>
                <a:cubicBezTo>
                  <a:pt x="1406" y="1829"/>
                  <a:pt x="1382" y="1819"/>
                  <a:pt x="1359" y="1806"/>
                </a:cubicBezTo>
                <a:cubicBezTo>
                  <a:pt x="1348" y="1800"/>
                  <a:pt x="1335" y="1801"/>
                  <a:pt x="1325" y="1807"/>
                </a:cubicBezTo>
                <a:cubicBezTo>
                  <a:pt x="1230" y="1871"/>
                  <a:pt x="1230" y="1871"/>
                  <a:pt x="1230" y="1871"/>
                </a:cubicBezTo>
                <a:cubicBezTo>
                  <a:pt x="1225" y="1874"/>
                  <a:pt x="1218" y="1874"/>
                  <a:pt x="1214" y="1869"/>
                </a:cubicBezTo>
                <a:cubicBezTo>
                  <a:pt x="1170" y="1826"/>
                  <a:pt x="1170" y="1826"/>
                  <a:pt x="1170" y="1826"/>
                </a:cubicBezTo>
                <a:cubicBezTo>
                  <a:pt x="1166" y="1822"/>
                  <a:pt x="1165" y="1815"/>
                  <a:pt x="1169" y="1810"/>
                </a:cubicBezTo>
                <a:cubicBezTo>
                  <a:pt x="1232" y="1714"/>
                  <a:pt x="1232" y="1714"/>
                  <a:pt x="1232" y="1714"/>
                </a:cubicBezTo>
                <a:cubicBezTo>
                  <a:pt x="1239" y="1704"/>
                  <a:pt x="1240" y="1691"/>
                  <a:pt x="1234" y="1681"/>
                </a:cubicBezTo>
                <a:cubicBezTo>
                  <a:pt x="1221" y="1658"/>
                  <a:pt x="1211" y="1634"/>
                  <a:pt x="1204" y="1608"/>
                </a:cubicBezTo>
                <a:cubicBezTo>
                  <a:pt x="1200" y="1597"/>
                  <a:pt x="1191" y="1588"/>
                  <a:pt x="1179" y="1585"/>
                </a:cubicBezTo>
                <a:cubicBezTo>
                  <a:pt x="1067" y="1563"/>
                  <a:pt x="1067" y="1563"/>
                  <a:pt x="1067" y="1563"/>
                </a:cubicBezTo>
                <a:cubicBezTo>
                  <a:pt x="1061" y="1562"/>
                  <a:pt x="1056" y="1557"/>
                  <a:pt x="1056" y="1550"/>
                </a:cubicBezTo>
                <a:cubicBezTo>
                  <a:pt x="1056" y="1489"/>
                  <a:pt x="1056" y="1489"/>
                  <a:pt x="1056" y="1489"/>
                </a:cubicBezTo>
                <a:cubicBezTo>
                  <a:pt x="1056" y="1483"/>
                  <a:pt x="1061" y="1478"/>
                  <a:pt x="1067" y="1477"/>
                </a:cubicBezTo>
                <a:cubicBezTo>
                  <a:pt x="1073" y="1475"/>
                  <a:pt x="1073" y="1475"/>
                  <a:pt x="1073" y="1475"/>
                </a:cubicBezTo>
                <a:cubicBezTo>
                  <a:pt x="1091" y="1472"/>
                  <a:pt x="1102" y="1455"/>
                  <a:pt x="1099" y="1437"/>
                </a:cubicBezTo>
                <a:cubicBezTo>
                  <a:pt x="1095" y="1420"/>
                  <a:pt x="1078" y="1408"/>
                  <a:pt x="1061" y="1412"/>
                </a:cubicBezTo>
                <a:cubicBezTo>
                  <a:pt x="1054" y="1413"/>
                  <a:pt x="1054" y="1413"/>
                  <a:pt x="1054" y="1413"/>
                </a:cubicBezTo>
                <a:cubicBezTo>
                  <a:pt x="1018" y="1420"/>
                  <a:pt x="992" y="1452"/>
                  <a:pt x="992" y="1489"/>
                </a:cubicBezTo>
                <a:cubicBezTo>
                  <a:pt x="992" y="1550"/>
                  <a:pt x="992" y="1550"/>
                  <a:pt x="992" y="1550"/>
                </a:cubicBezTo>
                <a:cubicBezTo>
                  <a:pt x="992" y="1587"/>
                  <a:pt x="1018" y="1619"/>
                  <a:pt x="1054" y="1626"/>
                </a:cubicBezTo>
                <a:cubicBezTo>
                  <a:pt x="1147" y="1645"/>
                  <a:pt x="1147" y="1645"/>
                  <a:pt x="1147" y="1645"/>
                </a:cubicBezTo>
                <a:cubicBezTo>
                  <a:pt x="1153" y="1662"/>
                  <a:pt x="1160" y="1679"/>
                  <a:pt x="1168" y="1695"/>
                </a:cubicBezTo>
                <a:cubicBezTo>
                  <a:pt x="1115" y="1774"/>
                  <a:pt x="1115" y="1774"/>
                  <a:pt x="1115" y="1774"/>
                </a:cubicBezTo>
                <a:cubicBezTo>
                  <a:pt x="1095" y="1805"/>
                  <a:pt x="1099" y="1846"/>
                  <a:pt x="1125" y="1872"/>
                </a:cubicBezTo>
                <a:cubicBezTo>
                  <a:pt x="1168" y="1915"/>
                  <a:pt x="1168" y="1915"/>
                  <a:pt x="1168" y="1915"/>
                </a:cubicBezTo>
                <a:cubicBezTo>
                  <a:pt x="1194" y="1941"/>
                  <a:pt x="1235" y="1945"/>
                  <a:pt x="1266" y="1925"/>
                </a:cubicBezTo>
                <a:cubicBezTo>
                  <a:pt x="1345" y="1872"/>
                  <a:pt x="1345" y="1872"/>
                  <a:pt x="1345" y="1872"/>
                </a:cubicBezTo>
                <a:cubicBezTo>
                  <a:pt x="1361" y="1880"/>
                  <a:pt x="1378" y="1887"/>
                  <a:pt x="1395" y="1892"/>
                </a:cubicBezTo>
                <a:cubicBezTo>
                  <a:pt x="1413" y="1986"/>
                  <a:pt x="1413" y="1986"/>
                  <a:pt x="1413" y="1986"/>
                </a:cubicBezTo>
                <a:cubicBezTo>
                  <a:pt x="1420" y="2022"/>
                  <a:pt x="1452" y="2048"/>
                  <a:pt x="1489" y="2048"/>
                </a:cubicBezTo>
                <a:cubicBezTo>
                  <a:pt x="1550" y="2048"/>
                  <a:pt x="1550" y="2048"/>
                  <a:pt x="1550" y="2048"/>
                </a:cubicBezTo>
                <a:cubicBezTo>
                  <a:pt x="1587" y="2048"/>
                  <a:pt x="1619" y="2022"/>
                  <a:pt x="1626" y="1986"/>
                </a:cubicBezTo>
                <a:cubicBezTo>
                  <a:pt x="1645" y="1892"/>
                  <a:pt x="1645" y="1892"/>
                  <a:pt x="1645" y="1892"/>
                </a:cubicBezTo>
                <a:cubicBezTo>
                  <a:pt x="1662" y="1887"/>
                  <a:pt x="1679" y="1880"/>
                  <a:pt x="1695" y="1872"/>
                </a:cubicBezTo>
                <a:cubicBezTo>
                  <a:pt x="1774" y="1925"/>
                  <a:pt x="1774" y="1925"/>
                  <a:pt x="1774" y="1925"/>
                </a:cubicBezTo>
                <a:cubicBezTo>
                  <a:pt x="1805" y="1945"/>
                  <a:pt x="1846" y="1941"/>
                  <a:pt x="1872" y="1915"/>
                </a:cubicBezTo>
                <a:cubicBezTo>
                  <a:pt x="1915" y="1872"/>
                  <a:pt x="1915" y="1872"/>
                  <a:pt x="1915" y="1872"/>
                </a:cubicBezTo>
                <a:cubicBezTo>
                  <a:pt x="1941" y="1846"/>
                  <a:pt x="1945" y="1805"/>
                  <a:pt x="1925" y="1774"/>
                </a:cubicBezTo>
                <a:cubicBezTo>
                  <a:pt x="1872" y="1695"/>
                  <a:pt x="1872" y="1695"/>
                  <a:pt x="1872" y="1695"/>
                </a:cubicBezTo>
                <a:cubicBezTo>
                  <a:pt x="1880" y="1679"/>
                  <a:pt x="1887" y="1662"/>
                  <a:pt x="1892" y="1645"/>
                </a:cubicBezTo>
                <a:cubicBezTo>
                  <a:pt x="1986" y="1626"/>
                  <a:pt x="1986" y="1626"/>
                  <a:pt x="1986" y="1626"/>
                </a:cubicBezTo>
                <a:cubicBezTo>
                  <a:pt x="2022" y="1619"/>
                  <a:pt x="2048" y="1587"/>
                  <a:pt x="2048" y="1550"/>
                </a:cubicBezTo>
                <a:cubicBezTo>
                  <a:pt x="2048" y="1489"/>
                  <a:pt x="2048" y="1489"/>
                  <a:pt x="2048" y="1489"/>
                </a:cubicBezTo>
                <a:cubicBezTo>
                  <a:pt x="2048" y="1452"/>
                  <a:pt x="2022" y="1420"/>
                  <a:pt x="1986" y="14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dirty="0">
              <a:ln>
                <a:noFill/>
              </a:ln>
              <a:solidFill>
                <a:srgbClr val="000000"/>
              </a:solidFill>
              <a:effectLst/>
              <a:uLnTx/>
              <a:uFillTx/>
              <a:latin typeface="IBM Plex Sans"/>
              <a:ea typeface="+mn-ea"/>
              <a:cs typeface="+mn-cs"/>
            </a:endParaRPr>
          </a:p>
        </p:txBody>
      </p:sp>
      <p:grpSp>
        <p:nvGrpSpPr>
          <p:cNvPr id="18" name="Group 4">
            <a:extLst>
              <a:ext uri="{FF2B5EF4-FFF2-40B4-BE49-F238E27FC236}">
                <a16:creationId xmlns:a16="http://schemas.microsoft.com/office/drawing/2014/main" id="{618471EF-5777-4F73-A020-38B2853A0990}"/>
              </a:ext>
            </a:extLst>
          </p:cNvPr>
          <p:cNvGrpSpPr>
            <a:grpSpLocks noChangeAspect="1"/>
          </p:cNvGrpSpPr>
          <p:nvPr/>
        </p:nvGrpSpPr>
        <p:grpSpPr bwMode="auto">
          <a:xfrm>
            <a:off x="238328" y="952584"/>
            <a:ext cx="425956" cy="412794"/>
            <a:chOff x="1915" y="301"/>
            <a:chExt cx="1780" cy="1725"/>
          </a:xfrm>
          <a:solidFill>
            <a:schemeClr val="accent2"/>
          </a:solidFill>
        </p:grpSpPr>
        <p:sp>
          <p:nvSpPr>
            <p:cNvPr id="19" name="Freeform 5">
              <a:extLst>
                <a:ext uri="{FF2B5EF4-FFF2-40B4-BE49-F238E27FC236}">
                  <a16:creationId xmlns:a16="http://schemas.microsoft.com/office/drawing/2014/main" id="{5608095B-076D-4EC7-8635-D8B199F66330}"/>
                </a:ext>
              </a:extLst>
            </p:cNvPr>
            <p:cNvSpPr>
              <a:spLocks noEditPoints="1"/>
            </p:cNvSpPr>
            <p:nvPr/>
          </p:nvSpPr>
          <p:spPr bwMode="auto">
            <a:xfrm>
              <a:off x="1915" y="301"/>
              <a:ext cx="1667" cy="1725"/>
            </a:xfrm>
            <a:custGeom>
              <a:avLst/>
              <a:gdLst>
                <a:gd name="T0" fmla="*/ 498 w 1892"/>
                <a:gd name="T1" fmla="*/ 1006 h 1950"/>
                <a:gd name="T2" fmla="*/ 1494 w 1892"/>
                <a:gd name="T3" fmla="*/ 1006 h 1950"/>
                <a:gd name="T4" fmla="*/ 1892 w 1892"/>
                <a:gd name="T5" fmla="*/ 622 h 1950"/>
                <a:gd name="T6" fmla="*/ 1494 w 1892"/>
                <a:gd name="T7" fmla="*/ 238 h 1950"/>
                <a:gd name="T8" fmla="*/ 522 w 1892"/>
                <a:gd name="T9" fmla="*/ 238 h 1950"/>
                <a:gd name="T10" fmla="*/ 216 w 1892"/>
                <a:gd name="T11" fmla="*/ 31 h 1950"/>
                <a:gd name="T12" fmla="*/ 16 w 1892"/>
                <a:gd name="T13" fmla="*/ 312 h 1950"/>
                <a:gd name="T14" fmla="*/ 313 w 1892"/>
                <a:gd name="T15" fmla="*/ 534 h 1950"/>
                <a:gd name="T16" fmla="*/ 523 w 1892"/>
                <a:gd name="T17" fmla="*/ 324 h 1950"/>
                <a:gd name="T18" fmla="*/ 1494 w 1892"/>
                <a:gd name="T19" fmla="*/ 324 h 1950"/>
                <a:gd name="T20" fmla="*/ 1807 w 1892"/>
                <a:gd name="T21" fmla="*/ 622 h 1950"/>
                <a:gd name="T22" fmla="*/ 1494 w 1892"/>
                <a:gd name="T23" fmla="*/ 921 h 1950"/>
                <a:gd name="T24" fmla="*/ 498 w 1892"/>
                <a:gd name="T25" fmla="*/ 921 h 1950"/>
                <a:gd name="T26" fmla="*/ 100 w 1892"/>
                <a:gd name="T27" fmla="*/ 1305 h 1950"/>
                <a:gd name="T28" fmla="*/ 498 w 1892"/>
                <a:gd name="T29" fmla="*/ 1689 h 1950"/>
                <a:gd name="T30" fmla="*/ 1191 w 1892"/>
                <a:gd name="T31" fmla="*/ 1689 h 1950"/>
                <a:gd name="T32" fmla="*/ 1008 w 1892"/>
                <a:gd name="T33" fmla="*/ 1872 h 1950"/>
                <a:gd name="T34" fmla="*/ 1008 w 1892"/>
                <a:gd name="T35" fmla="*/ 1932 h 1950"/>
                <a:gd name="T36" fmla="*/ 1068 w 1892"/>
                <a:gd name="T37" fmla="*/ 1933 h 1950"/>
                <a:gd name="T38" fmla="*/ 1069 w 1892"/>
                <a:gd name="T39" fmla="*/ 1932 h 1950"/>
                <a:gd name="T40" fmla="*/ 1324 w 1892"/>
                <a:gd name="T41" fmla="*/ 1677 h 1950"/>
                <a:gd name="T42" fmla="*/ 1324 w 1892"/>
                <a:gd name="T43" fmla="*/ 1616 h 1950"/>
                <a:gd name="T44" fmla="*/ 1324 w 1892"/>
                <a:gd name="T45" fmla="*/ 1616 h 1950"/>
                <a:gd name="T46" fmla="*/ 1069 w 1892"/>
                <a:gd name="T47" fmla="*/ 1360 h 1950"/>
                <a:gd name="T48" fmla="*/ 1008 w 1892"/>
                <a:gd name="T49" fmla="*/ 1361 h 1950"/>
                <a:gd name="T50" fmla="*/ 1008 w 1892"/>
                <a:gd name="T51" fmla="*/ 1421 h 1950"/>
                <a:gd name="T52" fmla="*/ 1192 w 1892"/>
                <a:gd name="T53" fmla="*/ 1604 h 1950"/>
                <a:gd name="T54" fmla="*/ 498 w 1892"/>
                <a:gd name="T55" fmla="*/ 1604 h 1950"/>
                <a:gd name="T56" fmla="*/ 185 w 1892"/>
                <a:gd name="T57" fmla="*/ 1305 h 1950"/>
                <a:gd name="T58" fmla="*/ 498 w 1892"/>
                <a:gd name="T59" fmla="*/ 1006 h 1950"/>
                <a:gd name="T60" fmla="*/ 270 w 1892"/>
                <a:gd name="T61" fmla="*/ 451 h 1950"/>
                <a:gd name="T62" fmla="*/ 100 w 1892"/>
                <a:gd name="T63" fmla="*/ 281 h 1950"/>
                <a:gd name="T64" fmla="*/ 270 w 1892"/>
                <a:gd name="T65" fmla="*/ 110 h 1950"/>
                <a:gd name="T66" fmla="*/ 441 w 1892"/>
                <a:gd name="T67" fmla="*/ 281 h 1950"/>
                <a:gd name="T68" fmla="*/ 270 w 1892"/>
                <a:gd name="T69" fmla="*/ 451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2" h="1950">
                  <a:moveTo>
                    <a:pt x="498" y="1006"/>
                  </a:moveTo>
                  <a:cubicBezTo>
                    <a:pt x="1494" y="1006"/>
                    <a:pt x="1494" y="1006"/>
                    <a:pt x="1494" y="1006"/>
                  </a:cubicBezTo>
                  <a:cubicBezTo>
                    <a:pt x="1713" y="1006"/>
                    <a:pt x="1892" y="834"/>
                    <a:pt x="1892" y="622"/>
                  </a:cubicBezTo>
                  <a:cubicBezTo>
                    <a:pt x="1892" y="411"/>
                    <a:pt x="1713" y="238"/>
                    <a:pt x="1494" y="238"/>
                  </a:cubicBezTo>
                  <a:cubicBezTo>
                    <a:pt x="522" y="238"/>
                    <a:pt x="522" y="238"/>
                    <a:pt x="522" y="238"/>
                  </a:cubicBezTo>
                  <a:cubicBezTo>
                    <a:pt x="498" y="95"/>
                    <a:pt x="359" y="0"/>
                    <a:pt x="216" y="31"/>
                  </a:cubicBezTo>
                  <a:cubicBezTo>
                    <a:pt x="87" y="59"/>
                    <a:pt x="0" y="182"/>
                    <a:pt x="16" y="312"/>
                  </a:cubicBezTo>
                  <a:cubicBezTo>
                    <a:pt x="34" y="458"/>
                    <a:pt x="170" y="557"/>
                    <a:pt x="313" y="534"/>
                  </a:cubicBezTo>
                  <a:cubicBezTo>
                    <a:pt x="421" y="515"/>
                    <a:pt x="505" y="431"/>
                    <a:pt x="523" y="324"/>
                  </a:cubicBezTo>
                  <a:cubicBezTo>
                    <a:pt x="1494" y="324"/>
                    <a:pt x="1494" y="324"/>
                    <a:pt x="1494" y="324"/>
                  </a:cubicBezTo>
                  <a:cubicBezTo>
                    <a:pt x="1666" y="324"/>
                    <a:pt x="1807" y="458"/>
                    <a:pt x="1807" y="622"/>
                  </a:cubicBezTo>
                  <a:cubicBezTo>
                    <a:pt x="1807" y="787"/>
                    <a:pt x="1666" y="921"/>
                    <a:pt x="1494" y="921"/>
                  </a:cubicBezTo>
                  <a:cubicBezTo>
                    <a:pt x="498" y="921"/>
                    <a:pt x="498" y="921"/>
                    <a:pt x="498" y="921"/>
                  </a:cubicBezTo>
                  <a:cubicBezTo>
                    <a:pt x="278" y="921"/>
                    <a:pt x="100" y="1093"/>
                    <a:pt x="100" y="1305"/>
                  </a:cubicBezTo>
                  <a:cubicBezTo>
                    <a:pt x="100" y="1517"/>
                    <a:pt x="278" y="1689"/>
                    <a:pt x="498" y="1689"/>
                  </a:cubicBezTo>
                  <a:cubicBezTo>
                    <a:pt x="1191" y="1689"/>
                    <a:pt x="1191" y="1689"/>
                    <a:pt x="1191" y="1689"/>
                  </a:cubicBezTo>
                  <a:cubicBezTo>
                    <a:pt x="1008" y="1872"/>
                    <a:pt x="1008" y="1872"/>
                    <a:pt x="1008" y="1872"/>
                  </a:cubicBezTo>
                  <a:cubicBezTo>
                    <a:pt x="991" y="1888"/>
                    <a:pt x="991" y="1916"/>
                    <a:pt x="1008" y="1932"/>
                  </a:cubicBezTo>
                  <a:cubicBezTo>
                    <a:pt x="1024" y="1949"/>
                    <a:pt x="1051" y="1950"/>
                    <a:pt x="1068" y="1933"/>
                  </a:cubicBezTo>
                  <a:cubicBezTo>
                    <a:pt x="1068" y="1933"/>
                    <a:pt x="1069" y="1932"/>
                    <a:pt x="1069" y="1932"/>
                  </a:cubicBezTo>
                  <a:cubicBezTo>
                    <a:pt x="1324" y="1677"/>
                    <a:pt x="1324" y="1677"/>
                    <a:pt x="1324" y="1677"/>
                  </a:cubicBezTo>
                  <a:cubicBezTo>
                    <a:pt x="1341" y="1660"/>
                    <a:pt x="1341" y="1633"/>
                    <a:pt x="1324" y="1616"/>
                  </a:cubicBezTo>
                  <a:cubicBezTo>
                    <a:pt x="1324" y="1616"/>
                    <a:pt x="1324" y="1616"/>
                    <a:pt x="1324" y="1616"/>
                  </a:cubicBezTo>
                  <a:cubicBezTo>
                    <a:pt x="1069" y="1360"/>
                    <a:pt x="1069" y="1360"/>
                    <a:pt x="1069" y="1360"/>
                  </a:cubicBezTo>
                  <a:cubicBezTo>
                    <a:pt x="1052" y="1344"/>
                    <a:pt x="1025" y="1345"/>
                    <a:pt x="1008" y="1361"/>
                  </a:cubicBezTo>
                  <a:cubicBezTo>
                    <a:pt x="993" y="1378"/>
                    <a:pt x="993" y="1404"/>
                    <a:pt x="1008" y="1421"/>
                  </a:cubicBezTo>
                  <a:cubicBezTo>
                    <a:pt x="1192" y="1604"/>
                    <a:pt x="1192" y="1604"/>
                    <a:pt x="1192" y="1604"/>
                  </a:cubicBezTo>
                  <a:cubicBezTo>
                    <a:pt x="498" y="1604"/>
                    <a:pt x="498" y="1604"/>
                    <a:pt x="498" y="1604"/>
                  </a:cubicBezTo>
                  <a:cubicBezTo>
                    <a:pt x="325" y="1604"/>
                    <a:pt x="185" y="1470"/>
                    <a:pt x="185" y="1305"/>
                  </a:cubicBezTo>
                  <a:cubicBezTo>
                    <a:pt x="185" y="1140"/>
                    <a:pt x="325" y="1006"/>
                    <a:pt x="498" y="1006"/>
                  </a:cubicBezTo>
                  <a:close/>
                  <a:moveTo>
                    <a:pt x="270" y="451"/>
                  </a:moveTo>
                  <a:cubicBezTo>
                    <a:pt x="176" y="451"/>
                    <a:pt x="100" y="375"/>
                    <a:pt x="100" y="281"/>
                  </a:cubicBezTo>
                  <a:cubicBezTo>
                    <a:pt x="100" y="186"/>
                    <a:pt x="176" y="110"/>
                    <a:pt x="270" y="110"/>
                  </a:cubicBezTo>
                  <a:cubicBezTo>
                    <a:pt x="365" y="110"/>
                    <a:pt x="441" y="186"/>
                    <a:pt x="441" y="281"/>
                  </a:cubicBezTo>
                  <a:cubicBezTo>
                    <a:pt x="441" y="375"/>
                    <a:pt x="365" y="451"/>
                    <a:pt x="270" y="4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0" name="Freeform 6">
              <a:extLst>
                <a:ext uri="{FF2B5EF4-FFF2-40B4-BE49-F238E27FC236}">
                  <a16:creationId xmlns:a16="http://schemas.microsoft.com/office/drawing/2014/main" id="{0632320D-0AEE-410B-9852-8A191684DA7B}"/>
                </a:ext>
              </a:extLst>
            </p:cNvPr>
            <p:cNvSpPr>
              <a:spLocks noEditPoints="1"/>
            </p:cNvSpPr>
            <p:nvPr/>
          </p:nvSpPr>
          <p:spPr bwMode="auto">
            <a:xfrm>
              <a:off x="3244" y="1530"/>
              <a:ext cx="451" cy="45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27 h 512"/>
                <a:gd name="T12" fmla="*/ 85 w 512"/>
                <a:gd name="T13" fmla="*/ 256 h 512"/>
                <a:gd name="T14" fmla="*/ 256 w 512"/>
                <a:gd name="T15" fmla="*/ 85 h 512"/>
                <a:gd name="T16" fmla="*/ 426 w 512"/>
                <a:gd name="T17" fmla="*/ 256 h 512"/>
                <a:gd name="T18" fmla="*/ 256 w 512"/>
                <a:gd name="T19" fmla="*/ 4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256" y="427"/>
                  </a:moveTo>
                  <a:cubicBezTo>
                    <a:pt x="161" y="427"/>
                    <a:pt x="85" y="350"/>
                    <a:pt x="85" y="256"/>
                  </a:cubicBezTo>
                  <a:cubicBezTo>
                    <a:pt x="85" y="162"/>
                    <a:pt x="161" y="85"/>
                    <a:pt x="256" y="85"/>
                  </a:cubicBezTo>
                  <a:cubicBezTo>
                    <a:pt x="350" y="85"/>
                    <a:pt x="426" y="162"/>
                    <a:pt x="426" y="256"/>
                  </a:cubicBezTo>
                  <a:cubicBezTo>
                    <a:pt x="426" y="350"/>
                    <a:pt x="350" y="427"/>
                    <a:pt x="256" y="4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0000"/>
                </a:solidFill>
                <a:effectLst/>
                <a:uLnTx/>
                <a:uFillTx/>
                <a:latin typeface="IBM Plex Sans"/>
                <a:ea typeface="+mn-ea"/>
                <a:cs typeface="+mn-cs"/>
              </a:endParaRPr>
            </a:p>
          </p:txBody>
        </p:sp>
      </p:grpSp>
      <p:sp>
        <p:nvSpPr>
          <p:cNvPr id="21" name="Slide Number Placeholder 2">
            <a:extLst>
              <a:ext uri="{FF2B5EF4-FFF2-40B4-BE49-F238E27FC236}">
                <a16:creationId xmlns:a16="http://schemas.microsoft.com/office/drawing/2014/main" id="{8B54742B-CCF6-C146-82D5-BB5C30B4E590}"/>
              </a:ext>
            </a:extLst>
          </p:cNvPr>
          <p:cNvSpPr txBox="1">
            <a:spLocks/>
          </p:cNvSpPr>
          <p:nvPr/>
        </p:nvSpPr>
        <p:spPr>
          <a:xfrm>
            <a:off x="7010400" y="4978880"/>
            <a:ext cx="2057400" cy="137160"/>
          </a:xfrm>
          <a:prstGeom prst="rect">
            <a:avLst/>
          </a:prstGeom>
        </p:spPr>
        <p:txBody>
          <a:bodyPr vert="horz" lIns="0" tIns="0" rIns="0" bIns="0" rtlCol="0" anchor="ctr"/>
          <a:lstStyle>
            <a:defPPr>
              <a:defRPr lang="en-US"/>
            </a:defPPr>
            <a:lvl1pPr marL="0" algn="r" defTabSz="457200" rtl="0" eaLnBrk="1" latinLnBrk="0" hangingPunct="1">
              <a:defRPr sz="600" kern="1200" baseline="0">
                <a:solidFill>
                  <a:schemeClr val="tx1"/>
                </a:solidFill>
                <a:latin typeface="+mn-lt"/>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3FD999D4-B456-9943-89B7-30D56181CE18}" type="slidenum">
              <a:rPr kumimoji="0" lang="en-US" sz="600" b="0" i="0" u="none" strike="noStrike" kern="1200" cap="none" spc="0" normalizeH="0" baseline="0" noProof="0">
                <a:ln>
                  <a:noFill/>
                </a:ln>
                <a:solidFill>
                  <a:srgbClr val="000000"/>
                </a:solidFill>
                <a:effectLst/>
                <a:uLnTx/>
                <a:uFillTx/>
                <a:latin typeface="IBM Plex Sans"/>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US" sz="600" b="0" i="0" u="none" strike="noStrike" kern="1200" cap="none" spc="0" normalizeH="0" baseline="0" noProof="0" dirty="0">
              <a:ln>
                <a:noFill/>
              </a:ln>
              <a:solidFill>
                <a:srgbClr val="000000"/>
              </a:solidFill>
              <a:effectLst/>
              <a:uLnTx/>
              <a:uFillTx/>
              <a:latin typeface="IBM Plex Sans"/>
              <a:cs typeface="Arial" charset="0"/>
            </a:endParaRPr>
          </a:p>
        </p:txBody>
      </p:sp>
      <p:pic>
        <p:nvPicPr>
          <p:cNvPr id="14" name="Picture 13">
            <a:extLst>
              <a:ext uri="{FF2B5EF4-FFF2-40B4-BE49-F238E27FC236}">
                <a16:creationId xmlns:a16="http://schemas.microsoft.com/office/drawing/2014/main" id="{A6E757BB-F769-4226-808E-36F713CC11FA}"/>
              </a:ext>
            </a:extLst>
          </p:cNvPr>
          <p:cNvPicPr>
            <a:picLocks noChangeAspect="1"/>
          </p:cNvPicPr>
          <p:nvPr/>
        </p:nvPicPr>
        <p:blipFill>
          <a:blip r:embed="rId4"/>
          <a:stretch>
            <a:fillRect/>
          </a:stretch>
        </p:blipFill>
        <p:spPr>
          <a:xfrm>
            <a:off x="258136" y="4777660"/>
            <a:ext cx="4170025" cy="188992"/>
          </a:xfrm>
          <a:prstGeom prst="rect">
            <a:avLst/>
          </a:prstGeom>
        </p:spPr>
      </p:pic>
    </p:spTree>
    <p:extLst>
      <p:ext uri="{BB962C8B-B14F-4D97-AF65-F5344CB8AC3E}">
        <p14:creationId xmlns:p14="http://schemas.microsoft.com/office/powerpoint/2010/main" val="1072580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06A111-8C30-0143-B0D3-FF71E2F56E88}"/>
              </a:ext>
            </a:extLst>
          </p:cNvPr>
          <p:cNvSpPr/>
          <p:nvPr/>
        </p:nvSpPr>
        <p:spPr>
          <a:xfrm>
            <a:off x="5035462" y="0"/>
            <a:ext cx="4108539" cy="5143500"/>
          </a:xfrm>
          <a:prstGeom prst="rect">
            <a:avLst/>
          </a:prstGeom>
          <a:solidFill>
            <a:schemeClr val="accent2"/>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2" name="Title 1"/>
          <p:cNvSpPr>
            <a:spLocks noGrp="1"/>
          </p:cNvSpPr>
          <p:nvPr>
            <p:ph type="title"/>
          </p:nvPr>
        </p:nvSpPr>
        <p:spPr/>
        <p:txBody>
          <a:bodyPr/>
          <a:lstStyle/>
          <a:p>
            <a:r>
              <a:rPr lang="en-US" sz="2400" dirty="0"/>
              <a:t>Maximo Assist: AI Guidance</a:t>
            </a:r>
          </a:p>
        </p:txBody>
      </p:sp>
      <p:sp>
        <p:nvSpPr>
          <p:cNvPr id="7" name="Footer Placeholder 6"/>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000000"/>
                </a:solidFill>
                <a:effectLst/>
                <a:uLnTx/>
                <a:uFillTx/>
                <a:latin typeface="IBM Plex Sans"/>
                <a:cs typeface="Arial" charset="0"/>
              </a:rPr>
              <a:t>IBM Watson IoT / © 2019 IBM Corporation</a:t>
            </a:r>
            <a:endParaRPr kumimoji="0" lang="en-US" sz="600" b="0" i="0" u="none" strike="noStrike" kern="1200" cap="none" spc="0" normalizeH="0" baseline="0" noProof="0" dirty="0">
              <a:ln>
                <a:noFill/>
              </a:ln>
              <a:solidFill>
                <a:srgbClr val="000000"/>
              </a:solidFill>
              <a:effectLst/>
              <a:uLnTx/>
              <a:uFillTx/>
              <a:latin typeface="IBM Plex Sans"/>
              <a:cs typeface="Arial" charset="0"/>
            </a:endParaRPr>
          </a:p>
        </p:txBody>
      </p:sp>
      <p:sp>
        <p:nvSpPr>
          <p:cNvPr id="13" name="Text Placeholder 6">
            <a:extLst>
              <a:ext uri="{FF2B5EF4-FFF2-40B4-BE49-F238E27FC236}">
                <a16:creationId xmlns:a16="http://schemas.microsoft.com/office/drawing/2014/main" id="{B3DD1C47-9D09-D543-BD93-585CC0B10EDF}"/>
              </a:ext>
            </a:extLst>
          </p:cNvPr>
          <p:cNvSpPr txBox="1">
            <a:spLocks/>
          </p:cNvSpPr>
          <p:nvPr/>
        </p:nvSpPr>
        <p:spPr>
          <a:xfrm>
            <a:off x="897130" y="1017529"/>
            <a:ext cx="4197573" cy="992579"/>
          </a:xfrm>
          <a:prstGeom prst="rect">
            <a:avLst/>
          </a:prstGeom>
        </p:spPr>
        <p:txBody>
          <a:bodyPr vert="horz" lIns="0" tIns="0" rIns="0" bIns="0" rtlCol="0">
            <a:spAutoFit/>
          </a:bodyPr>
          <a:lst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1" indent="0" algn="l" defTabSz="457200"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064FF"/>
                </a:solidFill>
                <a:effectLst/>
                <a:uLnTx/>
                <a:uFillTx/>
                <a:latin typeface="IBM Plex Sans"/>
                <a:cs typeface="Arial" charset="0"/>
              </a:rPr>
              <a:t>Solution</a:t>
            </a:r>
          </a:p>
          <a:p>
            <a:pPr marL="173038" marR="0" lvl="1" indent="-173038" algn="l" defTabSz="457200" rtl="0" eaLnBrk="1" fontAlgn="auto" latinLnBrk="0" hangingPunct="1">
              <a:lnSpc>
                <a:spcPct val="100000"/>
              </a:lnSpc>
              <a:spcBef>
                <a:spcPts val="0"/>
              </a:spcBef>
              <a:spcAft>
                <a:spcPts val="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IBM Plex Sans"/>
                <a:cs typeface="Arial" charset="0"/>
              </a:rPr>
              <a:t>AI Assistance for field technicians</a:t>
            </a:r>
          </a:p>
          <a:p>
            <a:pPr marL="173038" marR="0" lvl="1" indent="-173038" algn="l" defTabSz="457200" rtl="0" eaLnBrk="1" fontAlgn="auto" latinLnBrk="0" hangingPunct="1">
              <a:lnSpc>
                <a:spcPct val="100000"/>
              </a:lnSpc>
              <a:spcBef>
                <a:spcPts val="0"/>
              </a:spcBef>
              <a:spcAft>
                <a:spcPts val="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IBM Plex Sans"/>
                <a:cs typeface="Arial" charset="0"/>
              </a:rPr>
              <a:t>Search through historical remote assistance interactions</a:t>
            </a:r>
          </a:p>
          <a:p>
            <a:pPr marL="173038" marR="0" lvl="1" indent="-173038" algn="l" defTabSz="457200" rtl="0" eaLnBrk="1" fontAlgn="auto" latinLnBrk="0" hangingPunct="1">
              <a:lnSpc>
                <a:spcPct val="100000"/>
              </a:lnSpc>
              <a:spcBef>
                <a:spcPts val="0"/>
              </a:spcBef>
              <a:spcAft>
                <a:spcPts val="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IBM Plex Sans"/>
                <a:cs typeface="Arial" charset="0"/>
              </a:rPr>
              <a:t>Unlock insights from documents and data in your EAM system </a:t>
            </a:r>
          </a:p>
          <a:p>
            <a:pPr marL="173038" marR="0" lvl="1" indent="-173038" algn="l" defTabSz="457200" rtl="0" eaLnBrk="1" fontAlgn="auto" latinLnBrk="0" hangingPunct="1">
              <a:lnSpc>
                <a:spcPct val="100000"/>
              </a:lnSpc>
              <a:spcBef>
                <a:spcPts val="0"/>
              </a:spcBef>
              <a:spcAft>
                <a:spcPts val="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IBM Plex Sans"/>
                <a:cs typeface="Arial" charset="0"/>
              </a:rPr>
              <a:t>Create knowledge base by importing from major CMS systems</a:t>
            </a:r>
          </a:p>
          <a:p>
            <a:pPr marL="173038" marR="0" lvl="1" indent="-173038" algn="l" defTabSz="457200" rtl="0" eaLnBrk="1" fontAlgn="auto" latinLnBrk="0" hangingPunct="1">
              <a:lnSpc>
                <a:spcPct val="100000"/>
              </a:lnSpc>
              <a:spcBef>
                <a:spcPts val="0"/>
              </a:spcBef>
              <a:spcAft>
                <a:spcPts val="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IBM Plex Sans"/>
                <a:cs typeface="Arial" charset="0"/>
              </a:rPr>
              <a:t>Continuous response improvement based on technician feedback </a:t>
            </a:r>
          </a:p>
        </p:txBody>
      </p:sp>
      <p:sp>
        <p:nvSpPr>
          <p:cNvPr id="14" name="Text Placeholder 6">
            <a:extLst>
              <a:ext uri="{FF2B5EF4-FFF2-40B4-BE49-F238E27FC236}">
                <a16:creationId xmlns:a16="http://schemas.microsoft.com/office/drawing/2014/main" id="{EFC9E2DF-F3FA-FC47-8C50-B7A553E2FA03}"/>
              </a:ext>
            </a:extLst>
          </p:cNvPr>
          <p:cNvSpPr txBox="1">
            <a:spLocks/>
          </p:cNvSpPr>
          <p:nvPr/>
        </p:nvSpPr>
        <p:spPr>
          <a:xfrm>
            <a:off x="897131" y="2120992"/>
            <a:ext cx="3674870" cy="1315745"/>
          </a:xfrm>
          <a:prstGeom prst="rect">
            <a:avLst/>
          </a:prstGeom>
        </p:spPr>
        <p:txBody>
          <a:bodyPr vert="horz" lIns="0" tIns="0" rIns="0" bIns="0" rtlCol="0">
            <a:spAutoFit/>
          </a:bodyPr>
          <a:lst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1" indent="0" algn="l" defTabSz="457200"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064FF"/>
                </a:solidFill>
                <a:effectLst/>
                <a:uLnTx/>
                <a:uFillTx/>
                <a:latin typeface="IBM Plex Sans"/>
                <a:cs typeface="Arial" charset="0"/>
              </a:rPr>
              <a:t>Capabilities</a:t>
            </a:r>
          </a:p>
          <a:p>
            <a:pPr marL="173038" marR="0" lvl="1" indent="-173038" algn="l" defTabSz="457200" rtl="0" eaLnBrk="1" fontAlgn="auto" latinLnBrk="0" hangingPunct="1">
              <a:lnSpc>
                <a:spcPct val="100000"/>
              </a:lnSpc>
              <a:spcBef>
                <a:spcPts val="0"/>
              </a:spcBef>
              <a:spcAft>
                <a:spcPts val="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IBM Plex Sans"/>
                <a:cs typeface="Arial" charset="0"/>
              </a:rPr>
              <a:t>EMA Studio Dashboard</a:t>
            </a:r>
          </a:p>
          <a:p>
            <a:pPr marL="173038" marR="0" lvl="1" indent="-173038" algn="l" defTabSz="457200" rtl="0" eaLnBrk="1" fontAlgn="auto" latinLnBrk="0" hangingPunct="1">
              <a:lnSpc>
                <a:spcPct val="100000"/>
              </a:lnSpc>
              <a:spcBef>
                <a:spcPts val="0"/>
              </a:spcBef>
              <a:spcAft>
                <a:spcPts val="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IBM Plex Sans"/>
                <a:cs typeface="Arial" charset="0"/>
              </a:rPr>
              <a:t>Insights engine for document understanding </a:t>
            </a:r>
          </a:p>
          <a:p>
            <a:pPr marL="173038" marR="0" lvl="1" indent="-173038" algn="l" defTabSz="457200" rtl="0" eaLnBrk="1" fontAlgn="auto" latinLnBrk="0" hangingPunct="1">
              <a:lnSpc>
                <a:spcPct val="100000"/>
              </a:lnSpc>
              <a:spcBef>
                <a:spcPts val="0"/>
              </a:spcBef>
              <a:spcAft>
                <a:spcPts val="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IBM Plex Sans"/>
                <a:cs typeface="Arial" charset="0"/>
              </a:rPr>
              <a:t>Diagnosis Models for troubleshooting problems</a:t>
            </a:r>
          </a:p>
          <a:p>
            <a:pPr marL="173038" marR="0" lvl="1" indent="-173038" algn="l" defTabSz="457200" rtl="0" eaLnBrk="1" fontAlgn="auto" latinLnBrk="0" hangingPunct="1">
              <a:lnSpc>
                <a:spcPct val="100000"/>
              </a:lnSpc>
              <a:spcBef>
                <a:spcPts val="0"/>
              </a:spcBef>
              <a:spcAft>
                <a:spcPts val="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IBM Plex Sans"/>
                <a:cs typeface="Arial" charset="0"/>
              </a:rPr>
              <a:t>Knowledge graph for capturing asset hierarchies </a:t>
            </a:r>
          </a:p>
          <a:p>
            <a:pPr marL="173038" marR="0" lvl="1" indent="-173038" algn="l" defTabSz="457200" rtl="0" eaLnBrk="1" fontAlgn="auto" latinLnBrk="0" hangingPunct="1">
              <a:lnSpc>
                <a:spcPct val="100000"/>
              </a:lnSpc>
              <a:spcBef>
                <a:spcPts val="0"/>
              </a:spcBef>
              <a:spcAft>
                <a:spcPts val="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IBM Plex Sans"/>
                <a:cs typeface="Arial" charset="0"/>
              </a:rPr>
              <a:t>Query analytics for tracking performance</a:t>
            </a:r>
          </a:p>
          <a:p>
            <a:pPr marL="173038" marR="0" lvl="1" indent="-173038" algn="l" defTabSz="457200" rtl="0" eaLnBrk="1" fontAlgn="auto" latinLnBrk="0" hangingPunct="1">
              <a:lnSpc>
                <a:spcPct val="100000"/>
              </a:lnSpc>
              <a:spcBef>
                <a:spcPts val="0"/>
              </a:spcBef>
              <a:spcAft>
                <a:spcPts val="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IBM Plex Sans"/>
                <a:cs typeface="Arial" charset="0"/>
              </a:rPr>
              <a:t>Plug and Play integration with Maximo Work Execution WC</a:t>
            </a:r>
          </a:p>
          <a:p>
            <a:pPr marL="173038" marR="0" lvl="1" indent="-173038" algn="l" defTabSz="457200" rtl="0" eaLnBrk="1" fontAlgn="auto" latinLnBrk="0" hangingPunct="1">
              <a:lnSpc>
                <a:spcPct val="100000"/>
              </a:lnSpc>
              <a:spcBef>
                <a:spcPts val="0"/>
              </a:spcBef>
              <a:spcAft>
                <a:spcPts val="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IBM Plex Sans"/>
                <a:cs typeface="Arial" charset="0"/>
              </a:rPr>
              <a:t>Intuitive technician UI with smart device compatibility</a:t>
            </a:r>
          </a:p>
        </p:txBody>
      </p:sp>
      <p:sp>
        <p:nvSpPr>
          <p:cNvPr id="15" name="Text Placeholder 6">
            <a:extLst>
              <a:ext uri="{FF2B5EF4-FFF2-40B4-BE49-F238E27FC236}">
                <a16:creationId xmlns:a16="http://schemas.microsoft.com/office/drawing/2014/main" id="{53C0B771-AB5F-D049-83F5-AB47B0312483}"/>
              </a:ext>
            </a:extLst>
          </p:cNvPr>
          <p:cNvSpPr txBox="1">
            <a:spLocks/>
          </p:cNvSpPr>
          <p:nvPr/>
        </p:nvSpPr>
        <p:spPr>
          <a:xfrm>
            <a:off x="897130" y="3708557"/>
            <a:ext cx="4030919" cy="992579"/>
          </a:xfrm>
          <a:prstGeom prst="rect">
            <a:avLst/>
          </a:prstGeom>
        </p:spPr>
        <p:txBody>
          <a:bodyPr vert="horz" lIns="0" tIns="0" rIns="0" bIns="0" rtlCol="0">
            <a:spAutoFit/>
          </a:bodyPr>
          <a:lstStyle>
            <a:lvl1pPr marL="0" indent="0" algn="l" defTabSz="457200" rtl="0" eaLnBrk="1" latinLnBrk="0" hangingPunct="1">
              <a:lnSpc>
                <a:spcPct val="100000"/>
              </a:lnSpc>
              <a:spcBef>
                <a:spcPts val="1100"/>
              </a:spcBef>
              <a:buFont typeface="Arial"/>
              <a:buNone/>
              <a:defRPr sz="14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1" indent="0" algn="l" defTabSz="457200"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a:ln>
                  <a:noFill/>
                </a:ln>
                <a:solidFill>
                  <a:srgbClr val="0064FF"/>
                </a:solidFill>
                <a:effectLst/>
                <a:uLnTx/>
                <a:uFillTx/>
                <a:latin typeface="IBM Plex Sans"/>
                <a:cs typeface="Arial" charset="0"/>
              </a:rPr>
              <a:t>Benefits</a:t>
            </a:r>
          </a:p>
          <a:p>
            <a:pPr marL="173038" marR="0" lvl="1" indent="-173038" algn="l" defTabSz="457200" rtl="0" eaLnBrk="1" fontAlgn="auto" latinLnBrk="0" hangingPunct="1">
              <a:lnSpc>
                <a:spcPct val="100000"/>
              </a:lnSpc>
              <a:spcBef>
                <a:spcPts val="0"/>
              </a:spcBef>
              <a:spcAft>
                <a:spcPts val="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IBM Plex Sans"/>
                <a:cs typeface="Arial" charset="0"/>
              </a:rPr>
              <a:t>Improve first time fix rate by up to 25%</a:t>
            </a:r>
          </a:p>
          <a:p>
            <a:pPr marL="173038" marR="0" lvl="1" indent="-173038" algn="l" defTabSz="457200" rtl="0" eaLnBrk="1" fontAlgn="auto" latinLnBrk="0" hangingPunct="1">
              <a:lnSpc>
                <a:spcPct val="100000"/>
              </a:lnSpc>
              <a:spcBef>
                <a:spcPts val="0"/>
              </a:spcBef>
              <a:spcAft>
                <a:spcPts val="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IBM Plex Sans"/>
                <a:cs typeface="Arial" charset="0"/>
              </a:rPr>
              <a:t>Reduce Mean Time to Repair by 10-15%</a:t>
            </a:r>
          </a:p>
          <a:p>
            <a:pPr marL="173038" marR="0" lvl="1" indent="-173038" algn="l" defTabSz="457200" rtl="0" eaLnBrk="1" fontAlgn="auto" latinLnBrk="0" hangingPunct="1">
              <a:lnSpc>
                <a:spcPct val="100000"/>
              </a:lnSpc>
              <a:spcBef>
                <a:spcPts val="0"/>
              </a:spcBef>
              <a:spcAft>
                <a:spcPts val="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IBM Plex Sans"/>
                <a:cs typeface="Arial" charset="0"/>
              </a:rPr>
              <a:t>Improve diagnosis accuracy and cut diagnosis time by 15%</a:t>
            </a:r>
          </a:p>
          <a:p>
            <a:pPr marL="173038" marR="0" lvl="1" indent="-173038" algn="l" defTabSz="457200" rtl="0" eaLnBrk="1" fontAlgn="auto" latinLnBrk="0" hangingPunct="1">
              <a:lnSpc>
                <a:spcPct val="100000"/>
              </a:lnSpc>
              <a:spcBef>
                <a:spcPts val="0"/>
              </a:spcBef>
              <a:spcAft>
                <a:spcPts val="0"/>
              </a:spcAft>
              <a:buClrTx/>
              <a:buSzTx/>
              <a:buFont typeface="Arial"/>
              <a:buChar char="–"/>
              <a:tabLst/>
              <a:defRPr/>
            </a:pPr>
            <a:r>
              <a:rPr kumimoji="0" lang="en-US" sz="1050" b="0" i="0" u="none" strike="noStrike" kern="1200" cap="none" spc="0" normalizeH="0" baseline="0" noProof="0" dirty="0">
                <a:ln>
                  <a:noFill/>
                </a:ln>
                <a:solidFill>
                  <a:srgbClr val="000000"/>
                </a:solidFill>
                <a:effectLst/>
                <a:uLnTx/>
                <a:uFillTx/>
                <a:latin typeface="IBM Plex Sans"/>
                <a:cs typeface="Arial" charset="0"/>
              </a:rPr>
              <a:t>Improve technician productivity by up to 20%</a:t>
            </a:r>
            <a:br>
              <a:rPr kumimoji="0" lang="en-US" sz="1050" b="0" i="0" u="none" strike="noStrike" kern="1200" cap="none" spc="0" normalizeH="0" baseline="0" noProof="0" dirty="0">
                <a:ln>
                  <a:noFill/>
                </a:ln>
                <a:solidFill>
                  <a:srgbClr val="000000"/>
                </a:solidFill>
                <a:effectLst/>
                <a:uLnTx/>
                <a:uFillTx/>
                <a:latin typeface="IBM Plex Sans"/>
                <a:cs typeface="Arial" charset="0"/>
              </a:rPr>
            </a:br>
            <a:r>
              <a:rPr kumimoji="0" lang="en-US" sz="1050" b="0" i="0" u="none" strike="noStrike" kern="1200" cap="none" spc="0" normalizeH="0" baseline="0" noProof="0" dirty="0">
                <a:ln>
                  <a:noFill/>
                </a:ln>
                <a:solidFill>
                  <a:srgbClr val="000000"/>
                </a:solidFill>
                <a:effectLst/>
                <a:uLnTx/>
                <a:uFillTx/>
                <a:latin typeface="IBM Plex Sans"/>
                <a:cs typeface="Arial" charset="0"/>
              </a:rPr>
              <a:t>Standardize your maintenance and repair processes</a:t>
            </a:r>
          </a:p>
        </p:txBody>
      </p:sp>
      <p:sp>
        <p:nvSpPr>
          <p:cNvPr id="22" name="Freeform 5">
            <a:extLst>
              <a:ext uri="{FF2B5EF4-FFF2-40B4-BE49-F238E27FC236}">
                <a16:creationId xmlns:a16="http://schemas.microsoft.com/office/drawing/2014/main" id="{A35161EF-9F72-C04A-8204-381C0157FE7B}"/>
              </a:ext>
            </a:extLst>
          </p:cNvPr>
          <p:cNvSpPr>
            <a:spLocks/>
          </p:cNvSpPr>
          <p:nvPr/>
        </p:nvSpPr>
        <p:spPr bwMode="auto">
          <a:xfrm>
            <a:off x="256516" y="3744162"/>
            <a:ext cx="450314" cy="432056"/>
          </a:xfrm>
          <a:custGeom>
            <a:avLst/>
            <a:gdLst>
              <a:gd name="T0" fmla="*/ 1956 w 2070"/>
              <a:gd name="T1" fmla="*/ 1003 h 1980"/>
              <a:gd name="T2" fmla="*/ 1877 w 2070"/>
              <a:gd name="T3" fmla="*/ 675 h 1980"/>
              <a:gd name="T4" fmla="*/ 1376 w 2070"/>
              <a:gd name="T5" fmla="*/ 354 h 1980"/>
              <a:gd name="T6" fmla="*/ 1023 w 2070"/>
              <a:gd name="T7" fmla="*/ 29 h 1980"/>
              <a:gd name="T8" fmla="*/ 955 w 2070"/>
              <a:gd name="T9" fmla="*/ 125 h 1980"/>
              <a:gd name="T10" fmla="*/ 890 w 2070"/>
              <a:gd name="T11" fmla="*/ 602 h 1980"/>
              <a:gd name="T12" fmla="*/ 529 w 2070"/>
              <a:gd name="T13" fmla="*/ 852 h 1980"/>
              <a:gd name="T14" fmla="*/ 0 w 2070"/>
              <a:gd name="T15" fmla="*/ 949 h 1980"/>
              <a:gd name="T16" fmla="*/ 13 w 2070"/>
              <a:gd name="T17" fmla="*/ 1089 h 1980"/>
              <a:gd name="T18" fmla="*/ 66 w 2070"/>
              <a:gd name="T19" fmla="*/ 949 h 1980"/>
              <a:gd name="T20" fmla="*/ 536 w 2070"/>
              <a:gd name="T21" fmla="*/ 918 h 1980"/>
              <a:gd name="T22" fmla="*/ 566 w 2070"/>
              <a:gd name="T23" fmla="*/ 1883 h 1980"/>
              <a:gd name="T24" fmla="*/ 97 w 2070"/>
              <a:gd name="T25" fmla="*/ 1913 h 1980"/>
              <a:gd name="T26" fmla="*/ 66 w 2070"/>
              <a:gd name="T27" fmla="*/ 1199 h 1980"/>
              <a:gd name="T28" fmla="*/ 0 w 2070"/>
              <a:gd name="T29" fmla="*/ 1203 h 1980"/>
              <a:gd name="T30" fmla="*/ 97 w 2070"/>
              <a:gd name="T31" fmla="*/ 1980 h 1980"/>
              <a:gd name="T32" fmla="*/ 633 w 2070"/>
              <a:gd name="T33" fmla="*/ 1883 h 1980"/>
              <a:gd name="T34" fmla="*/ 798 w 2070"/>
              <a:gd name="T35" fmla="*/ 1871 h 1980"/>
              <a:gd name="T36" fmla="*/ 1452 w 2070"/>
              <a:gd name="T37" fmla="*/ 1873 h 1980"/>
              <a:gd name="T38" fmla="*/ 1449 w 2070"/>
              <a:gd name="T39" fmla="*/ 1807 h 1980"/>
              <a:gd name="T40" fmla="*/ 633 w 2070"/>
              <a:gd name="T41" fmla="*/ 1714 h 1980"/>
              <a:gd name="T42" fmla="*/ 962 w 2070"/>
              <a:gd name="T43" fmla="*/ 618 h 1980"/>
              <a:gd name="T44" fmla="*/ 1022 w 2070"/>
              <a:gd name="T45" fmla="*/ 153 h 1980"/>
              <a:gd name="T46" fmla="*/ 1225 w 2070"/>
              <a:gd name="T47" fmla="*/ 130 h 1980"/>
              <a:gd name="T48" fmla="*/ 1309 w 2070"/>
              <a:gd name="T49" fmla="*/ 715 h 1980"/>
              <a:gd name="T50" fmla="*/ 1877 w 2070"/>
              <a:gd name="T51" fmla="*/ 741 h 1980"/>
              <a:gd name="T52" fmla="*/ 1873 w 2070"/>
              <a:gd name="T53" fmla="*/ 958 h 1980"/>
              <a:gd name="T54" fmla="*/ 1563 w 2070"/>
              <a:gd name="T55" fmla="*/ 971 h 1980"/>
              <a:gd name="T56" fmla="*/ 1845 w 2070"/>
              <a:gd name="T57" fmla="*/ 1024 h 1980"/>
              <a:gd name="T58" fmla="*/ 1842 w 2070"/>
              <a:gd name="T59" fmla="*/ 1241 h 1980"/>
              <a:gd name="T60" fmla="*/ 1563 w 2070"/>
              <a:gd name="T61" fmla="*/ 1254 h 1980"/>
              <a:gd name="T62" fmla="*/ 1812 w 2070"/>
              <a:gd name="T63" fmla="*/ 1307 h 1980"/>
              <a:gd name="T64" fmla="*/ 1899 w 2070"/>
              <a:gd name="T65" fmla="*/ 1466 h 1980"/>
              <a:gd name="T66" fmla="*/ 1586 w 2070"/>
              <a:gd name="T67" fmla="*/ 1524 h 1980"/>
              <a:gd name="T68" fmla="*/ 1590 w 2070"/>
              <a:gd name="T69" fmla="*/ 1590 h 1980"/>
              <a:gd name="T70" fmla="*/ 1787 w 2070"/>
              <a:gd name="T71" fmla="*/ 1592 h 1980"/>
              <a:gd name="T72" fmla="*/ 1771 w 2070"/>
              <a:gd name="T73" fmla="*/ 1807 h 1980"/>
              <a:gd name="T74" fmla="*/ 1563 w 2070"/>
              <a:gd name="T75" fmla="*/ 1820 h 1980"/>
              <a:gd name="T76" fmla="*/ 1770 w 2070"/>
              <a:gd name="T77" fmla="*/ 1873 h 1980"/>
              <a:gd name="T78" fmla="*/ 1885 w 2070"/>
              <a:gd name="T79" fmla="*/ 1570 h 1980"/>
              <a:gd name="T80" fmla="*/ 1920 w 2070"/>
              <a:gd name="T81" fmla="*/ 1287 h 1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70" h="1980">
                <a:moveTo>
                  <a:pt x="2013" y="1132"/>
                </a:moveTo>
                <a:cubicBezTo>
                  <a:pt x="2013" y="1082"/>
                  <a:pt x="1991" y="1036"/>
                  <a:pt x="1956" y="1003"/>
                </a:cubicBezTo>
                <a:cubicBezTo>
                  <a:pt x="2028" y="965"/>
                  <a:pt x="2070" y="876"/>
                  <a:pt x="2036" y="784"/>
                </a:cubicBezTo>
                <a:cubicBezTo>
                  <a:pt x="2012" y="718"/>
                  <a:pt x="1947" y="675"/>
                  <a:pt x="1877" y="675"/>
                </a:cubicBezTo>
                <a:cubicBezTo>
                  <a:pt x="1376" y="675"/>
                  <a:pt x="1376" y="675"/>
                  <a:pt x="1376" y="675"/>
                </a:cubicBezTo>
                <a:cubicBezTo>
                  <a:pt x="1376" y="354"/>
                  <a:pt x="1376" y="354"/>
                  <a:pt x="1376" y="354"/>
                </a:cubicBezTo>
                <a:cubicBezTo>
                  <a:pt x="1376" y="225"/>
                  <a:pt x="1338" y="131"/>
                  <a:pt x="1265" y="77"/>
                </a:cubicBezTo>
                <a:cubicBezTo>
                  <a:pt x="1161" y="0"/>
                  <a:pt x="1066" y="19"/>
                  <a:pt x="1023" y="29"/>
                </a:cubicBezTo>
                <a:cubicBezTo>
                  <a:pt x="1012" y="31"/>
                  <a:pt x="1001" y="41"/>
                  <a:pt x="993" y="49"/>
                </a:cubicBezTo>
                <a:cubicBezTo>
                  <a:pt x="960" y="78"/>
                  <a:pt x="955" y="112"/>
                  <a:pt x="955" y="125"/>
                </a:cubicBezTo>
                <a:cubicBezTo>
                  <a:pt x="955" y="414"/>
                  <a:pt x="955" y="414"/>
                  <a:pt x="955" y="414"/>
                </a:cubicBezTo>
                <a:cubicBezTo>
                  <a:pt x="955" y="482"/>
                  <a:pt x="933" y="549"/>
                  <a:pt x="890" y="602"/>
                </a:cubicBezTo>
                <a:cubicBezTo>
                  <a:pt x="630" y="933"/>
                  <a:pt x="630" y="933"/>
                  <a:pt x="630" y="933"/>
                </a:cubicBezTo>
                <a:cubicBezTo>
                  <a:pt x="620" y="887"/>
                  <a:pt x="578" y="852"/>
                  <a:pt x="529" y="852"/>
                </a:cubicBezTo>
                <a:cubicBezTo>
                  <a:pt x="97" y="852"/>
                  <a:pt x="97" y="852"/>
                  <a:pt x="97" y="852"/>
                </a:cubicBezTo>
                <a:cubicBezTo>
                  <a:pt x="43" y="852"/>
                  <a:pt x="0" y="895"/>
                  <a:pt x="0" y="949"/>
                </a:cubicBezTo>
                <a:cubicBezTo>
                  <a:pt x="0" y="1066"/>
                  <a:pt x="0" y="1066"/>
                  <a:pt x="0" y="1066"/>
                </a:cubicBezTo>
                <a:cubicBezTo>
                  <a:pt x="0" y="1075"/>
                  <a:pt x="5" y="1084"/>
                  <a:pt x="13" y="1089"/>
                </a:cubicBezTo>
                <a:cubicBezTo>
                  <a:pt x="39" y="1105"/>
                  <a:pt x="66" y="1087"/>
                  <a:pt x="66" y="1062"/>
                </a:cubicBezTo>
                <a:cubicBezTo>
                  <a:pt x="66" y="949"/>
                  <a:pt x="66" y="949"/>
                  <a:pt x="66" y="949"/>
                </a:cubicBezTo>
                <a:cubicBezTo>
                  <a:pt x="66" y="932"/>
                  <a:pt x="80" y="918"/>
                  <a:pt x="97" y="918"/>
                </a:cubicBezTo>
                <a:cubicBezTo>
                  <a:pt x="536" y="918"/>
                  <a:pt x="536" y="918"/>
                  <a:pt x="536" y="918"/>
                </a:cubicBezTo>
                <a:cubicBezTo>
                  <a:pt x="552" y="918"/>
                  <a:pt x="566" y="932"/>
                  <a:pt x="566" y="949"/>
                </a:cubicBezTo>
                <a:cubicBezTo>
                  <a:pt x="566" y="1883"/>
                  <a:pt x="566" y="1883"/>
                  <a:pt x="566" y="1883"/>
                </a:cubicBezTo>
                <a:cubicBezTo>
                  <a:pt x="566" y="1900"/>
                  <a:pt x="552" y="1913"/>
                  <a:pt x="536" y="1913"/>
                </a:cubicBezTo>
                <a:cubicBezTo>
                  <a:pt x="97" y="1913"/>
                  <a:pt x="97" y="1913"/>
                  <a:pt x="97" y="1913"/>
                </a:cubicBezTo>
                <a:cubicBezTo>
                  <a:pt x="80" y="1913"/>
                  <a:pt x="66" y="1900"/>
                  <a:pt x="66" y="1883"/>
                </a:cubicBezTo>
                <a:cubicBezTo>
                  <a:pt x="66" y="1199"/>
                  <a:pt x="66" y="1199"/>
                  <a:pt x="66" y="1199"/>
                </a:cubicBezTo>
                <a:cubicBezTo>
                  <a:pt x="66" y="1190"/>
                  <a:pt x="62" y="1181"/>
                  <a:pt x="53" y="1176"/>
                </a:cubicBezTo>
                <a:cubicBezTo>
                  <a:pt x="27" y="1160"/>
                  <a:pt x="0" y="1178"/>
                  <a:pt x="0" y="1203"/>
                </a:cubicBezTo>
                <a:cubicBezTo>
                  <a:pt x="0" y="1883"/>
                  <a:pt x="0" y="1883"/>
                  <a:pt x="0" y="1883"/>
                </a:cubicBezTo>
                <a:cubicBezTo>
                  <a:pt x="0" y="1936"/>
                  <a:pt x="43" y="1980"/>
                  <a:pt x="97" y="1980"/>
                </a:cubicBezTo>
                <a:cubicBezTo>
                  <a:pt x="536" y="1980"/>
                  <a:pt x="536" y="1980"/>
                  <a:pt x="536" y="1980"/>
                </a:cubicBezTo>
                <a:cubicBezTo>
                  <a:pt x="589" y="1980"/>
                  <a:pt x="633" y="1936"/>
                  <a:pt x="633" y="1883"/>
                </a:cubicBezTo>
                <a:cubicBezTo>
                  <a:pt x="633" y="1788"/>
                  <a:pt x="633" y="1788"/>
                  <a:pt x="633" y="1788"/>
                </a:cubicBezTo>
                <a:cubicBezTo>
                  <a:pt x="798" y="1871"/>
                  <a:pt x="798" y="1871"/>
                  <a:pt x="798" y="1871"/>
                </a:cubicBezTo>
                <a:cubicBezTo>
                  <a:pt x="802" y="1872"/>
                  <a:pt x="806" y="1873"/>
                  <a:pt x="810" y="1873"/>
                </a:cubicBezTo>
                <a:cubicBezTo>
                  <a:pt x="1452" y="1873"/>
                  <a:pt x="1452" y="1873"/>
                  <a:pt x="1452" y="1873"/>
                </a:cubicBezTo>
                <a:cubicBezTo>
                  <a:pt x="1462" y="1873"/>
                  <a:pt x="1471" y="1869"/>
                  <a:pt x="1476" y="1861"/>
                </a:cubicBezTo>
                <a:cubicBezTo>
                  <a:pt x="1492" y="1834"/>
                  <a:pt x="1473" y="1807"/>
                  <a:pt x="1449" y="1807"/>
                </a:cubicBezTo>
                <a:cubicBezTo>
                  <a:pt x="820" y="1807"/>
                  <a:pt x="820" y="1807"/>
                  <a:pt x="820" y="1807"/>
                </a:cubicBezTo>
                <a:cubicBezTo>
                  <a:pt x="633" y="1714"/>
                  <a:pt x="633" y="1714"/>
                  <a:pt x="633" y="1714"/>
                </a:cubicBezTo>
                <a:cubicBezTo>
                  <a:pt x="633" y="1038"/>
                  <a:pt x="633" y="1038"/>
                  <a:pt x="633" y="1038"/>
                </a:cubicBezTo>
                <a:cubicBezTo>
                  <a:pt x="962" y="618"/>
                  <a:pt x="962" y="618"/>
                  <a:pt x="962" y="618"/>
                </a:cubicBezTo>
                <a:cubicBezTo>
                  <a:pt x="1001" y="569"/>
                  <a:pt x="1022" y="508"/>
                  <a:pt x="1022" y="446"/>
                </a:cubicBezTo>
                <a:cubicBezTo>
                  <a:pt x="1022" y="153"/>
                  <a:pt x="1022" y="153"/>
                  <a:pt x="1022" y="153"/>
                </a:cubicBezTo>
                <a:cubicBezTo>
                  <a:pt x="1022" y="119"/>
                  <a:pt x="1049" y="92"/>
                  <a:pt x="1082" y="91"/>
                </a:cubicBezTo>
                <a:cubicBezTo>
                  <a:pt x="1127" y="90"/>
                  <a:pt x="1182" y="97"/>
                  <a:pt x="1225" y="130"/>
                </a:cubicBezTo>
                <a:cubicBezTo>
                  <a:pt x="1281" y="171"/>
                  <a:pt x="1309" y="247"/>
                  <a:pt x="1309" y="354"/>
                </a:cubicBezTo>
                <a:cubicBezTo>
                  <a:pt x="1309" y="715"/>
                  <a:pt x="1309" y="715"/>
                  <a:pt x="1309" y="715"/>
                </a:cubicBezTo>
                <a:cubicBezTo>
                  <a:pt x="1309" y="729"/>
                  <a:pt x="1321" y="741"/>
                  <a:pt x="1335" y="741"/>
                </a:cubicBezTo>
                <a:cubicBezTo>
                  <a:pt x="1877" y="741"/>
                  <a:pt x="1877" y="741"/>
                  <a:pt x="1877" y="741"/>
                </a:cubicBezTo>
                <a:cubicBezTo>
                  <a:pt x="1918" y="741"/>
                  <a:pt x="1956" y="765"/>
                  <a:pt x="1972" y="803"/>
                </a:cubicBezTo>
                <a:cubicBezTo>
                  <a:pt x="2005" y="882"/>
                  <a:pt x="1948" y="958"/>
                  <a:pt x="1873" y="958"/>
                </a:cubicBezTo>
                <a:cubicBezTo>
                  <a:pt x="1586" y="958"/>
                  <a:pt x="1586" y="958"/>
                  <a:pt x="1586" y="958"/>
                </a:cubicBezTo>
                <a:cubicBezTo>
                  <a:pt x="1577" y="958"/>
                  <a:pt x="1568" y="963"/>
                  <a:pt x="1563" y="971"/>
                </a:cubicBezTo>
                <a:cubicBezTo>
                  <a:pt x="1547" y="997"/>
                  <a:pt x="1565" y="1024"/>
                  <a:pt x="1590" y="1024"/>
                </a:cubicBezTo>
                <a:cubicBezTo>
                  <a:pt x="1590" y="1024"/>
                  <a:pt x="1844" y="1024"/>
                  <a:pt x="1845" y="1024"/>
                </a:cubicBezTo>
                <a:cubicBezTo>
                  <a:pt x="1917" y="1029"/>
                  <a:pt x="1970" y="1105"/>
                  <a:pt x="1936" y="1181"/>
                </a:cubicBezTo>
                <a:cubicBezTo>
                  <a:pt x="1919" y="1218"/>
                  <a:pt x="1882" y="1241"/>
                  <a:pt x="1842" y="1241"/>
                </a:cubicBezTo>
                <a:cubicBezTo>
                  <a:pt x="1586" y="1241"/>
                  <a:pt x="1586" y="1241"/>
                  <a:pt x="1586" y="1241"/>
                </a:cubicBezTo>
                <a:cubicBezTo>
                  <a:pt x="1577" y="1241"/>
                  <a:pt x="1568" y="1246"/>
                  <a:pt x="1563" y="1254"/>
                </a:cubicBezTo>
                <a:cubicBezTo>
                  <a:pt x="1547" y="1280"/>
                  <a:pt x="1565" y="1307"/>
                  <a:pt x="1590" y="1307"/>
                </a:cubicBezTo>
                <a:cubicBezTo>
                  <a:pt x="1812" y="1307"/>
                  <a:pt x="1812" y="1307"/>
                  <a:pt x="1812" y="1307"/>
                </a:cubicBezTo>
                <a:cubicBezTo>
                  <a:pt x="1813" y="1308"/>
                  <a:pt x="1815" y="1308"/>
                  <a:pt x="1816" y="1308"/>
                </a:cubicBezTo>
                <a:cubicBezTo>
                  <a:pt x="1886" y="1317"/>
                  <a:pt x="1934" y="1392"/>
                  <a:pt x="1899" y="1466"/>
                </a:cubicBezTo>
                <a:cubicBezTo>
                  <a:pt x="1884" y="1498"/>
                  <a:pt x="1842" y="1524"/>
                  <a:pt x="1806" y="1524"/>
                </a:cubicBezTo>
                <a:cubicBezTo>
                  <a:pt x="1586" y="1524"/>
                  <a:pt x="1586" y="1524"/>
                  <a:pt x="1586" y="1524"/>
                </a:cubicBezTo>
                <a:cubicBezTo>
                  <a:pt x="1577" y="1524"/>
                  <a:pt x="1568" y="1529"/>
                  <a:pt x="1563" y="1537"/>
                </a:cubicBezTo>
                <a:cubicBezTo>
                  <a:pt x="1547" y="1563"/>
                  <a:pt x="1565" y="1590"/>
                  <a:pt x="1590" y="1590"/>
                </a:cubicBezTo>
                <a:cubicBezTo>
                  <a:pt x="1781" y="1590"/>
                  <a:pt x="1781" y="1590"/>
                  <a:pt x="1781" y="1590"/>
                </a:cubicBezTo>
                <a:cubicBezTo>
                  <a:pt x="1783" y="1591"/>
                  <a:pt x="1785" y="1592"/>
                  <a:pt x="1787" y="1592"/>
                </a:cubicBezTo>
                <a:cubicBezTo>
                  <a:pt x="1855" y="1605"/>
                  <a:pt x="1898" y="1680"/>
                  <a:pt x="1863" y="1751"/>
                </a:cubicBezTo>
                <a:cubicBezTo>
                  <a:pt x="1846" y="1786"/>
                  <a:pt x="1810" y="1807"/>
                  <a:pt x="1771" y="1807"/>
                </a:cubicBezTo>
                <a:cubicBezTo>
                  <a:pt x="1586" y="1807"/>
                  <a:pt x="1586" y="1807"/>
                  <a:pt x="1586" y="1807"/>
                </a:cubicBezTo>
                <a:cubicBezTo>
                  <a:pt x="1577" y="1807"/>
                  <a:pt x="1568" y="1812"/>
                  <a:pt x="1563" y="1820"/>
                </a:cubicBezTo>
                <a:cubicBezTo>
                  <a:pt x="1547" y="1846"/>
                  <a:pt x="1565" y="1873"/>
                  <a:pt x="1590" y="1873"/>
                </a:cubicBezTo>
                <a:cubicBezTo>
                  <a:pt x="1770" y="1873"/>
                  <a:pt x="1770" y="1873"/>
                  <a:pt x="1770" y="1873"/>
                </a:cubicBezTo>
                <a:cubicBezTo>
                  <a:pt x="1838" y="1873"/>
                  <a:pt x="1900" y="1834"/>
                  <a:pt x="1927" y="1772"/>
                </a:cubicBezTo>
                <a:cubicBezTo>
                  <a:pt x="1959" y="1695"/>
                  <a:pt x="1937" y="1617"/>
                  <a:pt x="1885" y="1570"/>
                </a:cubicBezTo>
                <a:cubicBezTo>
                  <a:pt x="1940" y="1540"/>
                  <a:pt x="1977" y="1482"/>
                  <a:pt x="1977" y="1416"/>
                </a:cubicBezTo>
                <a:cubicBezTo>
                  <a:pt x="1977" y="1365"/>
                  <a:pt x="1955" y="1319"/>
                  <a:pt x="1920" y="1287"/>
                </a:cubicBezTo>
                <a:cubicBezTo>
                  <a:pt x="1975" y="1257"/>
                  <a:pt x="2013" y="1199"/>
                  <a:pt x="2013" y="113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200" b="0" i="0" u="none" strike="noStrike" kern="1200" cap="none" spc="0" normalizeH="0" baseline="0" noProof="0">
              <a:ln>
                <a:noFill/>
              </a:ln>
              <a:solidFill>
                <a:srgbClr val="000000"/>
              </a:solidFill>
              <a:effectLst/>
              <a:uLnTx/>
              <a:uFillTx/>
              <a:latin typeface="IBM Plex Sans"/>
              <a:ea typeface="+mn-ea"/>
              <a:cs typeface="+mn-cs"/>
            </a:endParaRPr>
          </a:p>
        </p:txBody>
      </p:sp>
      <p:sp>
        <p:nvSpPr>
          <p:cNvPr id="23" name="Freeform 10">
            <a:extLst>
              <a:ext uri="{FF2B5EF4-FFF2-40B4-BE49-F238E27FC236}">
                <a16:creationId xmlns:a16="http://schemas.microsoft.com/office/drawing/2014/main" id="{A978DF27-B9A9-8B43-9C07-1B90616D3AE1}"/>
              </a:ext>
            </a:extLst>
          </p:cNvPr>
          <p:cNvSpPr>
            <a:spLocks noEditPoints="1"/>
          </p:cNvSpPr>
          <p:nvPr/>
        </p:nvSpPr>
        <p:spPr bwMode="auto">
          <a:xfrm>
            <a:off x="226079" y="2101619"/>
            <a:ext cx="493600" cy="495116"/>
          </a:xfrm>
          <a:custGeom>
            <a:avLst/>
            <a:gdLst>
              <a:gd name="T0" fmla="*/ 1007 w 2048"/>
              <a:gd name="T1" fmla="*/ 1036 h 2048"/>
              <a:gd name="T2" fmla="*/ 484 w 2048"/>
              <a:gd name="T3" fmla="*/ 649 h 2048"/>
              <a:gd name="T4" fmla="*/ 1150 w 2048"/>
              <a:gd name="T5" fmla="*/ 787 h 2048"/>
              <a:gd name="T6" fmla="*/ 787 w 2048"/>
              <a:gd name="T7" fmla="*/ 488 h 2048"/>
              <a:gd name="T8" fmla="*/ 1008 w 2048"/>
              <a:gd name="T9" fmla="*/ 1253 h 2048"/>
              <a:gd name="T10" fmla="*/ 740 w 2048"/>
              <a:gd name="T11" fmla="*/ 1509 h 2048"/>
              <a:gd name="T12" fmla="*/ 500 w 2048"/>
              <a:gd name="T13" fmla="*/ 1238 h 2048"/>
              <a:gd name="T14" fmla="*/ 335 w 2048"/>
              <a:gd name="T15" fmla="*/ 1074 h 2048"/>
              <a:gd name="T16" fmla="*/ 65 w 2048"/>
              <a:gd name="T17" fmla="*/ 834 h 2048"/>
              <a:gd name="T18" fmla="*/ 337 w 2048"/>
              <a:gd name="T19" fmla="*/ 534 h 2048"/>
              <a:gd name="T20" fmla="*/ 355 w 2048"/>
              <a:gd name="T21" fmla="*/ 239 h 2048"/>
              <a:gd name="T22" fmla="*/ 705 w 2048"/>
              <a:gd name="T23" fmla="*/ 94 h 2048"/>
              <a:gd name="T24" fmla="*/ 926 w 2048"/>
              <a:gd name="T25" fmla="*/ 290 h 2048"/>
              <a:gd name="T26" fmla="*/ 1331 w 2048"/>
              <a:gd name="T27" fmla="*/ 309 h 2048"/>
              <a:gd name="T28" fmla="*/ 1309 w 2048"/>
              <a:gd name="T29" fmla="*/ 670 h 2048"/>
              <a:gd name="T30" fmla="*/ 1309 w 2048"/>
              <a:gd name="T31" fmla="*/ 903 h 2048"/>
              <a:gd name="T32" fmla="*/ 1341 w 2048"/>
              <a:gd name="T33" fmla="*/ 963 h 2048"/>
              <a:gd name="T34" fmla="*/ 1341 w 2048"/>
              <a:gd name="T35" fmla="*/ 611 h 2048"/>
              <a:gd name="T36" fmla="*/ 1183 w 2048"/>
              <a:gd name="T37" fmla="*/ 185 h 2048"/>
              <a:gd name="T38" fmla="*/ 740 w 2048"/>
              <a:gd name="T39" fmla="*/ 0 h 2048"/>
              <a:gd name="T40" fmla="*/ 263 w 2048"/>
              <a:gd name="T41" fmla="*/ 197 h 2048"/>
              <a:gd name="T42" fmla="*/ 81 w 2048"/>
              <a:gd name="T43" fmla="*/ 641 h 2048"/>
              <a:gd name="T44" fmla="*/ 271 w 2048"/>
              <a:gd name="T45" fmla="*/ 1054 h 2048"/>
              <a:gd name="T46" fmla="*/ 520 w 2048"/>
              <a:gd name="T47" fmla="*/ 1303 h 2048"/>
              <a:gd name="T48" fmla="*/ 932 w 2048"/>
              <a:gd name="T49" fmla="*/ 1493 h 2048"/>
              <a:gd name="T50" fmla="*/ 1636 w 2048"/>
              <a:gd name="T51" fmla="*/ 1520 h 2048"/>
              <a:gd name="T52" fmla="*/ 1520 w 2048"/>
              <a:gd name="T53" fmla="*/ 1701 h 2048"/>
              <a:gd name="T54" fmla="*/ 1403 w 2048"/>
              <a:gd name="T55" fmla="*/ 1520 h 2048"/>
              <a:gd name="T56" fmla="*/ 1925 w 2048"/>
              <a:gd name="T57" fmla="*/ 1266 h 2048"/>
              <a:gd name="T58" fmla="*/ 1645 w 2048"/>
              <a:gd name="T59" fmla="*/ 1147 h 2048"/>
              <a:gd name="T60" fmla="*/ 1395 w 2048"/>
              <a:gd name="T61" fmla="*/ 1147 h 2048"/>
              <a:gd name="T62" fmla="*/ 1115 w 2048"/>
              <a:gd name="T63" fmla="*/ 1266 h 2048"/>
              <a:gd name="T64" fmla="*/ 1234 w 2048"/>
              <a:gd name="T65" fmla="*/ 1359 h 2048"/>
              <a:gd name="T66" fmla="*/ 1230 w 2048"/>
              <a:gd name="T67" fmla="*/ 1169 h 2048"/>
              <a:gd name="T68" fmla="*/ 1477 w 2048"/>
              <a:gd name="T69" fmla="*/ 1067 h 2048"/>
              <a:gd name="T70" fmla="*/ 1608 w 2048"/>
              <a:gd name="T71" fmla="*/ 1204 h 2048"/>
              <a:gd name="T72" fmla="*/ 1869 w 2048"/>
              <a:gd name="T73" fmla="*/ 1214 h 2048"/>
              <a:gd name="T74" fmla="*/ 1861 w 2048"/>
              <a:gd name="T75" fmla="*/ 1454 h 2048"/>
              <a:gd name="T76" fmla="*/ 1861 w 2048"/>
              <a:gd name="T77" fmla="*/ 1585 h 2048"/>
              <a:gd name="T78" fmla="*/ 1869 w 2048"/>
              <a:gd name="T79" fmla="*/ 1826 h 2048"/>
              <a:gd name="T80" fmla="*/ 1608 w 2048"/>
              <a:gd name="T81" fmla="*/ 1836 h 2048"/>
              <a:gd name="T82" fmla="*/ 1477 w 2048"/>
              <a:gd name="T83" fmla="*/ 1973 h 2048"/>
              <a:gd name="T84" fmla="*/ 1230 w 2048"/>
              <a:gd name="T85" fmla="*/ 1871 h 2048"/>
              <a:gd name="T86" fmla="*/ 1234 w 2048"/>
              <a:gd name="T87" fmla="*/ 1681 h 2048"/>
              <a:gd name="T88" fmla="*/ 1056 w 2048"/>
              <a:gd name="T89" fmla="*/ 1489 h 2048"/>
              <a:gd name="T90" fmla="*/ 1054 w 2048"/>
              <a:gd name="T91" fmla="*/ 1413 h 2048"/>
              <a:gd name="T92" fmla="*/ 1168 w 2048"/>
              <a:gd name="T93" fmla="*/ 1695 h 2048"/>
              <a:gd name="T94" fmla="*/ 1345 w 2048"/>
              <a:gd name="T95" fmla="*/ 1872 h 2048"/>
              <a:gd name="T96" fmla="*/ 1626 w 2048"/>
              <a:gd name="T97" fmla="*/ 1986 h 2048"/>
              <a:gd name="T98" fmla="*/ 1915 w 2048"/>
              <a:gd name="T99" fmla="*/ 1872 h 2048"/>
              <a:gd name="T100" fmla="*/ 2048 w 2048"/>
              <a:gd name="T101" fmla="*/ 1550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8" h="2048">
                <a:moveTo>
                  <a:pt x="504" y="690"/>
                </a:moveTo>
                <a:cubicBezTo>
                  <a:pt x="493" y="721"/>
                  <a:pt x="488" y="754"/>
                  <a:pt x="488" y="787"/>
                </a:cubicBezTo>
                <a:cubicBezTo>
                  <a:pt x="488" y="952"/>
                  <a:pt x="622" y="1086"/>
                  <a:pt x="787" y="1086"/>
                </a:cubicBezTo>
                <a:cubicBezTo>
                  <a:pt x="850" y="1086"/>
                  <a:pt x="911" y="1066"/>
                  <a:pt x="962" y="1029"/>
                </a:cubicBezTo>
                <a:cubicBezTo>
                  <a:pt x="976" y="1019"/>
                  <a:pt x="997" y="1022"/>
                  <a:pt x="1007" y="1036"/>
                </a:cubicBezTo>
                <a:cubicBezTo>
                  <a:pt x="1018" y="1051"/>
                  <a:pt x="1014" y="1071"/>
                  <a:pt x="1000" y="1081"/>
                </a:cubicBezTo>
                <a:cubicBezTo>
                  <a:pt x="938" y="1127"/>
                  <a:pt x="864" y="1150"/>
                  <a:pt x="787" y="1150"/>
                </a:cubicBezTo>
                <a:cubicBezTo>
                  <a:pt x="586" y="1150"/>
                  <a:pt x="423" y="987"/>
                  <a:pt x="423" y="787"/>
                </a:cubicBezTo>
                <a:cubicBezTo>
                  <a:pt x="423" y="746"/>
                  <a:pt x="430" y="707"/>
                  <a:pt x="443" y="669"/>
                </a:cubicBezTo>
                <a:cubicBezTo>
                  <a:pt x="449" y="652"/>
                  <a:pt x="467" y="643"/>
                  <a:pt x="484" y="649"/>
                </a:cubicBezTo>
                <a:cubicBezTo>
                  <a:pt x="501" y="654"/>
                  <a:pt x="510" y="673"/>
                  <a:pt x="504" y="690"/>
                </a:cubicBezTo>
                <a:close/>
                <a:moveTo>
                  <a:pt x="1067" y="967"/>
                </a:moveTo>
                <a:cubicBezTo>
                  <a:pt x="1072" y="969"/>
                  <a:pt x="1077" y="970"/>
                  <a:pt x="1082" y="970"/>
                </a:cubicBezTo>
                <a:cubicBezTo>
                  <a:pt x="1093" y="970"/>
                  <a:pt x="1105" y="964"/>
                  <a:pt x="1110" y="953"/>
                </a:cubicBezTo>
                <a:cubicBezTo>
                  <a:pt x="1137" y="902"/>
                  <a:pt x="1150" y="844"/>
                  <a:pt x="1150" y="787"/>
                </a:cubicBezTo>
                <a:cubicBezTo>
                  <a:pt x="1150" y="586"/>
                  <a:pt x="987" y="423"/>
                  <a:pt x="787" y="423"/>
                </a:cubicBezTo>
                <a:cubicBezTo>
                  <a:pt x="692" y="423"/>
                  <a:pt x="601" y="460"/>
                  <a:pt x="533" y="527"/>
                </a:cubicBezTo>
                <a:cubicBezTo>
                  <a:pt x="520" y="539"/>
                  <a:pt x="520" y="560"/>
                  <a:pt x="533" y="572"/>
                </a:cubicBezTo>
                <a:cubicBezTo>
                  <a:pt x="545" y="585"/>
                  <a:pt x="565" y="585"/>
                  <a:pt x="578" y="573"/>
                </a:cubicBezTo>
                <a:cubicBezTo>
                  <a:pt x="634" y="518"/>
                  <a:pt x="708" y="488"/>
                  <a:pt x="787" y="488"/>
                </a:cubicBezTo>
                <a:cubicBezTo>
                  <a:pt x="952" y="488"/>
                  <a:pt x="1086" y="622"/>
                  <a:pt x="1086" y="787"/>
                </a:cubicBezTo>
                <a:cubicBezTo>
                  <a:pt x="1086" y="835"/>
                  <a:pt x="1075" y="881"/>
                  <a:pt x="1053" y="923"/>
                </a:cubicBezTo>
                <a:cubicBezTo>
                  <a:pt x="1045" y="939"/>
                  <a:pt x="1051" y="958"/>
                  <a:pt x="1067" y="967"/>
                </a:cubicBezTo>
                <a:close/>
                <a:moveTo>
                  <a:pt x="1051" y="1269"/>
                </a:moveTo>
                <a:cubicBezTo>
                  <a:pt x="1043" y="1253"/>
                  <a:pt x="1024" y="1246"/>
                  <a:pt x="1008" y="1253"/>
                </a:cubicBezTo>
                <a:cubicBezTo>
                  <a:pt x="982" y="1266"/>
                  <a:pt x="954" y="1276"/>
                  <a:pt x="926" y="1284"/>
                </a:cubicBezTo>
                <a:cubicBezTo>
                  <a:pt x="915" y="1287"/>
                  <a:pt x="906" y="1297"/>
                  <a:pt x="903" y="1309"/>
                </a:cubicBezTo>
                <a:cubicBezTo>
                  <a:pt x="869" y="1480"/>
                  <a:pt x="869" y="1480"/>
                  <a:pt x="869" y="1480"/>
                </a:cubicBezTo>
                <a:cubicBezTo>
                  <a:pt x="866" y="1497"/>
                  <a:pt x="851" y="1509"/>
                  <a:pt x="834" y="1509"/>
                </a:cubicBezTo>
                <a:cubicBezTo>
                  <a:pt x="740" y="1509"/>
                  <a:pt x="740" y="1509"/>
                  <a:pt x="740" y="1509"/>
                </a:cubicBezTo>
                <a:cubicBezTo>
                  <a:pt x="723" y="1509"/>
                  <a:pt x="708" y="1497"/>
                  <a:pt x="705" y="1480"/>
                </a:cubicBezTo>
                <a:cubicBezTo>
                  <a:pt x="670" y="1309"/>
                  <a:pt x="670" y="1309"/>
                  <a:pt x="670" y="1309"/>
                </a:cubicBezTo>
                <a:cubicBezTo>
                  <a:pt x="668" y="1297"/>
                  <a:pt x="659" y="1287"/>
                  <a:pt x="647" y="1284"/>
                </a:cubicBezTo>
                <a:cubicBezTo>
                  <a:pt x="608" y="1273"/>
                  <a:pt x="570" y="1257"/>
                  <a:pt x="534" y="1237"/>
                </a:cubicBezTo>
                <a:cubicBezTo>
                  <a:pt x="523" y="1231"/>
                  <a:pt x="510" y="1232"/>
                  <a:pt x="500" y="1238"/>
                </a:cubicBezTo>
                <a:cubicBezTo>
                  <a:pt x="355" y="1335"/>
                  <a:pt x="355" y="1335"/>
                  <a:pt x="355" y="1335"/>
                </a:cubicBezTo>
                <a:cubicBezTo>
                  <a:pt x="341" y="1345"/>
                  <a:pt x="321" y="1343"/>
                  <a:pt x="309" y="1331"/>
                </a:cubicBezTo>
                <a:cubicBezTo>
                  <a:pt x="243" y="1265"/>
                  <a:pt x="243" y="1265"/>
                  <a:pt x="243" y="1265"/>
                </a:cubicBezTo>
                <a:cubicBezTo>
                  <a:pt x="231" y="1252"/>
                  <a:pt x="229" y="1233"/>
                  <a:pt x="239" y="1219"/>
                </a:cubicBezTo>
                <a:cubicBezTo>
                  <a:pt x="335" y="1074"/>
                  <a:pt x="335" y="1074"/>
                  <a:pt x="335" y="1074"/>
                </a:cubicBezTo>
                <a:cubicBezTo>
                  <a:pt x="342" y="1063"/>
                  <a:pt x="343" y="1050"/>
                  <a:pt x="337" y="1040"/>
                </a:cubicBezTo>
                <a:cubicBezTo>
                  <a:pt x="317" y="1004"/>
                  <a:pt x="301" y="966"/>
                  <a:pt x="290" y="926"/>
                </a:cubicBezTo>
                <a:cubicBezTo>
                  <a:pt x="286" y="915"/>
                  <a:pt x="277" y="906"/>
                  <a:pt x="265" y="903"/>
                </a:cubicBezTo>
                <a:cubicBezTo>
                  <a:pt x="94" y="869"/>
                  <a:pt x="94" y="869"/>
                  <a:pt x="94" y="869"/>
                </a:cubicBezTo>
                <a:cubicBezTo>
                  <a:pt x="77" y="866"/>
                  <a:pt x="65" y="851"/>
                  <a:pt x="65" y="834"/>
                </a:cubicBezTo>
                <a:cubicBezTo>
                  <a:pt x="65" y="740"/>
                  <a:pt x="65" y="740"/>
                  <a:pt x="65" y="740"/>
                </a:cubicBezTo>
                <a:cubicBezTo>
                  <a:pt x="65" y="723"/>
                  <a:pt x="77" y="708"/>
                  <a:pt x="94" y="705"/>
                </a:cubicBezTo>
                <a:cubicBezTo>
                  <a:pt x="265" y="670"/>
                  <a:pt x="265" y="670"/>
                  <a:pt x="265" y="670"/>
                </a:cubicBezTo>
                <a:cubicBezTo>
                  <a:pt x="277" y="668"/>
                  <a:pt x="286" y="659"/>
                  <a:pt x="290" y="647"/>
                </a:cubicBezTo>
                <a:cubicBezTo>
                  <a:pt x="301" y="608"/>
                  <a:pt x="317" y="570"/>
                  <a:pt x="337" y="534"/>
                </a:cubicBezTo>
                <a:cubicBezTo>
                  <a:pt x="343" y="523"/>
                  <a:pt x="342" y="510"/>
                  <a:pt x="335" y="500"/>
                </a:cubicBezTo>
                <a:cubicBezTo>
                  <a:pt x="239" y="355"/>
                  <a:pt x="239" y="355"/>
                  <a:pt x="239" y="355"/>
                </a:cubicBezTo>
                <a:cubicBezTo>
                  <a:pt x="229" y="341"/>
                  <a:pt x="231" y="321"/>
                  <a:pt x="243" y="309"/>
                </a:cubicBezTo>
                <a:cubicBezTo>
                  <a:pt x="309" y="243"/>
                  <a:pt x="309" y="243"/>
                  <a:pt x="309" y="243"/>
                </a:cubicBezTo>
                <a:cubicBezTo>
                  <a:pt x="321" y="231"/>
                  <a:pt x="341" y="229"/>
                  <a:pt x="355" y="239"/>
                </a:cubicBezTo>
                <a:cubicBezTo>
                  <a:pt x="500" y="335"/>
                  <a:pt x="500" y="335"/>
                  <a:pt x="500" y="335"/>
                </a:cubicBezTo>
                <a:cubicBezTo>
                  <a:pt x="510" y="342"/>
                  <a:pt x="523" y="343"/>
                  <a:pt x="534" y="337"/>
                </a:cubicBezTo>
                <a:cubicBezTo>
                  <a:pt x="570" y="317"/>
                  <a:pt x="608" y="301"/>
                  <a:pt x="647" y="290"/>
                </a:cubicBezTo>
                <a:cubicBezTo>
                  <a:pt x="659" y="286"/>
                  <a:pt x="668" y="277"/>
                  <a:pt x="670" y="265"/>
                </a:cubicBezTo>
                <a:cubicBezTo>
                  <a:pt x="705" y="94"/>
                  <a:pt x="705" y="94"/>
                  <a:pt x="705" y="94"/>
                </a:cubicBezTo>
                <a:cubicBezTo>
                  <a:pt x="708" y="77"/>
                  <a:pt x="723" y="65"/>
                  <a:pt x="740" y="65"/>
                </a:cubicBezTo>
                <a:cubicBezTo>
                  <a:pt x="834" y="65"/>
                  <a:pt x="834" y="65"/>
                  <a:pt x="834" y="65"/>
                </a:cubicBezTo>
                <a:cubicBezTo>
                  <a:pt x="851" y="65"/>
                  <a:pt x="866" y="77"/>
                  <a:pt x="869" y="94"/>
                </a:cubicBezTo>
                <a:cubicBezTo>
                  <a:pt x="903" y="265"/>
                  <a:pt x="903" y="265"/>
                  <a:pt x="903" y="265"/>
                </a:cubicBezTo>
                <a:cubicBezTo>
                  <a:pt x="906" y="277"/>
                  <a:pt x="915" y="286"/>
                  <a:pt x="926" y="290"/>
                </a:cubicBezTo>
                <a:cubicBezTo>
                  <a:pt x="966" y="301"/>
                  <a:pt x="1004" y="317"/>
                  <a:pt x="1040" y="337"/>
                </a:cubicBezTo>
                <a:cubicBezTo>
                  <a:pt x="1050" y="343"/>
                  <a:pt x="1064" y="342"/>
                  <a:pt x="1074" y="335"/>
                </a:cubicBezTo>
                <a:cubicBezTo>
                  <a:pt x="1219" y="239"/>
                  <a:pt x="1219" y="239"/>
                  <a:pt x="1219" y="239"/>
                </a:cubicBezTo>
                <a:cubicBezTo>
                  <a:pt x="1233" y="229"/>
                  <a:pt x="1252" y="231"/>
                  <a:pt x="1265" y="243"/>
                </a:cubicBezTo>
                <a:cubicBezTo>
                  <a:pt x="1331" y="309"/>
                  <a:pt x="1331" y="309"/>
                  <a:pt x="1331" y="309"/>
                </a:cubicBezTo>
                <a:cubicBezTo>
                  <a:pt x="1343" y="321"/>
                  <a:pt x="1345" y="341"/>
                  <a:pt x="1335" y="355"/>
                </a:cubicBezTo>
                <a:cubicBezTo>
                  <a:pt x="1238" y="500"/>
                  <a:pt x="1238" y="500"/>
                  <a:pt x="1238" y="500"/>
                </a:cubicBezTo>
                <a:cubicBezTo>
                  <a:pt x="1232" y="510"/>
                  <a:pt x="1231" y="523"/>
                  <a:pt x="1237" y="534"/>
                </a:cubicBezTo>
                <a:cubicBezTo>
                  <a:pt x="1257" y="570"/>
                  <a:pt x="1273" y="608"/>
                  <a:pt x="1284" y="647"/>
                </a:cubicBezTo>
                <a:cubicBezTo>
                  <a:pt x="1287" y="659"/>
                  <a:pt x="1297" y="668"/>
                  <a:pt x="1309" y="670"/>
                </a:cubicBezTo>
                <a:cubicBezTo>
                  <a:pt x="1480" y="705"/>
                  <a:pt x="1480" y="705"/>
                  <a:pt x="1480" y="705"/>
                </a:cubicBezTo>
                <a:cubicBezTo>
                  <a:pt x="1497" y="708"/>
                  <a:pt x="1509" y="723"/>
                  <a:pt x="1509" y="740"/>
                </a:cubicBezTo>
                <a:cubicBezTo>
                  <a:pt x="1509" y="834"/>
                  <a:pt x="1509" y="834"/>
                  <a:pt x="1509" y="834"/>
                </a:cubicBezTo>
                <a:cubicBezTo>
                  <a:pt x="1509" y="851"/>
                  <a:pt x="1497" y="866"/>
                  <a:pt x="1480" y="869"/>
                </a:cubicBezTo>
                <a:cubicBezTo>
                  <a:pt x="1309" y="903"/>
                  <a:pt x="1309" y="903"/>
                  <a:pt x="1309" y="903"/>
                </a:cubicBezTo>
                <a:cubicBezTo>
                  <a:pt x="1297" y="906"/>
                  <a:pt x="1287" y="915"/>
                  <a:pt x="1284" y="926"/>
                </a:cubicBezTo>
                <a:cubicBezTo>
                  <a:pt x="1276" y="955"/>
                  <a:pt x="1265" y="983"/>
                  <a:pt x="1253" y="1010"/>
                </a:cubicBezTo>
                <a:cubicBezTo>
                  <a:pt x="1245" y="1026"/>
                  <a:pt x="1252" y="1045"/>
                  <a:pt x="1268" y="1053"/>
                </a:cubicBezTo>
                <a:cubicBezTo>
                  <a:pt x="1284" y="1061"/>
                  <a:pt x="1303" y="1054"/>
                  <a:pt x="1311" y="1038"/>
                </a:cubicBezTo>
                <a:cubicBezTo>
                  <a:pt x="1322" y="1014"/>
                  <a:pt x="1332" y="989"/>
                  <a:pt x="1341" y="963"/>
                </a:cubicBezTo>
                <a:cubicBezTo>
                  <a:pt x="1493" y="932"/>
                  <a:pt x="1493" y="932"/>
                  <a:pt x="1493" y="932"/>
                </a:cubicBezTo>
                <a:cubicBezTo>
                  <a:pt x="1540" y="923"/>
                  <a:pt x="1574" y="881"/>
                  <a:pt x="1574" y="834"/>
                </a:cubicBezTo>
                <a:cubicBezTo>
                  <a:pt x="1574" y="740"/>
                  <a:pt x="1574" y="740"/>
                  <a:pt x="1574" y="740"/>
                </a:cubicBezTo>
                <a:cubicBezTo>
                  <a:pt x="1574" y="692"/>
                  <a:pt x="1540" y="651"/>
                  <a:pt x="1493" y="641"/>
                </a:cubicBezTo>
                <a:cubicBezTo>
                  <a:pt x="1341" y="611"/>
                  <a:pt x="1341" y="611"/>
                  <a:pt x="1341" y="611"/>
                </a:cubicBezTo>
                <a:cubicBezTo>
                  <a:pt x="1331" y="579"/>
                  <a:pt x="1318" y="549"/>
                  <a:pt x="1303" y="520"/>
                </a:cubicBezTo>
                <a:cubicBezTo>
                  <a:pt x="1389" y="391"/>
                  <a:pt x="1389" y="391"/>
                  <a:pt x="1389" y="391"/>
                </a:cubicBezTo>
                <a:cubicBezTo>
                  <a:pt x="1415" y="351"/>
                  <a:pt x="1410" y="297"/>
                  <a:pt x="1376" y="263"/>
                </a:cubicBezTo>
                <a:cubicBezTo>
                  <a:pt x="1310" y="197"/>
                  <a:pt x="1310" y="197"/>
                  <a:pt x="1310" y="197"/>
                </a:cubicBezTo>
                <a:cubicBezTo>
                  <a:pt x="1276" y="164"/>
                  <a:pt x="1223" y="158"/>
                  <a:pt x="1183" y="185"/>
                </a:cubicBezTo>
                <a:cubicBezTo>
                  <a:pt x="1054" y="271"/>
                  <a:pt x="1054" y="271"/>
                  <a:pt x="1054" y="271"/>
                </a:cubicBezTo>
                <a:cubicBezTo>
                  <a:pt x="1025" y="256"/>
                  <a:pt x="994" y="243"/>
                  <a:pt x="963" y="233"/>
                </a:cubicBezTo>
                <a:cubicBezTo>
                  <a:pt x="932" y="81"/>
                  <a:pt x="932" y="81"/>
                  <a:pt x="932" y="81"/>
                </a:cubicBezTo>
                <a:cubicBezTo>
                  <a:pt x="923" y="34"/>
                  <a:pt x="881" y="0"/>
                  <a:pt x="834" y="0"/>
                </a:cubicBezTo>
                <a:cubicBezTo>
                  <a:pt x="740" y="0"/>
                  <a:pt x="740" y="0"/>
                  <a:pt x="740" y="0"/>
                </a:cubicBezTo>
                <a:cubicBezTo>
                  <a:pt x="692" y="0"/>
                  <a:pt x="651" y="34"/>
                  <a:pt x="641" y="81"/>
                </a:cubicBezTo>
                <a:cubicBezTo>
                  <a:pt x="611" y="233"/>
                  <a:pt x="611" y="233"/>
                  <a:pt x="611" y="233"/>
                </a:cubicBezTo>
                <a:cubicBezTo>
                  <a:pt x="579" y="243"/>
                  <a:pt x="549" y="256"/>
                  <a:pt x="520" y="271"/>
                </a:cubicBezTo>
                <a:cubicBezTo>
                  <a:pt x="391" y="185"/>
                  <a:pt x="391" y="185"/>
                  <a:pt x="391" y="185"/>
                </a:cubicBezTo>
                <a:cubicBezTo>
                  <a:pt x="351" y="158"/>
                  <a:pt x="297" y="164"/>
                  <a:pt x="263" y="197"/>
                </a:cubicBezTo>
                <a:cubicBezTo>
                  <a:pt x="197" y="263"/>
                  <a:pt x="197" y="263"/>
                  <a:pt x="197" y="263"/>
                </a:cubicBezTo>
                <a:cubicBezTo>
                  <a:pt x="164" y="297"/>
                  <a:pt x="158" y="351"/>
                  <a:pt x="185" y="391"/>
                </a:cubicBezTo>
                <a:cubicBezTo>
                  <a:pt x="271" y="520"/>
                  <a:pt x="271" y="520"/>
                  <a:pt x="271" y="520"/>
                </a:cubicBezTo>
                <a:cubicBezTo>
                  <a:pt x="256" y="549"/>
                  <a:pt x="243" y="579"/>
                  <a:pt x="233" y="611"/>
                </a:cubicBezTo>
                <a:cubicBezTo>
                  <a:pt x="81" y="641"/>
                  <a:pt x="81" y="641"/>
                  <a:pt x="81" y="641"/>
                </a:cubicBezTo>
                <a:cubicBezTo>
                  <a:pt x="34" y="651"/>
                  <a:pt x="0" y="692"/>
                  <a:pt x="0" y="740"/>
                </a:cubicBezTo>
                <a:cubicBezTo>
                  <a:pt x="0" y="834"/>
                  <a:pt x="0" y="834"/>
                  <a:pt x="0" y="834"/>
                </a:cubicBezTo>
                <a:cubicBezTo>
                  <a:pt x="0" y="881"/>
                  <a:pt x="34" y="923"/>
                  <a:pt x="81" y="932"/>
                </a:cubicBezTo>
                <a:cubicBezTo>
                  <a:pt x="233" y="963"/>
                  <a:pt x="233" y="963"/>
                  <a:pt x="233" y="963"/>
                </a:cubicBezTo>
                <a:cubicBezTo>
                  <a:pt x="243" y="994"/>
                  <a:pt x="256" y="1025"/>
                  <a:pt x="271" y="1054"/>
                </a:cubicBezTo>
                <a:cubicBezTo>
                  <a:pt x="185" y="1183"/>
                  <a:pt x="185" y="1183"/>
                  <a:pt x="185" y="1183"/>
                </a:cubicBezTo>
                <a:cubicBezTo>
                  <a:pt x="158" y="1223"/>
                  <a:pt x="164" y="1276"/>
                  <a:pt x="197" y="1310"/>
                </a:cubicBezTo>
                <a:cubicBezTo>
                  <a:pt x="263" y="1376"/>
                  <a:pt x="263" y="1376"/>
                  <a:pt x="263" y="1376"/>
                </a:cubicBezTo>
                <a:cubicBezTo>
                  <a:pt x="297" y="1410"/>
                  <a:pt x="351" y="1415"/>
                  <a:pt x="391" y="1389"/>
                </a:cubicBezTo>
                <a:cubicBezTo>
                  <a:pt x="520" y="1303"/>
                  <a:pt x="520" y="1303"/>
                  <a:pt x="520" y="1303"/>
                </a:cubicBezTo>
                <a:cubicBezTo>
                  <a:pt x="549" y="1318"/>
                  <a:pt x="579" y="1331"/>
                  <a:pt x="611" y="1341"/>
                </a:cubicBezTo>
                <a:cubicBezTo>
                  <a:pt x="641" y="1493"/>
                  <a:pt x="641" y="1493"/>
                  <a:pt x="641" y="1493"/>
                </a:cubicBezTo>
                <a:cubicBezTo>
                  <a:pt x="651" y="1540"/>
                  <a:pt x="692" y="1574"/>
                  <a:pt x="740" y="1574"/>
                </a:cubicBezTo>
                <a:cubicBezTo>
                  <a:pt x="834" y="1574"/>
                  <a:pt x="834" y="1574"/>
                  <a:pt x="834" y="1574"/>
                </a:cubicBezTo>
                <a:cubicBezTo>
                  <a:pt x="881" y="1574"/>
                  <a:pt x="923" y="1540"/>
                  <a:pt x="932" y="1493"/>
                </a:cubicBezTo>
                <a:cubicBezTo>
                  <a:pt x="963" y="1341"/>
                  <a:pt x="963" y="1341"/>
                  <a:pt x="963" y="1341"/>
                </a:cubicBezTo>
                <a:cubicBezTo>
                  <a:pt x="988" y="1333"/>
                  <a:pt x="1012" y="1323"/>
                  <a:pt x="1036" y="1312"/>
                </a:cubicBezTo>
                <a:cubicBezTo>
                  <a:pt x="1052" y="1304"/>
                  <a:pt x="1059" y="1285"/>
                  <a:pt x="1051" y="1269"/>
                </a:cubicBezTo>
                <a:close/>
                <a:moveTo>
                  <a:pt x="1520" y="1403"/>
                </a:moveTo>
                <a:cubicBezTo>
                  <a:pt x="1584" y="1403"/>
                  <a:pt x="1636" y="1456"/>
                  <a:pt x="1636" y="1520"/>
                </a:cubicBezTo>
                <a:cubicBezTo>
                  <a:pt x="1636" y="1538"/>
                  <a:pt x="1651" y="1552"/>
                  <a:pt x="1669" y="1552"/>
                </a:cubicBezTo>
                <a:cubicBezTo>
                  <a:pt x="1686" y="1552"/>
                  <a:pt x="1701" y="1538"/>
                  <a:pt x="1701" y="1520"/>
                </a:cubicBezTo>
                <a:cubicBezTo>
                  <a:pt x="1701" y="1420"/>
                  <a:pt x="1620" y="1339"/>
                  <a:pt x="1520" y="1339"/>
                </a:cubicBezTo>
                <a:cubicBezTo>
                  <a:pt x="1420" y="1339"/>
                  <a:pt x="1339" y="1420"/>
                  <a:pt x="1339" y="1520"/>
                </a:cubicBezTo>
                <a:cubicBezTo>
                  <a:pt x="1339" y="1620"/>
                  <a:pt x="1420" y="1701"/>
                  <a:pt x="1520" y="1701"/>
                </a:cubicBezTo>
                <a:cubicBezTo>
                  <a:pt x="1560" y="1701"/>
                  <a:pt x="1599" y="1688"/>
                  <a:pt x="1630" y="1663"/>
                </a:cubicBezTo>
                <a:cubicBezTo>
                  <a:pt x="1645" y="1652"/>
                  <a:pt x="1647" y="1632"/>
                  <a:pt x="1636" y="1618"/>
                </a:cubicBezTo>
                <a:cubicBezTo>
                  <a:pt x="1625" y="1604"/>
                  <a:pt x="1605" y="1601"/>
                  <a:pt x="1591" y="1612"/>
                </a:cubicBezTo>
                <a:cubicBezTo>
                  <a:pt x="1570" y="1628"/>
                  <a:pt x="1546" y="1636"/>
                  <a:pt x="1520" y="1636"/>
                </a:cubicBezTo>
                <a:cubicBezTo>
                  <a:pt x="1456" y="1636"/>
                  <a:pt x="1403" y="1584"/>
                  <a:pt x="1403" y="1520"/>
                </a:cubicBezTo>
                <a:cubicBezTo>
                  <a:pt x="1403" y="1456"/>
                  <a:pt x="1456" y="1403"/>
                  <a:pt x="1520" y="1403"/>
                </a:cubicBezTo>
                <a:close/>
                <a:moveTo>
                  <a:pt x="1986" y="1413"/>
                </a:moveTo>
                <a:cubicBezTo>
                  <a:pt x="1892" y="1395"/>
                  <a:pt x="1892" y="1395"/>
                  <a:pt x="1892" y="1395"/>
                </a:cubicBezTo>
                <a:cubicBezTo>
                  <a:pt x="1887" y="1378"/>
                  <a:pt x="1880" y="1361"/>
                  <a:pt x="1872" y="1345"/>
                </a:cubicBezTo>
                <a:cubicBezTo>
                  <a:pt x="1925" y="1266"/>
                  <a:pt x="1925" y="1266"/>
                  <a:pt x="1925" y="1266"/>
                </a:cubicBezTo>
                <a:cubicBezTo>
                  <a:pt x="1945" y="1235"/>
                  <a:pt x="1941" y="1194"/>
                  <a:pt x="1915" y="1168"/>
                </a:cubicBezTo>
                <a:cubicBezTo>
                  <a:pt x="1872" y="1125"/>
                  <a:pt x="1872" y="1125"/>
                  <a:pt x="1872" y="1125"/>
                </a:cubicBezTo>
                <a:cubicBezTo>
                  <a:pt x="1846" y="1099"/>
                  <a:pt x="1805" y="1095"/>
                  <a:pt x="1774" y="1115"/>
                </a:cubicBezTo>
                <a:cubicBezTo>
                  <a:pt x="1695" y="1168"/>
                  <a:pt x="1695" y="1168"/>
                  <a:pt x="1695" y="1168"/>
                </a:cubicBezTo>
                <a:cubicBezTo>
                  <a:pt x="1679" y="1160"/>
                  <a:pt x="1662" y="1153"/>
                  <a:pt x="1645" y="1147"/>
                </a:cubicBezTo>
                <a:cubicBezTo>
                  <a:pt x="1626" y="1054"/>
                  <a:pt x="1626" y="1054"/>
                  <a:pt x="1626" y="1054"/>
                </a:cubicBezTo>
                <a:cubicBezTo>
                  <a:pt x="1619" y="1018"/>
                  <a:pt x="1587" y="992"/>
                  <a:pt x="1550" y="992"/>
                </a:cubicBezTo>
                <a:cubicBezTo>
                  <a:pt x="1489" y="992"/>
                  <a:pt x="1489" y="992"/>
                  <a:pt x="1489" y="992"/>
                </a:cubicBezTo>
                <a:cubicBezTo>
                  <a:pt x="1452" y="992"/>
                  <a:pt x="1420" y="1018"/>
                  <a:pt x="1413" y="1054"/>
                </a:cubicBezTo>
                <a:cubicBezTo>
                  <a:pt x="1395" y="1147"/>
                  <a:pt x="1395" y="1147"/>
                  <a:pt x="1395" y="1147"/>
                </a:cubicBezTo>
                <a:cubicBezTo>
                  <a:pt x="1378" y="1153"/>
                  <a:pt x="1361" y="1160"/>
                  <a:pt x="1345" y="1168"/>
                </a:cubicBezTo>
                <a:cubicBezTo>
                  <a:pt x="1266" y="1115"/>
                  <a:pt x="1266" y="1115"/>
                  <a:pt x="1266" y="1115"/>
                </a:cubicBezTo>
                <a:cubicBezTo>
                  <a:pt x="1235" y="1095"/>
                  <a:pt x="1194" y="1099"/>
                  <a:pt x="1168" y="1125"/>
                </a:cubicBezTo>
                <a:cubicBezTo>
                  <a:pt x="1125" y="1168"/>
                  <a:pt x="1125" y="1168"/>
                  <a:pt x="1125" y="1168"/>
                </a:cubicBezTo>
                <a:cubicBezTo>
                  <a:pt x="1099" y="1194"/>
                  <a:pt x="1095" y="1235"/>
                  <a:pt x="1115" y="1266"/>
                </a:cubicBezTo>
                <a:cubicBezTo>
                  <a:pt x="1168" y="1345"/>
                  <a:pt x="1168" y="1345"/>
                  <a:pt x="1168" y="1345"/>
                </a:cubicBezTo>
                <a:cubicBezTo>
                  <a:pt x="1157" y="1367"/>
                  <a:pt x="1148" y="1390"/>
                  <a:pt x="1141" y="1414"/>
                </a:cubicBezTo>
                <a:cubicBezTo>
                  <a:pt x="1137" y="1431"/>
                  <a:pt x="1147" y="1449"/>
                  <a:pt x="1164" y="1454"/>
                </a:cubicBezTo>
                <a:cubicBezTo>
                  <a:pt x="1181" y="1458"/>
                  <a:pt x="1199" y="1448"/>
                  <a:pt x="1204" y="1431"/>
                </a:cubicBezTo>
                <a:cubicBezTo>
                  <a:pt x="1211" y="1406"/>
                  <a:pt x="1221" y="1382"/>
                  <a:pt x="1234" y="1359"/>
                </a:cubicBezTo>
                <a:cubicBezTo>
                  <a:pt x="1240" y="1348"/>
                  <a:pt x="1239" y="1335"/>
                  <a:pt x="1232" y="1325"/>
                </a:cubicBezTo>
                <a:cubicBezTo>
                  <a:pt x="1169" y="1230"/>
                  <a:pt x="1169" y="1230"/>
                  <a:pt x="1169" y="1230"/>
                </a:cubicBezTo>
                <a:cubicBezTo>
                  <a:pt x="1165" y="1225"/>
                  <a:pt x="1166" y="1218"/>
                  <a:pt x="1170" y="1214"/>
                </a:cubicBezTo>
                <a:cubicBezTo>
                  <a:pt x="1214" y="1170"/>
                  <a:pt x="1214" y="1170"/>
                  <a:pt x="1214" y="1170"/>
                </a:cubicBezTo>
                <a:cubicBezTo>
                  <a:pt x="1218" y="1166"/>
                  <a:pt x="1225" y="1165"/>
                  <a:pt x="1230" y="1169"/>
                </a:cubicBezTo>
                <a:cubicBezTo>
                  <a:pt x="1325" y="1232"/>
                  <a:pt x="1325" y="1232"/>
                  <a:pt x="1325" y="1232"/>
                </a:cubicBezTo>
                <a:cubicBezTo>
                  <a:pt x="1335" y="1239"/>
                  <a:pt x="1348" y="1240"/>
                  <a:pt x="1359" y="1234"/>
                </a:cubicBezTo>
                <a:cubicBezTo>
                  <a:pt x="1382" y="1221"/>
                  <a:pt x="1406" y="1211"/>
                  <a:pt x="1431" y="1204"/>
                </a:cubicBezTo>
                <a:cubicBezTo>
                  <a:pt x="1443" y="1200"/>
                  <a:pt x="1452" y="1191"/>
                  <a:pt x="1454" y="1179"/>
                </a:cubicBezTo>
                <a:cubicBezTo>
                  <a:pt x="1477" y="1067"/>
                  <a:pt x="1477" y="1067"/>
                  <a:pt x="1477" y="1067"/>
                </a:cubicBezTo>
                <a:cubicBezTo>
                  <a:pt x="1478" y="1061"/>
                  <a:pt x="1483" y="1056"/>
                  <a:pt x="1489" y="1056"/>
                </a:cubicBezTo>
                <a:cubicBezTo>
                  <a:pt x="1550" y="1056"/>
                  <a:pt x="1550" y="1056"/>
                  <a:pt x="1550" y="1056"/>
                </a:cubicBezTo>
                <a:cubicBezTo>
                  <a:pt x="1557" y="1056"/>
                  <a:pt x="1562" y="1061"/>
                  <a:pt x="1563" y="1067"/>
                </a:cubicBezTo>
                <a:cubicBezTo>
                  <a:pt x="1585" y="1179"/>
                  <a:pt x="1585" y="1179"/>
                  <a:pt x="1585" y="1179"/>
                </a:cubicBezTo>
                <a:cubicBezTo>
                  <a:pt x="1588" y="1191"/>
                  <a:pt x="1597" y="1200"/>
                  <a:pt x="1608" y="1204"/>
                </a:cubicBezTo>
                <a:cubicBezTo>
                  <a:pt x="1634" y="1211"/>
                  <a:pt x="1658" y="1221"/>
                  <a:pt x="1681" y="1234"/>
                </a:cubicBezTo>
                <a:cubicBezTo>
                  <a:pt x="1691" y="1240"/>
                  <a:pt x="1704" y="1239"/>
                  <a:pt x="1714" y="1232"/>
                </a:cubicBezTo>
                <a:cubicBezTo>
                  <a:pt x="1810" y="1169"/>
                  <a:pt x="1810" y="1169"/>
                  <a:pt x="1810" y="1169"/>
                </a:cubicBezTo>
                <a:cubicBezTo>
                  <a:pt x="1815" y="1165"/>
                  <a:pt x="1822" y="1166"/>
                  <a:pt x="1826" y="1170"/>
                </a:cubicBezTo>
                <a:cubicBezTo>
                  <a:pt x="1869" y="1214"/>
                  <a:pt x="1869" y="1214"/>
                  <a:pt x="1869" y="1214"/>
                </a:cubicBezTo>
                <a:cubicBezTo>
                  <a:pt x="1874" y="1218"/>
                  <a:pt x="1874" y="1225"/>
                  <a:pt x="1871" y="1230"/>
                </a:cubicBezTo>
                <a:cubicBezTo>
                  <a:pt x="1807" y="1325"/>
                  <a:pt x="1807" y="1325"/>
                  <a:pt x="1807" y="1325"/>
                </a:cubicBezTo>
                <a:cubicBezTo>
                  <a:pt x="1801" y="1335"/>
                  <a:pt x="1800" y="1348"/>
                  <a:pt x="1806" y="1359"/>
                </a:cubicBezTo>
                <a:cubicBezTo>
                  <a:pt x="1819" y="1382"/>
                  <a:pt x="1829" y="1406"/>
                  <a:pt x="1836" y="1431"/>
                </a:cubicBezTo>
                <a:cubicBezTo>
                  <a:pt x="1839" y="1443"/>
                  <a:pt x="1849" y="1452"/>
                  <a:pt x="1861" y="1454"/>
                </a:cubicBezTo>
                <a:cubicBezTo>
                  <a:pt x="1973" y="1477"/>
                  <a:pt x="1973" y="1477"/>
                  <a:pt x="1973" y="1477"/>
                </a:cubicBezTo>
                <a:cubicBezTo>
                  <a:pt x="1979" y="1478"/>
                  <a:pt x="1983" y="1483"/>
                  <a:pt x="1983" y="1489"/>
                </a:cubicBezTo>
                <a:cubicBezTo>
                  <a:pt x="1983" y="1550"/>
                  <a:pt x="1983" y="1550"/>
                  <a:pt x="1983" y="1550"/>
                </a:cubicBezTo>
                <a:cubicBezTo>
                  <a:pt x="1983" y="1557"/>
                  <a:pt x="1979" y="1562"/>
                  <a:pt x="1973" y="1563"/>
                </a:cubicBezTo>
                <a:cubicBezTo>
                  <a:pt x="1861" y="1585"/>
                  <a:pt x="1861" y="1585"/>
                  <a:pt x="1861" y="1585"/>
                </a:cubicBezTo>
                <a:cubicBezTo>
                  <a:pt x="1849" y="1588"/>
                  <a:pt x="1839" y="1597"/>
                  <a:pt x="1836" y="1608"/>
                </a:cubicBezTo>
                <a:cubicBezTo>
                  <a:pt x="1829" y="1634"/>
                  <a:pt x="1819" y="1658"/>
                  <a:pt x="1806" y="1681"/>
                </a:cubicBezTo>
                <a:cubicBezTo>
                  <a:pt x="1800" y="1691"/>
                  <a:pt x="1801" y="1704"/>
                  <a:pt x="1807" y="1714"/>
                </a:cubicBezTo>
                <a:cubicBezTo>
                  <a:pt x="1871" y="1810"/>
                  <a:pt x="1871" y="1810"/>
                  <a:pt x="1871" y="1810"/>
                </a:cubicBezTo>
                <a:cubicBezTo>
                  <a:pt x="1874" y="1815"/>
                  <a:pt x="1874" y="1822"/>
                  <a:pt x="1869" y="1826"/>
                </a:cubicBezTo>
                <a:cubicBezTo>
                  <a:pt x="1826" y="1869"/>
                  <a:pt x="1826" y="1869"/>
                  <a:pt x="1826" y="1869"/>
                </a:cubicBezTo>
                <a:cubicBezTo>
                  <a:pt x="1822" y="1874"/>
                  <a:pt x="1815" y="1874"/>
                  <a:pt x="1810" y="1871"/>
                </a:cubicBezTo>
                <a:cubicBezTo>
                  <a:pt x="1714" y="1807"/>
                  <a:pt x="1714" y="1807"/>
                  <a:pt x="1714" y="1807"/>
                </a:cubicBezTo>
                <a:cubicBezTo>
                  <a:pt x="1704" y="1801"/>
                  <a:pt x="1691" y="1800"/>
                  <a:pt x="1681" y="1806"/>
                </a:cubicBezTo>
                <a:cubicBezTo>
                  <a:pt x="1658" y="1819"/>
                  <a:pt x="1634" y="1829"/>
                  <a:pt x="1608" y="1836"/>
                </a:cubicBezTo>
                <a:cubicBezTo>
                  <a:pt x="1597" y="1839"/>
                  <a:pt x="1588" y="1849"/>
                  <a:pt x="1585" y="1861"/>
                </a:cubicBezTo>
                <a:cubicBezTo>
                  <a:pt x="1563" y="1973"/>
                  <a:pt x="1563" y="1973"/>
                  <a:pt x="1563" y="1973"/>
                </a:cubicBezTo>
                <a:cubicBezTo>
                  <a:pt x="1562" y="1979"/>
                  <a:pt x="1557" y="1983"/>
                  <a:pt x="1550" y="1983"/>
                </a:cubicBezTo>
                <a:cubicBezTo>
                  <a:pt x="1489" y="1983"/>
                  <a:pt x="1489" y="1983"/>
                  <a:pt x="1489" y="1983"/>
                </a:cubicBezTo>
                <a:cubicBezTo>
                  <a:pt x="1483" y="1983"/>
                  <a:pt x="1478" y="1979"/>
                  <a:pt x="1477" y="1973"/>
                </a:cubicBezTo>
                <a:cubicBezTo>
                  <a:pt x="1454" y="1861"/>
                  <a:pt x="1454" y="1861"/>
                  <a:pt x="1454" y="1861"/>
                </a:cubicBezTo>
                <a:cubicBezTo>
                  <a:pt x="1452" y="1849"/>
                  <a:pt x="1443" y="1839"/>
                  <a:pt x="1431" y="1836"/>
                </a:cubicBezTo>
                <a:cubicBezTo>
                  <a:pt x="1406" y="1829"/>
                  <a:pt x="1382" y="1819"/>
                  <a:pt x="1359" y="1806"/>
                </a:cubicBezTo>
                <a:cubicBezTo>
                  <a:pt x="1348" y="1800"/>
                  <a:pt x="1335" y="1801"/>
                  <a:pt x="1325" y="1807"/>
                </a:cubicBezTo>
                <a:cubicBezTo>
                  <a:pt x="1230" y="1871"/>
                  <a:pt x="1230" y="1871"/>
                  <a:pt x="1230" y="1871"/>
                </a:cubicBezTo>
                <a:cubicBezTo>
                  <a:pt x="1225" y="1874"/>
                  <a:pt x="1218" y="1874"/>
                  <a:pt x="1214" y="1869"/>
                </a:cubicBezTo>
                <a:cubicBezTo>
                  <a:pt x="1170" y="1826"/>
                  <a:pt x="1170" y="1826"/>
                  <a:pt x="1170" y="1826"/>
                </a:cubicBezTo>
                <a:cubicBezTo>
                  <a:pt x="1166" y="1822"/>
                  <a:pt x="1165" y="1815"/>
                  <a:pt x="1169" y="1810"/>
                </a:cubicBezTo>
                <a:cubicBezTo>
                  <a:pt x="1232" y="1714"/>
                  <a:pt x="1232" y="1714"/>
                  <a:pt x="1232" y="1714"/>
                </a:cubicBezTo>
                <a:cubicBezTo>
                  <a:pt x="1239" y="1704"/>
                  <a:pt x="1240" y="1691"/>
                  <a:pt x="1234" y="1681"/>
                </a:cubicBezTo>
                <a:cubicBezTo>
                  <a:pt x="1221" y="1658"/>
                  <a:pt x="1211" y="1634"/>
                  <a:pt x="1204" y="1608"/>
                </a:cubicBezTo>
                <a:cubicBezTo>
                  <a:pt x="1200" y="1597"/>
                  <a:pt x="1191" y="1588"/>
                  <a:pt x="1179" y="1585"/>
                </a:cubicBezTo>
                <a:cubicBezTo>
                  <a:pt x="1067" y="1563"/>
                  <a:pt x="1067" y="1563"/>
                  <a:pt x="1067" y="1563"/>
                </a:cubicBezTo>
                <a:cubicBezTo>
                  <a:pt x="1061" y="1562"/>
                  <a:pt x="1056" y="1557"/>
                  <a:pt x="1056" y="1550"/>
                </a:cubicBezTo>
                <a:cubicBezTo>
                  <a:pt x="1056" y="1489"/>
                  <a:pt x="1056" y="1489"/>
                  <a:pt x="1056" y="1489"/>
                </a:cubicBezTo>
                <a:cubicBezTo>
                  <a:pt x="1056" y="1483"/>
                  <a:pt x="1061" y="1478"/>
                  <a:pt x="1067" y="1477"/>
                </a:cubicBezTo>
                <a:cubicBezTo>
                  <a:pt x="1073" y="1475"/>
                  <a:pt x="1073" y="1475"/>
                  <a:pt x="1073" y="1475"/>
                </a:cubicBezTo>
                <a:cubicBezTo>
                  <a:pt x="1091" y="1472"/>
                  <a:pt x="1102" y="1455"/>
                  <a:pt x="1099" y="1437"/>
                </a:cubicBezTo>
                <a:cubicBezTo>
                  <a:pt x="1095" y="1420"/>
                  <a:pt x="1078" y="1408"/>
                  <a:pt x="1061" y="1412"/>
                </a:cubicBezTo>
                <a:cubicBezTo>
                  <a:pt x="1054" y="1413"/>
                  <a:pt x="1054" y="1413"/>
                  <a:pt x="1054" y="1413"/>
                </a:cubicBezTo>
                <a:cubicBezTo>
                  <a:pt x="1018" y="1420"/>
                  <a:pt x="992" y="1452"/>
                  <a:pt x="992" y="1489"/>
                </a:cubicBezTo>
                <a:cubicBezTo>
                  <a:pt x="992" y="1550"/>
                  <a:pt x="992" y="1550"/>
                  <a:pt x="992" y="1550"/>
                </a:cubicBezTo>
                <a:cubicBezTo>
                  <a:pt x="992" y="1587"/>
                  <a:pt x="1018" y="1619"/>
                  <a:pt x="1054" y="1626"/>
                </a:cubicBezTo>
                <a:cubicBezTo>
                  <a:pt x="1147" y="1645"/>
                  <a:pt x="1147" y="1645"/>
                  <a:pt x="1147" y="1645"/>
                </a:cubicBezTo>
                <a:cubicBezTo>
                  <a:pt x="1153" y="1662"/>
                  <a:pt x="1160" y="1679"/>
                  <a:pt x="1168" y="1695"/>
                </a:cubicBezTo>
                <a:cubicBezTo>
                  <a:pt x="1115" y="1774"/>
                  <a:pt x="1115" y="1774"/>
                  <a:pt x="1115" y="1774"/>
                </a:cubicBezTo>
                <a:cubicBezTo>
                  <a:pt x="1095" y="1805"/>
                  <a:pt x="1099" y="1846"/>
                  <a:pt x="1125" y="1872"/>
                </a:cubicBezTo>
                <a:cubicBezTo>
                  <a:pt x="1168" y="1915"/>
                  <a:pt x="1168" y="1915"/>
                  <a:pt x="1168" y="1915"/>
                </a:cubicBezTo>
                <a:cubicBezTo>
                  <a:pt x="1194" y="1941"/>
                  <a:pt x="1235" y="1945"/>
                  <a:pt x="1266" y="1925"/>
                </a:cubicBezTo>
                <a:cubicBezTo>
                  <a:pt x="1345" y="1872"/>
                  <a:pt x="1345" y="1872"/>
                  <a:pt x="1345" y="1872"/>
                </a:cubicBezTo>
                <a:cubicBezTo>
                  <a:pt x="1361" y="1880"/>
                  <a:pt x="1378" y="1887"/>
                  <a:pt x="1395" y="1892"/>
                </a:cubicBezTo>
                <a:cubicBezTo>
                  <a:pt x="1413" y="1986"/>
                  <a:pt x="1413" y="1986"/>
                  <a:pt x="1413" y="1986"/>
                </a:cubicBezTo>
                <a:cubicBezTo>
                  <a:pt x="1420" y="2022"/>
                  <a:pt x="1452" y="2048"/>
                  <a:pt x="1489" y="2048"/>
                </a:cubicBezTo>
                <a:cubicBezTo>
                  <a:pt x="1550" y="2048"/>
                  <a:pt x="1550" y="2048"/>
                  <a:pt x="1550" y="2048"/>
                </a:cubicBezTo>
                <a:cubicBezTo>
                  <a:pt x="1587" y="2048"/>
                  <a:pt x="1619" y="2022"/>
                  <a:pt x="1626" y="1986"/>
                </a:cubicBezTo>
                <a:cubicBezTo>
                  <a:pt x="1645" y="1892"/>
                  <a:pt x="1645" y="1892"/>
                  <a:pt x="1645" y="1892"/>
                </a:cubicBezTo>
                <a:cubicBezTo>
                  <a:pt x="1662" y="1887"/>
                  <a:pt x="1679" y="1880"/>
                  <a:pt x="1695" y="1872"/>
                </a:cubicBezTo>
                <a:cubicBezTo>
                  <a:pt x="1774" y="1925"/>
                  <a:pt x="1774" y="1925"/>
                  <a:pt x="1774" y="1925"/>
                </a:cubicBezTo>
                <a:cubicBezTo>
                  <a:pt x="1805" y="1945"/>
                  <a:pt x="1846" y="1941"/>
                  <a:pt x="1872" y="1915"/>
                </a:cubicBezTo>
                <a:cubicBezTo>
                  <a:pt x="1915" y="1872"/>
                  <a:pt x="1915" y="1872"/>
                  <a:pt x="1915" y="1872"/>
                </a:cubicBezTo>
                <a:cubicBezTo>
                  <a:pt x="1941" y="1846"/>
                  <a:pt x="1945" y="1805"/>
                  <a:pt x="1925" y="1774"/>
                </a:cubicBezTo>
                <a:cubicBezTo>
                  <a:pt x="1872" y="1695"/>
                  <a:pt x="1872" y="1695"/>
                  <a:pt x="1872" y="1695"/>
                </a:cubicBezTo>
                <a:cubicBezTo>
                  <a:pt x="1880" y="1679"/>
                  <a:pt x="1887" y="1662"/>
                  <a:pt x="1892" y="1645"/>
                </a:cubicBezTo>
                <a:cubicBezTo>
                  <a:pt x="1986" y="1626"/>
                  <a:pt x="1986" y="1626"/>
                  <a:pt x="1986" y="1626"/>
                </a:cubicBezTo>
                <a:cubicBezTo>
                  <a:pt x="2022" y="1619"/>
                  <a:pt x="2048" y="1587"/>
                  <a:pt x="2048" y="1550"/>
                </a:cubicBezTo>
                <a:cubicBezTo>
                  <a:pt x="2048" y="1489"/>
                  <a:pt x="2048" y="1489"/>
                  <a:pt x="2048" y="1489"/>
                </a:cubicBezTo>
                <a:cubicBezTo>
                  <a:pt x="2048" y="1452"/>
                  <a:pt x="2022" y="1420"/>
                  <a:pt x="1986" y="14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dirty="0">
              <a:ln>
                <a:noFill/>
              </a:ln>
              <a:solidFill>
                <a:srgbClr val="000000"/>
              </a:solidFill>
              <a:effectLst/>
              <a:uLnTx/>
              <a:uFillTx/>
              <a:latin typeface="IBM Plex Sans"/>
              <a:ea typeface="+mn-ea"/>
              <a:cs typeface="+mn-cs"/>
            </a:endParaRPr>
          </a:p>
        </p:txBody>
      </p:sp>
      <p:grpSp>
        <p:nvGrpSpPr>
          <p:cNvPr id="24" name="Group 4">
            <a:extLst>
              <a:ext uri="{FF2B5EF4-FFF2-40B4-BE49-F238E27FC236}">
                <a16:creationId xmlns:a16="http://schemas.microsoft.com/office/drawing/2014/main" id="{A2153EA5-02B0-0F49-9290-633847352B5C}"/>
              </a:ext>
            </a:extLst>
          </p:cNvPr>
          <p:cNvGrpSpPr>
            <a:grpSpLocks noChangeAspect="1"/>
          </p:cNvGrpSpPr>
          <p:nvPr/>
        </p:nvGrpSpPr>
        <p:grpSpPr bwMode="auto">
          <a:xfrm>
            <a:off x="236311" y="1024553"/>
            <a:ext cx="425956" cy="412794"/>
            <a:chOff x="1915" y="301"/>
            <a:chExt cx="1780" cy="1725"/>
          </a:xfrm>
          <a:solidFill>
            <a:schemeClr val="accent2"/>
          </a:solidFill>
        </p:grpSpPr>
        <p:sp>
          <p:nvSpPr>
            <p:cNvPr id="25" name="Freeform 5">
              <a:extLst>
                <a:ext uri="{FF2B5EF4-FFF2-40B4-BE49-F238E27FC236}">
                  <a16:creationId xmlns:a16="http://schemas.microsoft.com/office/drawing/2014/main" id="{66D2BA09-5786-8F48-B6EF-11586314BB6B}"/>
                </a:ext>
              </a:extLst>
            </p:cNvPr>
            <p:cNvSpPr>
              <a:spLocks noEditPoints="1"/>
            </p:cNvSpPr>
            <p:nvPr/>
          </p:nvSpPr>
          <p:spPr bwMode="auto">
            <a:xfrm>
              <a:off x="1915" y="301"/>
              <a:ext cx="1667" cy="1725"/>
            </a:xfrm>
            <a:custGeom>
              <a:avLst/>
              <a:gdLst>
                <a:gd name="T0" fmla="*/ 498 w 1892"/>
                <a:gd name="T1" fmla="*/ 1006 h 1950"/>
                <a:gd name="T2" fmla="*/ 1494 w 1892"/>
                <a:gd name="T3" fmla="*/ 1006 h 1950"/>
                <a:gd name="T4" fmla="*/ 1892 w 1892"/>
                <a:gd name="T5" fmla="*/ 622 h 1950"/>
                <a:gd name="T6" fmla="*/ 1494 w 1892"/>
                <a:gd name="T7" fmla="*/ 238 h 1950"/>
                <a:gd name="T8" fmla="*/ 522 w 1892"/>
                <a:gd name="T9" fmla="*/ 238 h 1950"/>
                <a:gd name="T10" fmla="*/ 216 w 1892"/>
                <a:gd name="T11" fmla="*/ 31 h 1950"/>
                <a:gd name="T12" fmla="*/ 16 w 1892"/>
                <a:gd name="T13" fmla="*/ 312 h 1950"/>
                <a:gd name="T14" fmla="*/ 313 w 1892"/>
                <a:gd name="T15" fmla="*/ 534 h 1950"/>
                <a:gd name="T16" fmla="*/ 523 w 1892"/>
                <a:gd name="T17" fmla="*/ 324 h 1950"/>
                <a:gd name="T18" fmla="*/ 1494 w 1892"/>
                <a:gd name="T19" fmla="*/ 324 h 1950"/>
                <a:gd name="T20" fmla="*/ 1807 w 1892"/>
                <a:gd name="T21" fmla="*/ 622 h 1950"/>
                <a:gd name="T22" fmla="*/ 1494 w 1892"/>
                <a:gd name="T23" fmla="*/ 921 h 1950"/>
                <a:gd name="T24" fmla="*/ 498 w 1892"/>
                <a:gd name="T25" fmla="*/ 921 h 1950"/>
                <a:gd name="T26" fmla="*/ 100 w 1892"/>
                <a:gd name="T27" fmla="*/ 1305 h 1950"/>
                <a:gd name="T28" fmla="*/ 498 w 1892"/>
                <a:gd name="T29" fmla="*/ 1689 h 1950"/>
                <a:gd name="T30" fmla="*/ 1191 w 1892"/>
                <a:gd name="T31" fmla="*/ 1689 h 1950"/>
                <a:gd name="T32" fmla="*/ 1008 w 1892"/>
                <a:gd name="T33" fmla="*/ 1872 h 1950"/>
                <a:gd name="T34" fmla="*/ 1008 w 1892"/>
                <a:gd name="T35" fmla="*/ 1932 h 1950"/>
                <a:gd name="T36" fmla="*/ 1068 w 1892"/>
                <a:gd name="T37" fmla="*/ 1933 h 1950"/>
                <a:gd name="T38" fmla="*/ 1069 w 1892"/>
                <a:gd name="T39" fmla="*/ 1932 h 1950"/>
                <a:gd name="T40" fmla="*/ 1324 w 1892"/>
                <a:gd name="T41" fmla="*/ 1677 h 1950"/>
                <a:gd name="T42" fmla="*/ 1324 w 1892"/>
                <a:gd name="T43" fmla="*/ 1616 h 1950"/>
                <a:gd name="T44" fmla="*/ 1324 w 1892"/>
                <a:gd name="T45" fmla="*/ 1616 h 1950"/>
                <a:gd name="T46" fmla="*/ 1069 w 1892"/>
                <a:gd name="T47" fmla="*/ 1360 h 1950"/>
                <a:gd name="T48" fmla="*/ 1008 w 1892"/>
                <a:gd name="T49" fmla="*/ 1361 h 1950"/>
                <a:gd name="T50" fmla="*/ 1008 w 1892"/>
                <a:gd name="T51" fmla="*/ 1421 h 1950"/>
                <a:gd name="T52" fmla="*/ 1192 w 1892"/>
                <a:gd name="T53" fmla="*/ 1604 h 1950"/>
                <a:gd name="T54" fmla="*/ 498 w 1892"/>
                <a:gd name="T55" fmla="*/ 1604 h 1950"/>
                <a:gd name="T56" fmla="*/ 185 w 1892"/>
                <a:gd name="T57" fmla="*/ 1305 h 1950"/>
                <a:gd name="T58" fmla="*/ 498 w 1892"/>
                <a:gd name="T59" fmla="*/ 1006 h 1950"/>
                <a:gd name="T60" fmla="*/ 270 w 1892"/>
                <a:gd name="T61" fmla="*/ 451 h 1950"/>
                <a:gd name="T62" fmla="*/ 100 w 1892"/>
                <a:gd name="T63" fmla="*/ 281 h 1950"/>
                <a:gd name="T64" fmla="*/ 270 w 1892"/>
                <a:gd name="T65" fmla="*/ 110 h 1950"/>
                <a:gd name="T66" fmla="*/ 441 w 1892"/>
                <a:gd name="T67" fmla="*/ 281 h 1950"/>
                <a:gd name="T68" fmla="*/ 270 w 1892"/>
                <a:gd name="T69" fmla="*/ 451 h 1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2" h="1950">
                  <a:moveTo>
                    <a:pt x="498" y="1006"/>
                  </a:moveTo>
                  <a:cubicBezTo>
                    <a:pt x="1494" y="1006"/>
                    <a:pt x="1494" y="1006"/>
                    <a:pt x="1494" y="1006"/>
                  </a:cubicBezTo>
                  <a:cubicBezTo>
                    <a:pt x="1713" y="1006"/>
                    <a:pt x="1892" y="834"/>
                    <a:pt x="1892" y="622"/>
                  </a:cubicBezTo>
                  <a:cubicBezTo>
                    <a:pt x="1892" y="411"/>
                    <a:pt x="1713" y="238"/>
                    <a:pt x="1494" y="238"/>
                  </a:cubicBezTo>
                  <a:cubicBezTo>
                    <a:pt x="522" y="238"/>
                    <a:pt x="522" y="238"/>
                    <a:pt x="522" y="238"/>
                  </a:cubicBezTo>
                  <a:cubicBezTo>
                    <a:pt x="498" y="95"/>
                    <a:pt x="359" y="0"/>
                    <a:pt x="216" y="31"/>
                  </a:cubicBezTo>
                  <a:cubicBezTo>
                    <a:pt x="87" y="59"/>
                    <a:pt x="0" y="182"/>
                    <a:pt x="16" y="312"/>
                  </a:cubicBezTo>
                  <a:cubicBezTo>
                    <a:pt x="34" y="458"/>
                    <a:pt x="170" y="557"/>
                    <a:pt x="313" y="534"/>
                  </a:cubicBezTo>
                  <a:cubicBezTo>
                    <a:pt x="421" y="515"/>
                    <a:pt x="505" y="431"/>
                    <a:pt x="523" y="324"/>
                  </a:cubicBezTo>
                  <a:cubicBezTo>
                    <a:pt x="1494" y="324"/>
                    <a:pt x="1494" y="324"/>
                    <a:pt x="1494" y="324"/>
                  </a:cubicBezTo>
                  <a:cubicBezTo>
                    <a:pt x="1666" y="324"/>
                    <a:pt x="1807" y="458"/>
                    <a:pt x="1807" y="622"/>
                  </a:cubicBezTo>
                  <a:cubicBezTo>
                    <a:pt x="1807" y="787"/>
                    <a:pt x="1666" y="921"/>
                    <a:pt x="1494" y="921"/>
                  </a:cubicBezTo>
                  <a:cubicBezTo>
                    <a:pt x="498" y="921"/>
                    <a:pt x="498" y="921"/>
                    <a:pt x="498" y="921"/>
                  </a:cubicBezTo>
                  <a:cubicBezTo>
                    <a:pt x="278" y="921"/>
                    <a:pt x="100" y="1093"/>
                    <a:pt x="100" y="1305"/>
                  </a:cubicBezTo>
                  <a:cubicBezTo>
                    <a:pt x="100" y="1517"/>
                    <a:pt x="278" y="1689"/>
                    <a:pt x="498" y="1689"/>
                  </a:cubicBezTo>
                  <a:cubicBezTo>
                    <a:pt x="1191" y="1689"/>
                    <a:pt x="1191" y="1689"/>
                    <a:pt x="1191" y="1689"/>
                  </a:cubicBezTo>
                  <a:cubicBezTo>
                    <a:pt x="1008" y="1872"/>
                    <a:pt x="1008" y="1872"/>
                    <a:pt x="1008" y="1872"/>
                  </a:cubicBezTo>
                  <a:cubicBezTo>
                    <a:pt x="991" y="1888"/>
                    <a:pt x="991" y="1916"/>
                    <a:pt x="1008" y="1932"/>
                  </a:cubicBezTo>
                  <a:cubicBezTo>
                    <a:pt x="1024" y="1949"/>
                    <a:pt x="1051" y="1950"/>
                    <a:pt x="1068" y="1933"/>
                  </a:cubicBezTo>
                  <a:cubicBezTo>
                    <a:pt x="1068" y="1933"/>
                    <a:pt x="1069" y="1932"/>
                    <a:pt x="1069" y="1932"/>
                  </a:cubicBezTo>
                  <a:cubicBezTo>
                    <a:pt x="1324" y="1677"/>
                    <a:pt x="1324" y="1677"/>
                    <a:pt x="1324" y="1677"/>
                  </a:cubicBezTo>
                  <a:cubicBezTo>
                    <a:pt x="1341" y="1660"/>
                    <a:pt x="1341" y="1633"/>
                    <a:pt x="1324" y="1616"/>
                  </a:cubicBezTo>
                  <a:cubicBezTo>
                    <a:pt x="1324" y="1616"/>
                    <a:pt x="1324" y="1616"/>
                    <a:pt x="1324" y="1616"/>
                  </a:cubicBezTo>
                  <a:cubicBezTo>
                    <a:pt x="1069" y="1360"/>
                    <a:pt x="1069" y="1360"/>
                    <a:pt x="1069" y="1360"/>
                  </a:cubicBezTo>
                  <a:cubicBezTo>
                    <a:pt x="1052" y="1344"/>
                    <a:pt x="1025" y="1345"/>
                    <a:pt x="1008" y="1361"/>
                  </a:cubicBezTo>
                  <a:cubicBezTo>
                    <a:pt x="993" y="1378"/>
                    <a:pt x="993" y="1404"/>
                    <a:pt x="1008" y="1421"/>
                  </a:cubicBezTo>
                  <a:cubicBezTo>
                    <a:pt x="1192" y="1604"/>
                    <a:pt x="1192" y="1604"/>
                    <a:pt x="1192" y="1604"/>
                  </a:cubicBezTo>
                  <a:cubicBezTo>
                    <a:pt x="498" y="1604"/>
                    <a:pt x="498" y="1604"/>
                    <a:pt x="498" y="1604"/>
                  </a:cubicBezTo>
                  <a:cubicBezTo>
                    <a:pt x="325" y="1604"/>
                    <a:pt x="185" y="1470"/>
                    <a:pt x="185" y="1305"/>
                  </a:cubicBezTo>
                  <a:cubicBezTo>
                    <a:pt x="185" y="1140"/>
                    <a:pt x="325" y="1006"/>
                    <a:pt x="498" y="1006"/>
                  </a:cubicBezTo>
                  <a:close/>
                  <a:moveTo>
                    <a:pt x="270" y="451"/>
                  </a:moveTo>
                  <a:cubicBezTo>
                    <a:pt x="176" y="451"/>
                    <a:pt x="100" y="375"/>
                    <a:pt x="100" y="281"/>
                  </a:cubicBezTo>
                  <a:cubicBezTo>
                    <a:pt x="100" y="186"/>
                    <a:pt x="176" y="110"/>
                    <a:pt x="270" y="110"/>
                  </a:cubicBezTo>
                  <a:cubicBezTo>
                    <a:pt x="365" y="110"/>
                    <a:pt x="441" y="186"/>
                    <a:pt x="441" y="281"/>
                  </a:cubicBezTo>
                  <a:cubicBezTo>
                    <a:pt x="441" y="375"/>
                    <a:pt x="365" y="451"/>
                    <a:pt x="270" y="4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6" name="Freeform 6">
              <a:extLst>
                <a:ext uri="{FF2B5EF4-FFF2-40B4-BE49-F238E27FC236}">
                  <a16:creationId xmlns:a16="http://schemas.microsoft.com/office/drawing/2014/main" id="{49119668-A2C1-4B4F-9B39-860A92DEECD7}"/>
                </a:ext>
              </a:extLst>
            </p:cNvPr>
            <p:cNvSpPr>
              <a:spLocks noEditPoints="1"/>
            </p:cNvSpPr>
            <p:nvPr/>
          </p:nvSpPr>
          <p:spPr bwMode="auto">
            <a:xfrm>
              <a:off x="3244" y="1530"/>
              <a:ext cx="451" cy="45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27 h 512"/>
                <a:gd name="T12" fmla="*/ 85 w 512"/>
                <a:gd name="T13" fmla="*/ 256 h 512"/>
                <a:gd name="T14" fmla="*/ 256 w 512"/>
                <a:gd name="T15" fmla="*/ 85 h 512"/>
                <a:gd name="T16" fmla="*/ 426 w 512"/>
                <a:gd name="T17" fmla="*/ 256 h 512"/>
                <a:gd name="T18" fmla="*/ 256 w 512"/>
                <a:gd name="T19" fmla="*/ 42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256" y="427"/>
                  </a:moveTo>
                  <a:cubicBezTo>
                    <a:pt x="161" y="427"/>
                    <a:pt x="85" y="350"/>
                    <a:pt x="85" y="256"/>
                  </a:cubicBezTo>
                  <a:cubicBezTo>
                    <a:pt x="85" y="162"/>
                    <a:pt x="161" y="85"/>
                    <a:pt x="256" y="85"/>
                  </a:cubicBezTo>
                  <a:cubicBezTo>
                    <a:pt x="350" y="85"/>
                    <a:pt x="426" y="162"/>
                    <a:pt x="426" y="256"/>
                  </a:cubicBezTo>
                  <a:cubicBezTo>
                    <a:pt x="426" y="350"/>
                    <a:pt x="350" y="427"/>
                    <a:pt x="256" y="4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0000"/>
                </a:solidFill>
                <a:effectLst/>
                <a:uLnTx/>
                <a:uFillTx/>
                <a:latin typeface="IBM Plex Sans"/>
                <a:ea typeface="+mn-ea"/>
                <a:cs typeface="+mn-cs"/>
              </a:endParaRPr>
            </a:p>
          </p:txBody>
        </p:sp>
      </p:grpSp>
      <p:grpSp>
        <p:nvGrpSpPr>
          <p:cNvPr id="28" name="Group 27">
            <a:extLst>
              <a:ext uri="{FF2B5EF4-FFF2-40B4-BE49-F238E27FC236}">
                <a16:creationId xmlns:a16="http://schemas.microsoft.com/office/drawing/2014/main" id="{E618D4FB-FAE0-5746-A0CB-7D064AB7B83D}"/>
              </a:ext>
            </a:extLst>
          </p:cNvPr>
          <p:cNvGrpSpPr/>
          <p:nvPr/>
        </p:nvGrpSpPr>
        <p:grpSpPr>
          <a:xfrm>
            <a:off x="5545932" y="1024555"/>
            <a:ext cx="2882402" cy="2191657"/>
            <a:chOff x="4773439" y="1651896"/>
            <a:chExt cx="1610615" cy="1325474"/>
          </a:xfrm>
        </p:grpSpPr>
        <p:pic>
          <p:nvPicPr>
            <p:cNvPr id="29" name="Picture 28">
              <a:extLst>
                <a:ext uri="{FF2B5EF4-FFF2-40B4-BE49-F238E27FC236}">
                  <a16:creationId xmlns:a16="http://schemas.microsoft.com/office/drawing/2014/main" id="{E4C85280-7CA4-6A4A-BC06-5F4C9A02BEB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73439" y="1651896"/>
              <a:ext cx="1610615" cy="1325474"/>
            </a:xfrm>
            <a:prstGeom prst="rect">
              <a:avLst/>
            </a:prstGeom>
          </p:spPr>
        </p:pic>
        <p:sp>
          <p:nvSpPr>
            <p:cNvPr id="30" name="TextBox 29">
              <a:extLst>
                <a:ext uri="{FF2B5EF4-FFF2-40B4-BE49-F238E27FC236}">
                  <a16:creationId xmlns:a16="http://schemas.microsoft.com/office/drawing/2014/main" id="{89FD7B96-FF1E-3C4A-BA4A-F593B2FA3550}"/>
                </a:ext>
              </a:extLst>
            </p:cNvPr>
            <p:cNvSpPr txBox="1"/>
            <p:nvPr/>
          </p:nvSpPr>
          <p:spPr>
            <a:xfrm>
              <a:off x="4773439" y="1662239"/>
              <a:ext cx="1551580" cy="167524"/>
            </a:xfrm>
            <a:prstGeom prst="rect">
              <a:avLst/>
            </a:prstGeom>
            <a:solidFill>
              <a:srgbClr val="44216A"/>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IBM Plex Sans Condensed" charset="0"/>
                  <a:ea typeface="IBM Plex Sans Condensed" charset="0"/>
                  <a:cs typeface="IBM Plex Sans Condensed" charset="0"/>
                </a:rPr>
                <a:t>IBM Assist Studio    </a:t>
              </a:r>
            </a:p>
          </p:txBody>
        </p:sp>
      </p:grpSp>
      <p:pic>
        <p:nvPicPr>
          <p:cNvPr id="31" name="Picture 30">
            <a:extLst>
              <a:ext uri="{FF2B5EF4-FFF2-40B4-BE49-F238E27FC236}">
                <a16:creationId xmlns:a16="http://schemas.microsoft.com/office/drawing/2014/main" id="{637C0353-A00D-BE45-94D7-52AB9FCFA2E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854801" y="1768456"/>
            <a:ext cx="1734859" cy="2761808"/>
          </a:xfrm>
          <a:prstGeom prst="rect">
            <a:avLst/>
          </a:prstGeom>
        </p:spPr>
      </p:pic>
      <p:pic>
        <p:nvPicPr>
          <p:cNvPr id="34" name="Picture 33">
            <a:extLst>
              <a:ext uri="{FF2B5EF4-FFF2-40B4-BE49-F238E27FC236}">
                <a16:creationId xmlns:a16="http://schemas.microsoft.com/office/drawing/2014/main" id="{CA6A5D45-FDF7-2D46-A88E-E92A70F233F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69750" y="986631"/>
            <a:ext cx="3518598" cy="2518118"/>
          </a:xfrm>
          <a:prstGeom prst="rect">
            <a:avLst/>
          </a:prstGeom>
          <a:ln w="12700">
            <a:solidFill>
              <a:schemeClr val="accent1"/>
            </a:solidFill>
          </a:ln>
        </p:spPr>
      </p:pic>
      <p:pic>
        <p:nvPicPr>
          <p:cNvPr id="35" name="Picture 34">
            <a:extLst>
              <a:ext uri="{FF2B5EF4-FFF2-40B4-BE49-F238E27FC236}">
                <a16:creationId xmlns:a16="http://schemas.microsoft.com/office/drawing/2014/main" id="{025B4D43-C83C-994D-88D2-B376B353814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533961" y="1832140"/>
            <a:ext cx="2488113" cy="2882952"/>
          </a:xfrm>
          <a:prstGeom prst="rect">
            <a:avLst/>
          </a:prstGeom>
          <a:ln w="12700">
            <a:solidFill>
              <a:schemeClr val="accent1"/>
            </a:solidFill>
          </a:ln>
        </p:spPr>
      </p:pic>
      <p:sp>
        <p:nvSpPr>
          <p:cNvPr id="36" name="Slide Number Placeholder 2">
            <a:extLst>
              <a:ext uri="{FF2B5EF4-FFF2-40B4-BE49-F238E27FC236}">
                <a16:creationId xmlns:a16="http://schemas.microsoft.com/office/drawing/2014/main" id="{373C0AAD-3663-EC44-BFBA-472636C602CA}"/>
              </a:ext>
            </a:extLst>
          </p:cNvPr>
          <p:cNvSpPr txBox="1">
            <a:spLocks/>
          </p:cNvSpPr>
          <p:nvPr/>
        </p:nvSpPr>
        <p:spPr>
          <a:xfrm>
            <a:off x="7010400" y="4978880"/>
            <a:ext cx="2057400" cy="137160"/>
          </a:xfrm>
          <a:prstGeom prst="rect">
            <a:avLst/>
          </a:prstGeom>
        </p:spPr>
        <p:txBody>
          <a:bodyPr vert="horz" lIns="0" tIns="0" rIns="0" bIns="0" rtlCol="0" anchor="ctr"/>
          <a:lstStyle>
            <a:defPPr>
              <a:defRPr lang="en-US"/>
            </a:defPPr>
            <a:lvl1pPr marL="0" algn="r" defTabSz="457200" rtl="0" eaLnBrk="1" latinLnBrk="0" hangingPunct="1">
              <a:defRPr sz="600" kern="1200" baseline="0">
                <a:solidFill>
                  <a:schemeClr val="tx1"/>
                </a:solidFill>
                <a:latin typeface="+mn-lt"/>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3FD999D4-B456-9943-89B7-30D56181CE18}" type="slidenum">
              <a:rPr kumimoji="0" lang="en-US" sz="600" b="0" i="0" u="none" strike="noStrike" kern="1200" cap="none" spc="0" normalizeH="0" baseline="0" noProof="0">
                <a:ln>
                  <a:noFill/>
                </a:ln>
                <a:solidFill>
                  <a:srgbClr val="000000"/>
                </a:solidFill>
                <a:effectLst/>
                <a:uLnTx/>
                <a:uFillTx/>
                <a:latin typeface="IBM Plex Sans"/>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600" b="0" i="0" u="none" strike="noStrike" kern="1200" cap="none" spc="0" normalizeH="0" baseline="0" noProof="0" dirty="0">
              <a:ln>
                <a:noFill/>
              </a:ln>
              <a:solidFill>
                <a:srgbClr val="000000"/>
              </a:solidFill>
              <a:effectLst/>
              <a:uLnTx/>
              <a:uFillTx/>
              <a:latin typeface="IBM Plex Sans"/>
              <a:cs typeface="Arial" charset="0"/>
            </a:endParaRPr>
          </a:p>
        </p:txBody>
      </p:sp>
    </p:spTree>
    <p:extLst>
      <p:ext uri="{BB962C8B-B14F-4D97-AF65-F5344CB8AC3E}">
        <p14:creationId xmlns:p14="http://schemas.microsoft.com/office/powerpoint/2010/main" val="34236249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p:nvPr/>
        </p:nvSpPr>
        <p:spPr>
          <a:xfrm>
            <a:off x="4572000" y="3324604"/>
            <a:ext cx="4572000" cy="1818896"/>
          </a:xfrm>
          <a:prstGeom prst="rect">
            <a:avLst/>
          </a:prstGeom>
          <a:solidFill>
            <a:schemeClr val="tx2">
              <a:lumMod val="50000"/>
            </a:schemeClr>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p:txBody>
      </p:sp>
      <p:sp>
        <p:nvSpPr>
          <p:cNvPr id="21" name="Rectangle 20"/>
          <p:cNvSpPr/>
          <p:nvPr/>
        </p:nvSpPr>
        <p:spPr>
          <a:xfrm>
            <a:off x="0" y="1921145"/>
            <a:ext cx="4572000" cy="3222356"/>
          </a:xfrm>
          <a:prstGeom prst="rect">
            <a:avLst/>
          </a:prstGeom>
          <a:solidFill>
            <a:schemeClr val="accent2"/>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p:txBody>
      </p:sp>
      <p:sp>
        <p:nvSpPr>
          <p:cNvPr id="3" name="Rectangle 2"/>
          <p:cNvSpPr/>
          <p:nvPr/>
        </p:nvSpPr>
        <p:spPr>
          <a:xfrm>
            <a:off x="-5093" y="-1"/>
            <a:ext cx="4572000" cy="2002567"/>
          </a:xfrm>
          <a:prstGeom prst="rect">
            <a:avLst/>
          </a:prstGeom>
          <a:solidFill>
            <a:schemeClr val="tx1"/>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Arial"/>
            </a:endParaRPr>
          </a:p>
        </p:txBody>
      </p:sp>
      <p:sp>
        <p:nvSpPr>
          <p:cNvPr id="23" name="TextBox 22"/>
          <p:cNvSpPr txBox="1"/>
          <p:nvPr/>
        </p:nvSpPr>
        <p:spPr>
          <a:xfrm>
            <a:off x="228599" y="175528"/>
            <a:ext cx="3929743" cy="923330"/>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20" normalizeH="0" baseline="0" noProof="0" dirty="0">
                <a:ln>
                  <a:noFill/>
                </a:ln>
                <a:solidFill>
                  <a:srgbClr val="FFFFFF"/>
                </a:solidFill>
                <a:effectLst/>
                <a:uLnTx/>
                <a:uFillTx/>
                <a:latin typeface="IBM Plex Sans"/>
                <a:ea typeface="+mn-ea"/>
                <a:cs typeface="+mn-cs"/>
              </a:rPr>
              <a:t>Maximo Safety</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20" normalizeH="0" baseline="0" noProof="0" dirty="0">
                <a:ln>
                  <a:noFill/>
                </a:ln>
                <a:solidFill>
                  <a:srgbClr val="FFFFFF"/>
                </a:solidFill>
                <a:effectLst/>
                <a:uLnTx/>
                <a:uFillTx/>
                <a:latin typeface="IBM Plex Sans"/>
                <a:ea typeface="+mn-ea"/>
                <a:cs typeface="+mn-cs"/>
              </a:rPr>
              <a:t>- </a:t>
            </a:r>
            <a:r>
              <a:rPr kumimoji="0" lang="en-US" sz="1600" b="0" i="0" u="none" strike="noStrike" kern="1200" cap="none" spc="-20" normalizeH="0" baseline="0" noProof="0" dirty="0">
                <a:ln>
                  <a:noFill/>
                </a:ln>
                <a:solidFill>
                  <a:srgbClr val="FFFFFF"/>
                </a:solidFill>
                <a:effectLst/>
                <a:uLnTx/>
                <a:uFillTx/>
                <a:latin typeface="IBM Plex Sans"/>
                <a:ea typeface="+mn-ea"/>
                <a:cs typeface="+mn-cs"/>
              </a:rPr>
              <a:t>with integration to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20" normalizeH="0" baseline="0" noProof="0" dirty="0">
                <a:ln>
                  <a:noFill/>
                </a:ln>
                <a:solidFill>
                  <a:srgbClr val="FFFFFF"/>
                </a:solidFill>
                <a:effectLst/>
                <a:uLnTx/>
                <a:uFillTx/>
                <a:latin typeface="IBM Plex Sans"/>
                <a:ea typeface="+mn-ea"/>
                <a:cs typeface="+mn-cs"/>
              </a:rPr>
              <a:t>Maximo Oil &amp; Gas/HSE</a:t>
            </a:r>
            <a:endParaRPr kumimoji="0" lang="en-US" sz="1050" b="0" i="0" u="none" strike="noStrike" kern="1200" cap="none" spc="0" normalizeH="0" baseline="0" noProof="0" dirty="0">
              <a:ln>
                <a:noFill/>
              </a:ln>
              <a:solidFill>
                <a:srgbClr val="FFFFFF"/>
              </a:solidFill>
              <a:effectLst/>
              <a:uLnTx/>
              <a:uFillTx/>
              <a:latin typeface="IBM Plex Sans" panose="020B0503050203000203" pitchFamily="34" charset="-52"/>
              <a:ea typeface="IBM Plex Sans Light" charset="0"/>
              <a:cs typeface="IBM Plex Sans Light" charset="0"/>
            </a:endParaRPr>
          </a:p>
        </p:txBody>
      </p:sp>
      <p:sp>
        <p:nvSpPr>
          <p:cNvPr id="15" name="Footer Placeholder 2">
            <a:extLst>
              <a:ext uri="{FF2B5EF4-FFF2-40B4-BE49-F238E27FC236}">
                <a16:creationId xmlns:a16="http://schemas.microsoft.com/office/drawing/2014/main" id="{B7335BFE-BBAD-3848-8841-FB0BE6BA6690}"/>
              </a:ext>
            </a:extLst>
          </p:cNvPr>
          <p:cNvSpPr txBox="1">
            <a:spLocks/>
          </p:cNvSpPr>
          <p:nvPr/>
        </p:nvSpPr>
        <p:spPr>
          <a:xfrm>
            <a:off x="228600" y="4828032"/>
            <a:ext cx="6400800" cy="137160"/>
          </a:xfrm>
          <a:prstGeom prst="rect">
            <a:avLst/>
          </a:prstGeom>
        </p:spPr>
        <p:txBody>
          <a:bodyPr vert="horz" lIns="0" tIns="0" rIns="0" bIns="0" rtlCol="0" anchor="ctr" anchorCtr="0"/>
          <a:lstStyle>
            <a:defPPr>
              <a:defRPr lang="en-US"/>
            </a:defPPr>
            <a:lvl1pPr marL="0" algn="r" defTabSz="457200" rtl="0" eaLnBrk="1" latinLnBrk="0" hangingPunct="1">
              <a:defRPr sz="600" b="0" i="0" kern="1200">
                <a:solidFill>
                  <a:schemeClr val="tx1"/>
                </a:solidFill>
                <a:latin typeface="IBM Plex Sans Regular" charset="0"/>
                <a:ea typeface="+mn-ea"/>
                <a:cs typeface="IBM Plex Sans Regular"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EAEAEA"/>
                </a:solidFill>
                <a:effectLst/>
                <a:uLnTx/>
                <a:uFillTx/>
                <a:latin typeface="IBM Plex Sans" charset="0"/>
                <a:ea typeface="IBM Plex Sans" charset="0"/>
                <a:cs typeface="IBM Plex Sans" charset="0"/>
              </a:rPr>
              <a:t>IBM Watson IoT / © 2018 IBM Corporation</a:t>
            </a:r>
          </a:p>
        </p:txBody>
      </p:sp>
      <p:sp>
        <p:nvSpPr>
          <p:cNvPr id="17" name="Footer Placeholder 4"/>
          <p:cNvSpPr txBox="1">
            <a:spLocks/>
          </p:cNvSpPr>
          <p:nvPr/>
        </p:nvSpPr>
        <p:spPr>
          <a:xfrm>
            <a:off x="228600" y="4826480"/>
            <a:ext cx="6400800" cy="137160"/>
          </a:xfrm>
          <a:prstGeom prst="rect">
            <a:avLst/>
          </a:prstGeom>
        </p:spPr>
        <p:txBody>
          <a:bodyPr vert="horz" lIns="0" tIns="0" rIns="0" bIns="0" rtlCol="0" anchor="ctr"/>
          <a:lstStyle>
            <a:defPPr>
              <a:defRPr lang="en-US"/>
            </a:defPPr>
            <a:lvl1pPr marL="0" algn="l"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IBM Plex Sans"/>
                <a:cs typeface="Arial" charset="0"/>
              </a:rPr>
              <a:t>IBM Watson IoT / © 2019 IBM Corporation</a:t>
            </a:r>
          </a:p>
        </p:txBody>
      </p:sp>
      <p:sp>
        <p:nvSpPr>
          <p:cNvPr id="19" name="Rectangle 18"/>
          <p:cNvSpPr/>
          <p:nvPr/>
        </p:nvSpPr>
        <p:spPr>
          <a:xfrm>
            <a:off x="235267" y="2285833"/>
            <a:ext cx="4101467" cy="2185214"/>
          </a:xfrm>
          <a:prstGeom prst="rect">
            <a:avLst/>
          </a:prstGeom>
        </p:spPr>
        <p:txBody>
          <a:bodyPr wrap="square" lIns="0" tIns="0" rIns="0" bIns="0">
            <a:spAutoFit/>
          </a:bodyPr>
          <a:lstStyle/>
          <a:p>
            <a:pPr marL="133347" marR="0" lvl="0" indent="-133347"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IBM Plex Sans"/>
                <a:ea typeface="+mn-ea"/>
                <a:cs typeface="+mn-cs"/>
              </a:rPr>
              <a:t>Combining </a:t>
            </a:r>
            <a:r>
              <a:rPr kumimoji="0" lang="en-US" sz="1400" b="0" i="0" u="sng" strike="noStrike" kern="1200" cap="none" spc="0" normalizeH="0" baseline="0" noProof="0" dirty="0">
                <a:ln>
                  <a:noFill/>
                </a:ln>
                <a:solidFill>
                  <a:srgbClr val="FFFFFF"/>
                </a:solidFill>
                <a:effectLst/>
                <a:uLnTx/>
                <a:uFillTx/>
                <a:latin typeface="IBM Plex Sans"/>
                <a:ea typeface="+mn-ea"/>
                <a:cs typeface="+mn-cs"/>
              </a:rPr>
              <a:t>IoT data from wearables</a:t>
            </a:r>
            <a:r>
              <a:rPr kumimoji="0" lang="en-US" sz="1400" b="0" i="0" u="none" strike="noStrike" kern="1200" cap="none" spc="0" normalizeH="0" baseline="0" noProof="0" dirty="0">
                <a:ln>
                  <a:noFill/>
                </a:ln>
                <a:solidFill>
                  <a:srgbClr val="FFFFFF"/>
                </a:solidFill>
                <a:effectLst/>
                <a:uLnTx/>
                <a:uFillTx/>
                <a:latin typeface="IBM Plex Sans"/>
                <a:ea typeface="+mn-ea"/>
                <a:cs typeface="+mn-cs"/>
              </a:rPr>
              <a:t>, environmental sensors and other data.</a:t>
            </a:r>
          </a:p>
          <a:p>
            <a:pPr marL="133347" marR="0" lvl="0" indent="-133347"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FFFFFF"/>
              </a:solidFill>
              <a:effectLst/>
              <a:uLnTx/>
              <a:uFillTx/>
              <a:latin typeface="IBM Plex Sans"/>
              <a:ea typeface="+mn-ea"/>
              <a:cs typeface="+mn-cs"/>
            </a:endParaRPr>
          </a:p>
          <a:p>
            <a:pPr marL="133347" marR="0" lvl="0" indent="-133347"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sng" strike="noStrike" kern="1200" cap="none" spc="0" normalizeH="0" baseline="0" noProof="0" dirty="0">
                <a:ln>
                  <a:noFill/>
                </a:ln>
                <a:solidFill>
                  <a:srgbClr val="FFFFFF"/>
                </a:solidFill>
                <a:effectLst/>
                <a:uLnTx/>
                <a:uFillTx/>
                <a:latin typeface="IBM Plex Sans"/>
                <a:ea typeface="+mn-ea"/>
                <a:cs typeface="+mn-cs"/>
              </a:rPr>
              <a:t>Real-time insights</a:t>
            </a:r>
            <a:r>
              <a:rPr kumimoji="0" lang="en-US" sz="1400" b="0" i="0" u="none" strike="noStrike" kern="1200" cap="none" spc="0" normalizeH="0" baseline="0" noProof="0" dirty="0">
                <a:ln>
                  <a:noFill/>
                </a:ln>
                <a:solidFill>
                  <a:srgbClr val="FFFFFF"/>
                </a:solidFill>
                <a:effectLst/>
                <a:uLnTx/>
                <a:uFillTx/>
                <a:latin typeface="IBM Plex Sans"/>
                <a:ea typeface="+mn-ea"/>
                <a:cs typeface="+mn-cs"/>
              </a:rPr>
              <a:t>, putting time and place into context, along with trending and forecasting analyses, and worker information. </a:t>
            </a:r>
          </a:p>
          <a:p>
            <a:pPr marL="133347" marR="0" lvl="0" indent="-133347"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FFFFFF"/>
              </a:solidFill>
              <a:effectLst/>
              <a:uLnTx/>
              <a:uFillTx/>
              <a:latin typeface="IBM Plex Sans"/>
              <a:ea typeface="+mn-ea"/>
              <a:cs typeface="+mn-cs"/>
            </a:endParaRPr>
          </a:p>
          <a:p>
            <a:pPr marL="133347" marR="0" lvl="0" indent="-133347"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IBM Plex Sans"/>
                <a:ea typeface="+mn-ea"/>
                <a:cs typeface="+mn-cs"/>
              </a:rPr>
              <a:t>See </a:t>
            </a:r>
            <a:r>
              <a:rPr kumimoji="0" lang="en-US" sz="1400" b="0" i="0" u="sng" strike="noStrike" kern="1200" cap="none" spc="0" normalizeH="0" baseline="0" noProof="0" dirty="0">
                <a:ln>
                  <a:noFill/>
                </a:ln>
                <a:solidFill>
                  <a:srgbClr val="FFFFFF"/>
                </a:solidFill>
                <a:effectLst/>
                <a:uLnTx/>
                <a:uFillTx/>
                <a:latin typeface="IBM Plex Sans"/>
                <a:ea typeface="+mn-ea"/>
                <a:cs typeface="+mn-cs"/>
              </a:rPr>
              <a:t>Hazards and Notifications</a:t>
            </a:r>
            <a:r>
              <a:rPr kumimoji="0" lang="en-US" sz="1400" b="0" i="0" u="none" strike="noStrike" kern="1200" cap="none" spc="0" normalizeH="0" baseline="0" noProof="0" dirty="0">
                <a:ln>
                  <a:noFill/>
                </a:ln>
                <a:solidFill>
                  <a:srgbClr val="FFFFFF"/>
                </a:solidFill>
                <a:effectLst/>
                <a:uLnTx/>
                <a:uFillTx/>
                <a:latin typeface="IBM Plex Sans"/>
                <a:ea typeface="+mn-ea"/>
                <a:cs typeface="+mn-cs"/>
              </a:rPr>
              <a:t> and trigger Incident processes in Maximo HSE</a:t>
            </a:r>
            <a:r>
              <a:rPr kumimoji="0" lang="en-US" sz="1400" b="0" i="0" u="none" strike="noStrike" kern="1200" cap="none" spc="0" normalizeH="0" baseline="0" noProof="0" dirty="0">
                <a:ln>
                  <a:noFill/>
                </a:ln>
                <a:solidFill>
                  <a:srgbClr val="FFFFFF"/>
                </a:solidFill>
                <a:effectLst/>
                <a:uLnTx/>
                <a:uFillTx/>
                <a:latin typeface="IBM Plex Sans"/>
                <a:ea typeface="Helvetica Neue" panose="02000503000000020004" pitchFamily="2" charset="0"/>
                <a:cs typeface="Helvetica Neue" panose="02000503000000020004" pitchFamily="2" charset="0"/>
              </a:rPr>
              <a:t>.</a:t>
            </a:r>
            <a:endParaRPr kumimoji="0" lang="en-US" sz="1400" b="0" i="0" u="none" strike="noStrike" kern="1200" cap="none" spc="0" normalizeH="0" baseline="0" noProof="0" dirty="0">
              <a:ln>
                <a:noFill/>
              </a:ln>
              <a:solidFill>
                <a:srgbClr val="FFFFFF"/>
              </a:solidFill>
              <a:effectLst/>
              <a:uLnTx/>
              <a:uFillTx/>
              <a:latin typeface="IBM Plex Sans"/>
              <a:ea typeface="+mn-ea"/>
              <a:cs typeface="+mn-cs"/>
            </a:endParaRPr>
          </a:p>
          <a:p>
            <a:pPr marL="0" marR="0" lvl="0" indent="0" algn="l" defTabSz="685800" rtl="0" eaLnBrk="1" fontAlgn="base" latinLnBrk="0" hangingPunct="1">
              <a:lnSpc>
                <a:spcPct val="100000"/>
              </a:lnSpc>
              <a:spcBef>
                <a:spcPts val="60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IBM Plex Sans"/>
              <a:ea typeface="IBM Plex Sans" charset="0"/>
              <a:cs typeface="IBM Plex Sans" charset="0"/>
            </a:endParaRPr>
          </a:p>
        </p:txBody>
      </p:sp>
      <p:sp>
        <p:nvSpPr>
          <p:cNvPr id="27" name="Rectangle 26"/>
          <p:cNvSpPr/>
          <p:nvPr/>
        </p:nvSpPr>
        <p:spPr>
          <a:xfrm>
            <a:off x="5982389" y="2159859"/>
            <a:ext cx="3042351" cy="984885"/>
          </a:xfrm>
          <a:prstGeom prst="rect">
            <a:avLst/>
          </a:prstGeom>
        </p:spPr>
        <p:txBody>
          <a:bodyPr wrap="square" lIns="0" tIns="0" rIns="0" bIns="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srgbClr val="000E5E"/>
                </a:solidFill>
                <a:effectLst/>
                <a:uLnTx/>
                <a:uFillTx/>
                <a:latin typeface="IBM Plex Sans" panose="020B0503050203000203" pitchFamily="34" charset="77"/>
                <a:ea typeface="Helvetica Neue" panose="02000503000000020004" pitchFamily="2" charset="0"/>
                <a:cs typeface="Helvetica Neue" panose="02000503000000020004" pitchFamily="2" charset="0"/>
              </a:rPr>
              <a:t>Visibility during hazardous conditions</a:t>
            </a:r>
          </a:p>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0" cap="none" spc="0" normalizeH="0" baseline="0" noProof="0" dirty="0">
              <a:ln>
                <a:noFill/>
              </a:ln>
              <a:solidFill>
                <a:srgbClr val="000E5E"/>
              </a:solidFill>
              <a:effectLst/>
              <a:uLnTx/>
              <a:uFillTx/>
              <a:latin typeface="IBM Plex Sans" panose="020B0503050203000203" pitchFamily="34" charset="77"/>
              <a:ea typeface="Helvetica Neue" panose="02000503000000020004" pitchFamily="2" charset="0"/>
              <a:cs typeface="Helvetica Neue" panose="02000503000000020004" pitchFamily="2" charset="0"/>
            </a:endParaRP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srgbClr val="000E5E"/>
                </a:solidFill>
                <a:effectLst/>
                <a:uLnTx/>
                <a:uFillTx/>
                <a:latin typeface="IBM Plex Sans" panose="020B0503050203000203" pitchFamily="34" charset="77"/>
                <a:ea typeface="Helvetica Neue" panose="02000503000000020004" pitchFamily="2" charset="0"/>
                <a:cs typeface="Helvetica Neue" panose="02000503000000020004" pitchFamily="2" charset="0"/>
              </a:rPr>
              <a:t>Traceability and notification</a:t>
            </a:r>
          </a:p>
        </p:txBody>
      </p:sp>
      <p:sp>
        <p:nvSpPr>
          <p:cNvPr id="31" name="Rectangle 30"/>
          <p:cNvSpPr/>
          <p:nvPr/>
        </p:nvSpPr>
        <p:spPr>
          <a:xfrm>
            <a:off x="5077445" y="3604474"/>
            <a:ext cx="3759189" cy="1231106"/>
          </a:xfrm>
          <a:prstGeom prst="rect">
            <a:avLst/>
          </a:prstGeom>
        </p:spPr>
        <p:txBody>
          <a:bodyPr wrap="square" lIns="0" tIns="0" rIns="0" bIns="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IBM Plex Sans"/>
                <a:ea typeface="+mn-ea"/>
                <a:cs typeface="+mn-cs"/>
              </a:rPr>
              <a:t>Putting compliance at the center of safety, helps to identify and eliminate hazards in the workplace. </a:t>
            </a:r>
          </a:p>
        </p:txBody>
      </p:sp>
      <p:grpSp>
        <p:nvGrpSpPr>
          <p:cNvPr id="24" name="Group 23">
            <a:extLst>
              <a:ext uri="{FF2B5EF4-FFF2-40B4-BE49-F238E27FC236}">
                <a16:creationId xmlns:a16="http://schemas.microsoft.com/office/drawing/2014/main" id="{0A2DB465-EBEE-A34C-BE78-D3747919EDD1}"/>
              </a:ext>
            </a:extLst>
          </p:cNvPr>
          <p:cNvGrpSpPr/>
          <p:nvPr/>
        </p:nvGrpSpPr>
        <p:grpSpPr>
          <a:xfrm>
            <a:off x="5007255" y="2142154"/>
            <a:ext cx="561419" cy="500063"/>
            <a:chOff x="512763" y="2667000"/>
            <a:chExt cx="581025" cy="517526"/>
          </a:xfrm>
          <a:solidFill>
            <a:schemeClr val="accent2"/>
          </a:solidFill>
        </p:grpSpPr>
        <p:sp>
          <p:nvSpPr>
            <p:cNvPr id="25" name="Rectangle 51">
              <a:extLst>
                <a:ext uri="{FF2B5EF4-FFF2-40B4-BE49-F238E27FC236}">
                  <a16:creationId xmlns:a16="http://schemas.microsoft.com/office/drawing/2014/main" id="{3D325C49-136C-9149-ADEF-B09387AFF523}"/>
                </a:ext>
              </a:extLst>
            </p:cNvPr>
            <p:cNvSpPr>
              <a:spLocks noChangeArrowheads="1"/>
            </p:cNvSpPr>
            <p:nvPr/>
          </p:nvSpPr>
          <p:spPr bwMode="auto">
            <a:xfrm>
              <a:off x="512763" y="3167063"/>
              <a:ext cx="581025"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1350" b="0" i="0" u="none" strike="noStrike" kern="1200" cap="none" spc="0" normalizeH="0" baseline="0" noProof="0" dirty="0">
                <a:ln>
                  <a:noFill/>
                </a:ln>
                <a:solidFill>
                  <a:srgbClr val="000000"/>
                </a:solidFill>
                <a:effectLst/>
                <a:uLnTx/>
                <a:uFillTx/>
                <a:latin typeface="IBM Plex Sans"/>
                <a:ea typeface="+mn-ea"/>
                <a:cs typeface="+mn-cs"/>
              </a:endParaRPr>
            </a:p>
          </p:txBody>
        </p:sp>
        <p:sp>
          <p:nvSpPr>
            <p:cNvPr id="29" name="Freeform 52">
              <a:extLst>
                <a:ext uri="{FF2B5EF4-FFF2-40B4-BE49-F238E27FC236}">
                  <a16:creationId xmlns:a16="http://schemas.microsoft.com/office/drawing/2014/main" id="{36E68A91-8679-AF4A-A174-17B2E276BA01}"/>
                </a:ext>
              </a:extLst>
            </p:cNvPr>
            <p:cNvSpPr>
              <a:spLocks noEditPoints="1"/>
            </p:cNvSpPr>
            <p:nvPr/>
          </p:nvSpPr>
          <p:spPr bwMode="auto">
            <a:xfrm>
              <a:off x="561976" y="3022600"/>
              <a:ext cx="117475" cy="111125"/>
            </a:xfrm>
            <a:custGeom>
              <a:avLst/>
              <a:gdLst>
                <a:gd name="T0" fmla="*/ 281 w 370"/>
                <a:gd name="T1" fmla="*/ 352 h 352"/>
                <a:gd name="T2" fmla="*/ 268 w 370"/>
                <a:gd name="T3" fmla="*/ 349 h 352"/>
                <a:gd name="T4" fmla="*/ 185 w 370"/>
                <a:gd name="T5" fmla="*/ 305 h 352"/>
                <a:gd name="T6" fmla="*/ 102 w 370"/>
                <a:gd name="T7" fmla="*/ 349 h 352"/>
                <a:gd name="T8" fmla="*/ 89 w 370"/>
                <a:gd name="T9" fmla="*/ 352 h 352"/>
                <a:gd name="T10" fmla="*/ 84 w 370"/>
                <a:gd name="T11" fmla="*/ 351 h 352"/>
                <a:gd name="T12" fmla="*/ 66 w 370"/>
                <a:gd name="T13" fmla="*/ 340 h 352"/>
                <a:gd name="T14" fmla="*/ 61 w 370"/>
                <a:gd name="T15" fmla="*/ 319 h 352"/>
                <a:gd name="T16" fmla="*/ 77 w 370"/>
                <a:gd name="T17" fmla="*/ 227 h 352"/>
                <a:gd name="T18" fmla="*/ 10 w 370"/>
                <a:gd name="T19" fmla="*/ 161 h 352"/>
                <a:gd name="T20" fmla="*/ 2 w 370"/>
                <a:gd name="T21" fmla="*/ 145 h 352"/>
                <a:gd name="T22" fmla="*/ 7 w 370"/>
                <a:gd name="T23" fmla="*/ 125 h 352"/>
                <a:gd name="T24" fmla="*/ 25 w 370"/>
                <a:gd name="T25" fmla="*/ 114 h 352"/>
                <a:gd name="T26" fmla="*/ 118 w 370"/>
                <a:gd name="T27" fmla="*/ 100 h 352"/>
                <a:gd name="T28" fmla="*/ 160 w 370"/>
                <a:gd name="T29" fmla="*/ 16 h 352"/>
                <a:gd name="T30" fmla="*/ 172 w 370"/>
                <a:gd name="T31" fmla="*/ 3 h 352"/>
                <a:gd name="T32" fmla="*/ 185 w 370"/>
                <a:gd name="T33" fmla="*/ 0 h 352"/>
                <a:gd name="T34" fmla="*/ 210 w 370"/>
                <a:gd name="T35" fmla="*/ 16 h 352"/>
                <a:gd name="T36" fmla="*/ 251 w 370"/>
                <a:gd name="T37" fmla="*/ 100 h 352"/>
                <a:gd name="T38" fmla="*/ 344 w 370"/>
                <a:gd name="T39" fmla="*/ 113 h 352"/>
                <a:gd name="T40" fmla="*/ 367 w 370"/>
                <a:gd name="T41" fmla="*/ 133 h 352"/>
                <a:gd name="T42" fmla="*/ 360 w 370"/>
                <a:gd name="T43" fmla="*/ 161 h 352"/>
                <a:gd name="T44" fmla="*/ 292 w 370"/>
                <a:gd name="T45" fmla="*/ 227 h 352"/>
                <a:gd name="T46" fmla="*/ 308 w 370"/>
                <a:gd name="T47" fmla="*/ 319 h 352"/>
                <a:gd name="T48" fmla="*/ 305 w 370"/>
                <a:gd name="T49" fmla="*/ 337 h 352"/>
                <a:gd name="T50" fmla="*/ 281 w 370"/>
                <a:gd name="T51" fmla="*/ 352 h 352"/>
                <a:gd name="T52" fmla="*/ 281 w 370"/>
                <a:gd name="T53" fmla="*/ 352 h 352"/>
                <a:gd name="T54" fmla="*/ 185 w 370"/>
                <a:gd name="T55" fmla="*/ 245 h 352"/>
                <a:gd name="T56" fmla="*/ 198 w 370"/>
                <a:gd name="T57" fmla="*/ 249 h 352"/>
                <a:gd name="T58" fmla="*/ 244 w 370"/>
                <a:gd name="T59" fmla="*/ 273 h 352"/>
                <a:gd name="T60" fmla="*/ 235 w 370"/>
                <a:gd name="T61" fmla="*/ 222 h 352"/>
                <a:gd name="T62" fmla="*/ 243 w 370"/>
                <a:gd name="T63" fmla="*/ 197 h 352"/>
                <a:gd name="T64" fmla="*/ 280 w 370"/>
                <a:gd name="T65" fmla="*/ 161 h 352"/>
                <a:gd name="T66" fmla="*/ 229 w 370"/>
                <a:gd name="T67" fmla="*/ 153 h 352"/>
                <a:gd name="T68" fmla="*/ 208 w 370"/>
                <a:gd name="T69" fmla="*/ 138 h 352"/>
                <a:gd name="T70" fmla="*/ 185 w 370"/>
                <a:gd name="T71" fmla="*/ 91 h 352"/>
                <a:gd name="T72" fmla="*/ 162 w 370"/>
                <a:gd name="T73" fmla="*/ 138 h 352"/>
                <a:gd name="T74" fmla="*/ 141 w 370"/>
                <a:gd name="T75" fmla="*/ 153 h 352"/>
                <a:gd name="T76" fmla="*/ 89 w 370"/>
                <a:gd name="T77" fmla="*/ 161 h 352"/>
                <a:gd name="T78" fmla="*/ 127 w 370"/>
                <a:gd name="T79" fmla="*/ 197 h 352"/>
                <a:gd name="T80" fmla="*/ 135 w 370"/>
                <a:gd name="T81" fmla="*/ 222 h 352"/>
                <a:gd name="T82" fmla="*/ 126 w 370"/>
                <a:gd name="T83" fmla="*/ 273 h 352"/>
                <a:gd name="T84" fmla="*/ 172 w 370"/>
                <a:gd name="T85" fmla="*/ 249 h 352"/>
                <a:gd name="T86" fmla="*/ 185 w 370"/>
                <a:gd name="T87" fmla="*/ 245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0" h="352">
                  <a:moveTo>
                    <a:pt x="281" y="352"/>
                  </a:moveTo>
                  <a:cubicBezTo>
                    <a:pt x="276" y="352"/>
                    <a:pt x="272" y="351"/>
                    <a:pt x="268" y="349"/>
                  </a:cubicBezTo>
                  <a:cubicBezTo>
                    <a:pt x="185" y="305"/>
                    <a:pt x="185" y="305"/>
                    <a:pt x="185" y="305"/>
                  </a:cubicBezTo>
                  <a:cubicBezTo>
                    <a:pt x="102" y="349"/>
                    <a:pt x="102" y="349"/>
                    <a:pt x="102" y="349"/>
                  </a:cubicBezTo>
                  <a:cubicBezTo>
                    <a:pt x="98" y="351"/>
                    <a:pt x="93" y="352"/>
                    <a:pt x="89" y="352"/>
                  </a:cubicBezTo>
                  <a:cubicBezTo>
                    <a:pt x="87" y="352"/>
                    <a:pt x="85" y="352"/>
                    <a:pt x="84" y="351"/>
                  </a:cubicBezTo>
                  <a:cubicBezTo>
                    <a:pt x="76" y="350"/>
                    <a:pt x="70" y="346"/>
                    <a:pt x="66" y="340"/>
                  </a:cubicBezTo>
                  <a:cubicBezTo>
                    <a:pt x="61" y="334"/>
                    <a:pt x="60" y="326"/>
                    <a:pt x="61" y="319"/>
                  </a:cubicBezTo>
                  <a:cubicBezTo>
                    <a:pt x="77" y="227"/>
                    <a:pt x="77" y="227"/>
                    <a:pt x="77" y="227"/>
                  </a:cubicBezTo>
                  <a:cubicBezTo>
                    <a:pt x="10" y="161"/>
                    <a:pt x="10" y="161"/>
                    <a:pt x="10" y="161"/>
                  </a:cubicBezTo>
                  <a:cubicBezTo>
                    <a:pt x="5" y="157"/>
                    <a:pt x="2" y="151"/>
                    <a:pt x="2" y="145"/>
                  </a:cubicBezTo>
                  <a:cubicBezTo>
                    <a:pt x="0" y="138"/>
                    <a:pt x="2" y="131"/>
                    <a:pt x="7" y="125"/>
                  </a:cubicBezTo>
                  <a:cubicBezTo>
                    <a:pt x="11" y="119"/>
                    <a:pt x="18" y="115"/>
                    <a:pt x="25" y="114"/>
                  </a:cubicBezTo>
                  <a:cubicBezTo>
                    <a:pt x="118" y="100"/>
                    <a:pt x="118" y="100"/>
                    <a:pt x="118" y="100"/>
                  </a:cubicBezTo>
                  <a:cubicBezTo>
                    <a:pt x="160" y="16"/>
                    <a:pt x="160" y="16"/>
                    <a:pt x="160" y="16"/>
                  </a:cubicBezTo>
                  <a:cubicBezTo>
                    <a:pt x="162" y="10"/>
                    <a:pt x="167" y="6"/>
                    <a:pt x="172" y="3"/>
                  </a:cubicBezTo>
                  <a:cubicBezTo>
                    <a:pt x="176" y="1"/>
                    <a:pt x="180" y="0"/>
                    <a:pt x="185" y="0"/>
                  </a:cubicBezTo>
                  <a:cubicBezTo>
                    <a:pt x="195" y="0"/>
                    <a:pt x="205" y="6"/>
                    <a:pt x="210" y="16"/>
                  </a:cubicBezTo>
                  <a:cubicBezTo>
                    <a:pt x="251" y="100"/>
                    <a:pt x="251" y="100"/>
                    <a:pt x="251" y="100"/>
                  </a:cubicBezTo>
                  <a:cubicBezTo>
                    <a:pt x="344" y="113"/>
                    <a:pt x="344" y="113"/>
                    <a:pt x="344" y="113"/>
                  </a:cubicBezTo>
                  <a:cubicBezTo>
                    <a:pt x="355" y="115"/>
                    <a:pt x="363" y="122"/>
                    <a:pt x="367" y="133"/>
                  </a:cubicBezTo>
                  <a:cubicBezTo>
                    <a:pt x="370" y="143"/>
                    <a:pt x="367" y="154"/>
                    <a:pt x="360" y="161"/>
                  </a:cubicBezTo>
                  <a:cubicBezTo>
                    <a:pt x="292" y="227"/>
                    <a:pt x="292" y="227"/>
                    <a:pt x="292" y="227"/>
                  </a:cubicBezTo>
                  <a:cubicBezTo>
                    <a:pt x="308" y="319"/>
                    <a:pt x="308" y="319"/>
                    <a:pt x="308" y="319"/>
                  </a:cubicBezTo>
                  <a:cubicBezTo>
                    <a:pt x="309" y="325"/>
                    <a:pt x="308" y="332"/>
                    <a:pt x="305" y="337"/>
                  </a:cubicBezTo>
                  <a:cubicBezTo>
                    <a:pt x="301" y="346"/>
                    <a:pt x="291" y="352"/>
                    <a:pt x="281" y="352"/>
                  </a:cubicBezTo>
                  <a:cubicBezTo>
                    <a:pt x="281" y="352"/>
                    <a:pt x="281" y="352"/>
                    <a:pt x="281" y="352"/>
                  </a:cubicBezTo>
                  <a:close/>
                  <a:moveTo>
                    <a:pt x="185" y="245"/>
                  </a:moveTo>
                  <a:cubicBezTo>
                    <a:pt x="189" y="245"/>
                    <a:pt x="194" y="247"/>
                    <a:pt x="198" y="249"/>
                  </a:cubicBezTo>
                  <a:cubicBezTo>
                    <a:pt x="244" y="273"/>
                    <a:pt x="244" y="273"/>
                    <a:pt x="244" y="273"/>
                  </a:cubicBezTo>
                  <a:cubicBezTo>
                    <a:pt x="235" y="222"/>
                    <a:pt x="235" y="222"/>
                    <a:pt x="235" y="222"/>
                  </a:cubicBezTo>
                  <a:cubicBezTo>
                    <a:pt x="233" y="213"/>
                    <a:pt x="236" y="203"/>
                    <a:pt x="243" y="197"/>
                  </a:cubicBezTo>
                  <a:cubicBezTo>
                    <a:pt x="280" y="161"/>
                    <a:pt x="280" y="161"/>
                    <a:pt x="280" y="161"/>
                  </a:cubicBezTo>
                  <a:cubicBezTo>
                    <a:pt x="229" y="153"/>
                    <a:pt x="229" y="153"/>
                    <a:pt x="229" y="153"/>
                  </a:cubicBezTo>
                  <a:cubicBezTo>
                    <a:pt x="220" y="152"/>
                    <a:pt x="212" y="146"/>
                    <a:pt x="208" y="138"/>
                  </a:cubicBezTo>
                  <a:cubicBezTo>
                    <a:pt x="185" y="91"/>
                    <a:pt x="185" y="91"/>
                    <a:pt x="185" y="91"/>
                  </a:cubicBezTo>
                  <a:cubicBezTo>
                    <a:pt x="162" y="138"/>
                    <a:pt x="162" y="138"/>
                    <a:pt x="162" y="138"/>
                  </a:cubicBezTo>
                  <a:cubicBezTo>
                    <a:pt x="158" y="146"/>
                    <a:pt x="150" y="152"/>
                    <a:pt x="141" y="153"/>
                  </a:cubicBezTo>
                  <a:cubicBezTo>
                    <a:pt x="89" y="161"/>
                    <a:pt x="89" y="161"/>
                    <a:pt x="89" y="161"/>
                  </a:cubicBezTo>
                  <a:cubicBezTo>
                    <a:pt x="127" y="197"/>
                    <a:pt x="127" y="197"/>
                    <a:pt x="127" y="197"/>
                  </a:cubicBezTo>
                  <a:cubicBezTo>
                    <a:pt x="133" y="203"/>
                    <a:pt x="136" y="213"/>
                    <a:pt x="135" y="222"/>
                  </a:cubicBezTo>
                  <a:cubicBezTo>
                    <a:pt x="126" y="273"/>
                    <a:pt x="126" y="273"/>
                    <a:pt x="126" y="273"/>
                  </a:cubicBezTo>
                  <a:cubicBezTo>
                    <a:pt x="172" y="249"/>
                    <a:pt x="172" y="249"/>
                    <a:pt x="172" y="249"/>
                  </a:cubicBezTo>
                  <a:cubicBezTo>
                    <a:pt x="176" y="247"/>
                    <a:pt x="180" y="245"/>
                    <a:pt x="185" y="2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1350" b="0" i="0" u="none" strike="noStrike" kern="1200" cap="none" spc="0" normalizeH="0" baseline="0" noProof="0" dirty="0">
                <a:ln>
                  <a:noFill/>
                </a:ln>
                <a:solidFill>
                  <a:srgbClr val="000000"/>
                </a:solidFill>
                <a:effectLst/>
                <a:uLnTx/>
                <a:uFillTx/>
                <a:latin typeface="IBM Plex Sans"/>
                <a:ea typeface="+mn-ea"/>
                <a:cs typeface="+mn-cs"/>
              </a:endParaRPr>
            </a:p>
          </p:txBody>
        </p:sp>
        <p:sp>
          <p:nvSpPr>
            <p:cNvPr id="30" name="Freeform 53">
              <a:extLst>
                <a:ext uri="{FF2B5EF4-FFF2-40B4-BE49-F238E27FC236}">
                  <a16:creationId xmlns:a16="http://schemas.microsoft.com/office/drawing/2014/main" id="{17605430-1AC8-3D4E-B541-F6B5F793EE85}"/>
                </a:ext>
              </a:extLst>
            </p:cNvPr>
            <p:cNvSpPr>
              <a:spLocks noEditPoints="1"/>
            </p:cNvSpPr>
            <p:nvPr/>
          </p:nvSpPr>
          <p:spPr bwMode="auto">
            <a:xfrm>
              <a:off x="560388" y="2667000"/>
              <a:ext cx="457200" cy="477838"/>
            </a:xfrm>
            <a:custGeom>
              <a:avLst/>
              <a:gdLst>
                <a:gd name="T0" fmla="*/ 645 w 1450"/>
                <a:gd name="T1" fmla="*/ 1453 h 1509"/>
                <a:gd name="T2" fmla="*/ 855 w 1450"/>
                <a:gd name="T3" fmla="*/ 1447 h 1509"/>
                <a:gd name="T4" fmla="*/ 838 w 1450"/>
                <a:gd name="T5" fmla="*/ 1096 h 1509"/>
                <a:gd name="T6" fmla="*/ 486 w 1450"/>
                <a:gd name="T7" fmla="*/ 1061 h 1509"/>
                <a:gd name="T8" fmla="*/ 747 w 1450"/>
                <a:gd name="T9" fmla="*/ 1005 h 1509"/>
                <a:gd name="T10" fmla="*/ 289 w 1450"/>
                <a:gd name="T11" fmla="*/ 554 h 1509"/>
                <a:gd name="T12" fmla="*/ 322 w 1450"/>
                <a:gd name="T13" fmla="*/ 757 h 1509"/>
                <a:gd name="T14" fmla="*/ 322 w 1450"/>
                <a:gd name="T15" fmla="*/ 892 h 1509"/>
                <a:gd name="T16" fmla="*/ 187 w 1450"/>
                <a:gd name="T17" fmla="*/ 892 h 1509"/>
                <a:gd name="T18" fmla="*/ 174 w 1450"/>
                <a:gd name="T19" fmla="*/ 393 h 1509"/>
                <a:gd name="T20" fmla="*/ 182 w 1450"/>
                <a:gd name="T21" fmla="*/ 376 h 1509"/>
                <a:gd name="T22" fmla="*/ 25 w 1450"/>
                <a:gd name="T23" fmla="*/ 271 h 1509"/>
                <a:gd name="T24" fmla="*/ 194 w 1450"/>
                <a:gd name="T25" fmla="*/ 0 h 1509"/>
                <a:gd name="T26" fmla="*/ 362 w 1450"/>
                <a:gd name="T27" fmla="*/ 105 h 1509"/>
                <a:gd name="T28" fmla="*/ 369 w 1450"/>
                <a:gd name="T29" fmla="*/ 256 h 1509"/>
                <a:gd name="T30" fmla="*/ 541 w 1450"/>
                <a:gd name="T31" fmla="*/ 224 h 1509"/>
                <a:gd name="T32" fmla="*/ 738 w 1450"/>
                <a:gd name="T33" fmla="*/ 27 h 1509"/>
                <a:gd name="T34" fmla="*/ 830 w 1450"/>
                <a:gd name="T35" fmla="*/ 124 h 1509"/>
                <a:gd name="T36" fmla="*/ 588 w 1450"/>
                <a:gd name="T37" fmla="*/ 405 h 1509"/>
                <a:gd name="T38" fmla="*/ 802 w 1450"/>
                <a:gd name="T39" fmla="*/ 629 h 1509"/>
                <a:gd name="T40" fmla="*/ 1058 w 1450"/>
                <a:gd name="T41" fmla="*/ 384 h 1509"/>
                <a:gd name="T42" fmla="*/ 1403 w 1450"/>
                <a:gd name="T43" fmla="*/ 718 h 1509"/>
                <a:gd name="T44" fmla="*/ 1320 w 1450"/>
                <a:gd name="T45" fmla="*/ 920 h 1509"/>
                <a:gd name="T46" fmla="*/ 1058 w 1450"/>
                <a:gd name="T47" fmla="*/ 708 h 1509"/>
                <a:gd name="T48" fmla="*/ 1078 w 1450"/>
                <a:gd name="T49" fmla="*/ 968 h 1509"/>
                <a:gd name="T50" fmla="*/ 1086 w 1450"/>
                <a:gd name="T51" fmla="*/ 1385 h 1509"/>
                <a:gd name="T52" fmla="*/ 644 w 1450"/>
                <a:gd name="T53" fmla="*/ 1509 h 1509"/>
                <a:gd name="T54" fmla="*/ 310 w 1450"/>
                <a:gd name="T55" fmla="*/ 488 h 1509"/>
                <a:gd name="T56" fmla="*/ 894 w 1450"/>
                <a:gd name="T57" fmla="*/ 1084 h 1509"/>
                <a:gd name="T58" fmla="*/ 962 w 1450"/>
                <a:gd name="T59" fmla="*/ 1453 h 1509"/>
                <a:gd name="T60" fmla="*/ 1030 w 1450"/>
                <a:gd name="T61" fmla="*/ 1000 h 1509"/>
                <a:gd name="T62" fmla="*/ 878 w 1450"/>
                <a:gd name="T63" fmla="*/ 809 h 1509"/>
                <a:gd name="T64" fmla="*/ 1058 w 1450"/>
                <a:gd name="T65" fmla="*/ 640 h 1509"/>
                <a:gd name="T66" fmla="*/ 1275 w 1450"/>
                <a:gd name="T67" fmla="*/ 846 h 1509"/>
                <a:gd name="T68" fmla="*/ 1363 w 1450"/>
                <a:gd name="T69" fmla="*/ 846 h 1509"/>
                <a:gd name="T70" fmla="*/ 1058 w 1450"/>
                <a:gd name="T71" fmla="*/ 452 h 1509"/>
                <a:gd name="T72" fmla="*/ 802 w 1450"/>
                <a:gd name="T73" fmla="*/ 696 h 1509"/>
                <a:gd name="T74" fmla="*/ 526 w 1450"/>
                <a:gd name="T75" fmla="*/ 432 h 1509"/>
                <a:gd name="T76" fmla="*/ 518 w 1450"/>
                <a:gd name="T77" fmla="*/ 380 h 1509"/>
                <a:gd name="T78" fmla="*/ 774 w 1450"/>
                <a:gd name="T79" fmla="*/ 124 h 1509"/>
                <a:gd name="T80" fmla="*/ 738 w 1450"/>
                <a:gd name="T81" fmla="*/ 83 h 1509"/>
                <a:gd name="T82" fmla="*/ 540 w 1450"/>
                <a:gd name="T83" fmla="*/ 280 h 1509"/>
                <a:gd name="T84" fmla="*/ 242 w 1450"/>
                <a:gd name="T85" fmla="*/ 404 h 1509"/>
                <a:gd name="T86" fmla="*/ 214 w 1450"/>
                <a:gd name="T87" fmla="*/ 840 h 1509"/>
                <a:gd name="T88" fmla="*/ 254 w 1450"/>
                <a:gd name="T89" fmla="*/ 864 h 1509"/>
                <a:gd name="T90" fmla="*/ 294 w 1450"/>
                <a:gd name="T91" fmla="*/ 824 h 1509"/>
                <a:gd name="T92" fmla="*/ 270 w 1450"/>
                <a:gd name="T93" fmla="*/ 784 h 1509"/>
                <a:gd name="T94" fmla="*/ 290 w 1450"/>
                <a:gd name="T95" fmla="*/ 480 h 1509"/>
                <a:gd name="T96" fmla="*/ 62 w 1450"/>
                <a:gd name="T97" fmla="*/ 188 h 1509"/>
                <a:gd name="T98" fmla="*/ 326 w 1450"/>
                <a:gd name="T99" fmla="*/ 188 h 1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50" h="1509">
                  <a:moveTo>
                    <a:pt x="644" y="1509"/>
                  </a:moveTo>
                  <a:cubicBezTo>
                    <a:pt x="644" y="1490"/>
                    <a:pt x="643" y="1471"/>
                    <a:pt x="645" y="1453"/>
                  </a:cubicBezTo>
                  <a:cubicBezTo>
                    <a:pt x="858" y="1453"/>
                    <a:pt x="858" y="1453"/>
                    <a:pt x="858" y="1453"/>
                  </a:cubicBezTo>
                  <a:cubicBezTo>
                    <a:pt x="855" y="1447"/>
                    <a:pt x="855" y="1447"/>
                    <a:pt x="855" y="1447"/>
                  </a:cubicBezTo>
                  <a:cubicBezTo>
                    <a:pt x="844" y="1428"/>
                    <a:pt x="838" y="1407"/>
                    <a:pt x="838" y="1385"/>
                  </a:cubicBezTo>
                  <a:cubicBezTo>
                    <a:pt x="838" y="1096"/>
                    <a:pt x="838" y="1096"/>
                    <a:pt x="838" y="1096"/>
                  </a:cubicBezTo>
                  <a:cubicBezTo>
                    <a:pt x="803" y="1061"/>
                    <a:pt x="803" y="1061"/>
                    <a:pt x="803" y="1061"/>
                  </a:cubicBezTo>
                  <a:cubicBezTo>
                    <a:pt x="486" y="1061"/>
                    <a:pt x="486" y="1061"/>
                    <a:pt x="486" y="1061"/>
                  </a:cubicBezTo>
                  <a:cubicBezTo>
                    <a:pt x="486" y="1005"/>
                    <a:pt x="486" y="1005"/>
                    <a:pt x="486" y="1005"/>
                  </a:cubicBezTo>
                  <a:cubicBezTo>
                    <a:pt x="747" y="1005"/>
                    <a:pt x="747" y="1005"/>
                    <a:pt x="747" y="1005"/>
                  </a:cubicBezTo>
                  <a:cubicBezTo>
                    <a:pt x="292" y="550"/>
                    <a:pt x="292" y="550"/>
                    <a:pt x="292" y="550"/>
                  </a:cubicBezTo>
                  <a:cubicBezTo>
                    <a:pt x="289" y="554"/>
                    <a:pt x="289" y="554"/>
                    <a:pt x="289" y="554"/>
                  </a:cubicBezTo>
                  <a:cubicBezTo>
                    <a:pt x="250" y="615"/>
                    <a:pt x="259" y="693"/>
                    <a:pt x="310" y="745"/>
                  </a:cubicBezTo>
                  <a:cubicBezTo>
                    <a:pt x="322" y="757"/>
                    <a:pt x="322" y="757"/>
                    <a:pt x="322" y="757"/>
                  </a:cubicBezTo>
                  <a:cubicBezTo>
                    <a:pt x="340" y="775"/>
                    <a:pt x="350" y="799"/>
                    <a:pt x="350" y="824"/>
                  </a:cubicBezTo>
                  <a:cubicBezTo>
                    <a:pt x="350" y="850"/>
                    <a:pt x="340" y="874"/>
                    <a:pt x="322" y="892"/>
                  </a:cubicBezTo>
                  <a:cubicBezTo>
                    <a:pt x="304" y="910"/>
                    <a:pt x="280" y="920"/>
                    <a:pt x="254" y="920"/>
                  </a:cubicBezTo>
                  <a:cubicBezTo>
                    <a:pt x="229" y="920"/>
                    <a:pt x="205" y="910"/>
                    <a:pt x="187" y="892"/>
                  </a:cubicBezTo>
                  <a:cubicBezTo>
                    <a:pt x="174" y="880"/>
                    <a:pt x="174" y="880"/>
                    <a:pt x="174" y="880"/>
                  </a:cubicBezTo>
                  <a:cubicBezTo>
                    <a:pt x="40" y="746"/>
                    <a:pt x="40" y="527"/>
                    <a:pt x="174" y="393"/>
                  </a:cubicBezTo>
                  <a:cubicBezTo>
                    <a:pt x="190" y="376"/>
                    <a:pt x="190" y="376"/>
                    <a:pt x="190" y="376"/>
                  </a:cubicBezTo>
                  <a:cubicBezTo>
                    <a:pt x="182" y="376"/>
                    <a:pt x="182" y="376"/>
                    <a:pt x="182" y="376"/>
                  </a:cubicBezTo>
                  <a:cubicBezTo>
                    <a:pt x="165" y="375"/>
                    <a:pt x="149" y="371"/>
                    <a:pt x="134" y="366"/>
                  </a:cubicBezTo>
                  <a:cubicBezTo>
                    <a:pt x="86" y="350"/>
                    <a:pt x="48" y="316"/>
                    <a:pt x="25" y="271"/>
                  </a:cubicBezTo>
                  <a:cubicBezTo>
                    <a:pt x="3" y="226"/>
                    <a:pt x="0" y="175"/>
                    <a:pt x="16" y="128"/>
                  </a:cubicBezTo>
                  <a:cubicBezTo>
                    <a:pt x="42" y="51"/>
                    <a:pt x="113" y="0"/>
                    <a:pt x="194" y="0"/>
                  </a:cubicBezTo>
                  <a:cubicBezTo>
                    <a:pt x="214" y="0"/>
                    <a:pt x="235" y="3"/>
                    <a:pt x="254" y="10"/>
                  </a:cubicBezTo>
                  <a:cubicBezTo>
                    <a:pt x="302" y="26"/>
                    <a:pt x="340" y="60"/>
                    <a:pt x="362" y="105"/>
                  </a:cubicBezTo>
                  <a:cubicBezTo>
                    <a:pt x="385" y="150"/>
                    <a:pt x="388" y="201"/>
                    <a:pt x="372" y="248"/>
                  </a:cubicBezTo>
                  <a:cubicBezTo>
                    <a:pt x="369" y="256"/>
                    <a:pt x="369" y="256"/>
                    <a:pt x="369" y="256"/>
                  </a:cubicBezTo>
                  <a:cubicBezTo>
                    <a:pt x="377" y="253"/>
                    <a:pt x="377" y="253"/>
                    <a:pt x="377" y="253"/>
                  </a:cubicBezTo>
                  <a:cubicBezTo>
                    <a:pt x="430" y="234"/>
                    <a:pt x="485" y="224"/>
                    <a:pt x="541" y="224"/>
                  </a:cubicBezTo>
                  <a:cubicBezTo>
                    <a:pt x="599" y="224"/>
                    <a:pt x="646" y="177"/>
                    <a:pt x="646" y="119"/>
                  </a:cubicBezTo>
                  <a:cubicBezTo>
                    <a:pt x="646" y="68"/>
                    <a:pt x="687" y="27"/>
                    <a:pt x="738" y="27"/>
                  </a:cubicBezTo>
                  <a:cubicBezTo>
                    <a:pt x="789" y="27"/>
                    <a:pt x="830" y="68"/>
                    <a:pt x="830" y="119"/>
                  </a:cubicBezTo>
                  <a:cubicBezTo>
                    <a:pt x="830" y="124"/>
                    <a:pt x="830" y="124"/>
                    <a:pt x="830" y="124"/>
                  </a:cubicBezTo>
                  <a:cubicBezTo>
                    <a:pt x="830" y="192"/>
                    <a:pt x="805" y="258"/>
                    <a:pt x="761" y="310"/>
                  </a:cubicBezTo>
                  <a:cubicBezTo>
                    <a:pt x="716" y="361"/>
                    <a:pt x="655" y="395"/>
                    <a:pt x="588" y="405"/>
                  </a:cubicBezTo>
                  <a:cubicBezTo>
                    <a:pt x="580" y="407"/>
                    <a:pt x="580" y="407"/>
                    <a:pt x="580" y="407"/>
                  </a:cubicBezTo>
                  <a:cubicBezTo>
                    <a:pt x="802" y="629"/>
                    <a:pt x="802" y="629"/>
                    <a:pt x="802" y="629"/>
                  </a:cubicBezTo>
                  <a:cubicBezTo>
                    <a:pt x="1038" y="393"/>
                    <a:pt x="1038" y="393"/>
                    <a:pt x="1038" y="393"/>
                  </a:cubicBezTo>
                  <a:cubicBezTo>
                    <a:pt x="1044" y="387"/>
                    <a:pt x="1051" y="384"/>
                    <a:pt x="1058" y="384"/>
                  </a:cubicBezTo>
                  <a:cubicBezTo>
                    <a:pt x="1066" y="384"/>
                    <a:pt x="1073" y="387"/>
                    <a:pt x="1078" y="393"/>
                  </a:cubicBezTo>
                  <a:cubicBezTo>
                    <a:pt x="1403" y="718"/>
                    <a:pt x="1403" y="718"/>
                    <a:pt x="1403" y="718"/>
                  </a:cubicBezTo>
                  <a:cubicBezTo>
                    <a:pt x="1450" y="764"/>
                    <a:pt x="1450" y="839"/>
                    <a:pt x="1403" y="886"/>
                  </a:cubicBezTo>
                  <a:cubicBezTo>
                    <a:pt x="1381" y="908"/>
                    <a:pt x="1351" y="920"/>
                    <a:pt x="1320" y="920"/>
                  </a:cubicBezTo>
                  <a:cubicBezTo>
                    <a:pt x="1288" y="920"/>
                    <a:pt x="1258" y="908"/>
                    <a:pt x="1236" y="886"/>
                  </a:cubicBezTo>
                  <a:cubicBezTo>
                    <a:pt x="1058" y="708"/>
                    <a:pt x="1058" y="708"/>
                    <a:pt x="1058" y="708"/>
                  </a:cubicBezTo>
                  <a:cubicBezTo>
                    <a:pt x="938" y="828"/>
                    <a:pt x="938" y="828"/>
                    <a:pt x="938" y="828"/>
                  </a:cubicBezTo>
                  <a:cubicBezTo>
                    <a:pt x="1078" y="968"/>
                    <a:pt x="1078" y="968"/>
                    <a:pt x="1078" y="968"/>
                  </a:cubicBezTo>
                  <a:cubicBezTo>
                    <a:pt x="1083" y="974"/>
                    <a:pt x="1086" y="981"/>
                    <a:pt x="1086" y="988"/>
                  </a:cubicBezTo>
                  <a:cubicBezTo>
                    <a:pt x="1086" y="1385"/>
                    <a:pt x="1086" y="1385"/>
                    <a:pt x="1086" y="1385"/>
                  </a:cubicBezTo>
                  <a:cubicBezTo>
                    <a:pt x="1086" y="1453"/>
                    <a:pt x="1030" y="1509"/>
                    <a:pt x="962" y="1509"/>
                  </a:cubicBezTo>
                  <a:lnTo>
                    <a:pt x="644" y="1509"/>
                  </a:lnTo>
                  <a:close/>
                  <a:moveTo>
                    <a:pt x="290" y="480"/>
                  </a:moveTo>
                  <a:cubicBezTo>
                    <a:pt x="297" y="480"/>
                    <a:pt x="305" y="483"/>
                    <a:pt x="310" y="488"/>
                  </a:cubicBezTo>
                  <a:cubicBezTo>
                    <a:pt x="886" y="1064"/>
                    <a:pt x="886" y="1064"/>
                    <a:pt x="886" y="1064"/>
                  </a:cubicBezTo>
                  <a:cubicBezTo>
                    <a:pt x="891" y="1070"/>
                    <a:pt x="894" y="1077"/>
                    <a:pt x="894" y="1084"/>
                  </a:cubicBezTo>
                  <a:cubicBezTo>
                    <a:pt x="894" y="1385"/>
                    <a:pt x="894" y="1385"/>
                    <a:pt x="894" y="1385"/>
                  </a:cubicBezTo>
                  <a:cubicBezTo>
                    <a:pt x="894" y="1422"/>
                    <a:pt x="925" y="1453"/>
                    <a:pt x="962" y="1453"/>
                  </a:cubicBezTo>
                  <a:cubicBezTo>
                    <a:pt x="999" y="1453"/>
                    <a:pt x="1030" y="1422"/>
                    <a:pt x="1030" y="1385"/>
                  </a:cubicBezTo>
                  <a:cubicBezTo>
                    <a:pt x="1030" y="1000"/>
                    <a:pt x="1030" y="1000"/>
                    <a:pt x="1030" y="1000"/>
                  </a:cubicBezTo>
                  <a:cubicBezTo>
                    <a:pt x="878" y="848"/>
                    <a:pt x="878" y="848"/>
                    <a:pt x="878" y="848"/>
                  </a:cubicBezTo>
                  <a:cubicBezTo>
                    <a:pt x="868" y="837"/>
                    <a:pt x="868" y="820"/>
                    <a:pt x="878" y="809"/>
                  </a:cubicBezTo>
                  <a:cubicBezTo>
                    <a:pt x="1038" y="649"/>
                    <a:pt x="1038" y="649"/>
                    <a:pt x="1038" y="649"/>
                  </a:cubicBezTo>
                  <a:cubicBezTo>
                    <a:pt x="1044" y="643"/>
                    <a:pt x="1051" y="640"/>
                    <a:pt x="1058" y="640"/>
                  </a:cubicBezTo>
                  <a:cubicBezTo>
                    <a:pt x="1066" y="640"/>
                    <a:pt x="1073" y="643"/>
                    <a:pt x="1078" y="649"/>
                  </a:cubicBezTo>
                  <a:cubicBezTo>
                    <a:pt x="1275" y="846"/>
                    <a:pt x="1275" y="846"/>
                    <a:pt x="1275" y="846"/>
                  </a:cubicBezTo>
                  <a:cubicBezTo>
                    <a:pt x="1287" y="858"/>
                    <a:pt x="1303" y="864"/>
                    <a:pt x="1320" y="864"/>
                  </a:cubicBezTo>
                  <a:cubicBezTo>
                    <a:pt x="1336" y="864"/>
                    <a:pt x="1352" y="858"/>
                    <a:pt x="1363" y="846"/>
                  </a:cubicBezTo>
                  <a:cubicBezTo>
                    <a:pt x="1388" y="822"/>
                    <a:pt x="1388" y="782"/>
                    <a:pt x="1364" y="758"/>
                  </a:cubicBezTo>
                  <a:cubicBezTo>
                    <a:pt x="1058" y="452"/>
                    <a:pt x="1058" y="452"/>
                    <a:pt x="1058" y="452"/>
                  </a:cubicBezTo>
                  <a:cubicBezTo>
                    <a:pt x="822" y="688"/>
                    <a:pt x="822" y="688"/>
                    <a:pt x="822" y="688"/>
                  </a:cubicBezTo>
                  <a:cubicBezTo>
                    <a:pt x="817" y="693"/>
                    <a:pt x="809" y="696"/>
                    <a:pt x="802" y="696"/>
                  </a:cubicBezTo>
                  <a:cubicBezTo>
                    <a:pt x="795" y="696"/>
                    <a:pt x="787" y="693"/>
                    <a:pt x="782" y="688"/>
                  </a:cubicBezTo>
                  <a:cubicBezTo>
                    <a:pt x="526" y="432"/>
                    <a:pt x="526" y="432"/>
                    <a:pt x="526" y="432"/>
                  </a:cubicBezTo>
                  <a:cubicBezTo>
                    <a:pt x="521" y="427"/>
                    <a:pt x="518" y="420"/>
                    <a:pt x="518" y="412"/>
                  </a:cubicBezTo>
                  <a:cubicBezTo>
                    <a:pt x="518" y="380"/>
                    <a:pt x="518" y="380"/>
                    <a:pt x="518" y="380"/>
                  </a:cubicBezTo>
                  <a:cubicBezTo>
                    <a:pt x="518" y="365"/>
                    <a:pt x="531" y="352"/>
                    <a:pt x="546" y="352"/>
                  </a:cubicBezTo>
                  <a:cubicBezTo>
                    <a:pt x="672" y="352"/>
                    <a:pt x="774" y="250"/>
                    <a:pt x="774" y="124"/>
                  </a:cubicBezTo>
                  <a:cubicBezTo>
                    <a:pt x="774" y="119"/>
                    <a:pt x="774" y="119"/>
                    <a:pt x="774" y="119"/>
                  </a:cubicBezTo>
                  <a:cubicBezTo>
                    <a:pt x="774" y="99"/>
                    <a:pt x="758" y="83"/>
                    <a:pt x="738" y="83"/>
                  </a:cubicBezTo>
                  <a:cubicBezTo>
                    <a:pt x="718" y="83"/>
                    <a:pt x="702" y="99"/>
                    <a:pt x="702" y="119"/>
                  </a:cubicBezTo>
                  <a:cubicBezTo>
                    <a:pt x="702" y="208"/>
                    <a:pt x="629" y="280"/>
                    <a:pt x="540" y="280"/>
                  </a:cubicBezTo>
                  <a:cubicBezTo>
                    <a:pt x="539" y="280"/>
                    <a:pt x="539" y="280"/>
                    <a:pt x="539" y="280"/>
                  </a:cubicBezTo>
                  <a:cubicBezTo>
                    <a:pt x="429" y="280"/>
                    <a:pt x="320" y="325"/>
                    <a:pt x="242" y="404"/>
                  </a:cubicBezTo>
                  <a:cubicBezTo>
                    <a:pt x="214" y="432"/>
                    <a:pt x="214" y="432"/>
                    <a:pt x="214" y="432"/>
                  </a:cubicBezTo>
                  <a:cubicBezTo>
                    <a:pt x="101" y="545"/>
                    <a:pt x="101" y="728"/>
                    <a:pt x="214" y="840"/>
                  </a:cubicBezTo>
                  <a:cubicBezTo>
                    <a:pt x="226" y="853"/>
                    <a:pt x="226" y="853"/>
                    <a:pt x="226" y="853"/>
                  </a:cubicBezTo>
                  <a:cubicBezTo>
                    <a:pt x="233" y="860"/>
                    <a:pt x="243" y="864"/>
                    <a:pt x="254" y="864"/>
                  </a:cubicBezTo>
                  <a:cubicBezTo>
                    <a:pt x="265" y="864"/>
                    <a:pt x="275" y="860"/>
                    <a:pt x="282" y="853"/>
                  </a:cubicBezTo>
                  <a:cubicBezTo>
                    <a:pt x="290" y="845"/>
                    <a:pt x="294" y="835"/>
                    <a:pt x="294" y="824"/>
                  </a:cubicBezTo>
                  <a:cubicBezTo>
                    <a:pt x="294" y="814"/>
                    <a:pt x="290" y="804"/>
                    <a:pt x="282" y="796"/>
                  </a:cubicBezTo>
                  <a:cubicBezTo>
                    <a:pt x="270" y="784"/>
                    <a:pt x="270" y="784"/>
                    <a:pt x="270" y="784"/>
                  </a:cubicBezTo>
                  <a:cubicBezTo>
                    <a:pt x="189" y="703"/>
                    <a:pt x="189" y="570"/>
                    <a:pt x="270" y="488"/>
                  </a:cubicBezTo>
                  <a:cubicBezTo>
                    <a:pt x="275" y="483"/>
                    <a:pt x="283" y="480"/>
                    <a:pt x="290" y="480"/>
                  </a:cubicBezTo>
                  <a:close/>
                  <a:moveTo>
                    <a:pt x="194" y="56"/>
                  </a:moveTo>
                  <a:cubicBezTo>
                    <a:pt x="121" y="56"/>
                    <a:pt x="62" y="116"/>
                    <a:pt x="62" y="188"/>
                  </a:cubicBezTo>
                  <a:cubicBezTo>
                    <a:pt x="62" y="261"/>
                    <a:pt x="121" y="320"/>
                    <a:pt x="194" y="320"/>
                  </a:cubicBezTo>
                  <a:cubicBezTo>
                    <a:pt x="267" y="320"/>
                    <a:pt x="326" y="261"/>
                    <a:pt x="326" y="188"/>
                  </a:cubicBezTo>
                  <a:cubicBezTo>
                    <a:pt x="326" y="116"/>
                    <a:pt x="267" y="56"/>
                    <a:pt x="194"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1350" b="0" i="0" u="none" strike="noStrike" kern="1200" cap="none" spc="0" normalizeH="0" baseline="0" noProof="0" dirty="0">
                <a:ln>
                  <a:noFill/>
                </a:ln>
                <a:solidFill>
                  <a:srgbClr val="000000"/>
                </a:solidFill>
                <a:effectLst/>
                <a:uLnTx/>
                <a:uFillTx/>
                <a:latin typeface="IBM Plex Sans"/>
                <a:ea typeface="+mn-ea"/>
                <a:cs typeface="+mn-cs"/>
              </a:endParaRPr>
            </a:p>
          </p:txBody>
        </p:sp>
        <p:sp>
          <p:nvSpPr>
            <p:cNvPr id="33" name="Rectangle 54">
              <a:extLst>
                <a:ext uri="{FF2B5EF4-FFF2-40B4-BE49-F238E27FC236}">
                  <a16:creationId xmlns:a16="http://schemas.microsoft.com/office/drawing/2014/main" id="{BA530E7C-240E-2043-9DFC-65FD36384149}"/>
                </a:ext>
              </a:extLst>
            </p:cNvPr>
            <p:cNvSpPr>
              <a:spLocks noChangeArrowheads="1"/>
            </p:cNvSpPr>
            <p:nvPr/>
          </p:nvSpPr>
          <p:spPr bwMode="auto">
            <a:xfrm>
              <a:off x="704851" y="3125788"/>
              <a:ext cx="19050" cy="190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1350" b="0" i="0" u="none" strike="noStrike" kern="1200" cap="none" spc="0" normalizeH="0" baseline="0" noProof="0" dirty="0">
                <a:ln>
                  <a:noFill/>
                </a:ln>
                <a:solidFill>
                  <a:srgbClr val="000000"/>
                </a:solidFill>
                <a:effectLst/>
                <a:uLnTx/>
                <a:uFillTx/>
                <a:latin typeface="IBM Plex Sans"/>
                <a:ea typeface="+mn-ea"/>
                <a:cs typeface="+mn-cs"/>
              </a:endParaRPr>
            </a:p>
          </p:txBody>
        </p:sp>
        <p:sp>
          <p:nvSpPr>
            <p:cNvPr id="34" name="Rectangle 55">
              <a:extLst>
                <a:ext uri="{FF2B5EF4-FFF2-40B4-BE49-F238E27FC236}">
                  <a16:creationId xmlns:a16="http://schemas.microsoft.com/office/drawing/2014/main" id="{A1932BCA-F527-8B43-ACA6-0B1F5E2173FD}"/>
                </a:ext>
              </a:extLst>
            </p:cNvPr>
            <p:cNvSpPr>
              <a:spLocks noChangeArrowheads="1"/>
            </p:cNvSpPr>
            <p:nvPr/>
          </p:nvSpPr>
          <p:spPr bwMode="auto">
            <a:xfrm>
              <a:off x="663576" y="2982913"/>
              <a:ext cx="19050"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CA" sz="1350" b="0" i="0" u="none" strike="noStrike" kern="1200" cap="none" spc="0" normalizeH="0" baseline="0" noProof="0" dirty="0">
                <a:ln>
                  <a:noFill/>
                </a:ln>
                <a:solidFill>
                  <a:srgbClr val="000000"/>
                </a:solidFill>
                <a:effectLst/>
                <a:uLnTx/>
                <a:uFillTx/>
                <a:latin typeface="IBM Plex Sans"/>
                <a:ea typeface="+mn-ea"/>
                <a:cs typeface="+mn-cs"/>
              </a:endParaRPr>
            </a:p>
          </p:txBody>
        </p:sp>
      </p:grpSp>
      <p:grpSp>
        <p:nvGrpSpPr>
          <p:cNvPr id="35" name="Graphic 17">
            <a:extLst>
              <a:ext uri="{FF2B5EF4-FFF2-40B4-BE49-F238E27FC236}">
                <a16:creationId xmlns:a16="http://schemas.microsoft.com/office/drawing/2014/main" id="{DD11620E-30E0-0B42-93B0-D342D93A8A74}"/>
              </a:ext>
            </a:extLst>
          </p:cNvPr>
          <p:cNvGrpSpPr/>
          <p:nvPr/>
        </p:nvGrpSpPr>
        <p:grpSpPr>
          <a:xfrm>
            <a:off x="5029585" y="2708227"/>
            <a:ext cx="517230" cy="517230"/>
            <a:chOff x="3657600" y="990600"/>
            <a:chExt cx="4876800" cy="4876800"/>
          </a:xfrm>
          <a:solidFill>
            <a:schemeClr val="accent2"/>
          </a:solidFill>
        </p:grpSpPr>
        <p:sp>
          <p:nvSpPr>
            <p:cNvPr id="36" name="Freeform 35">
              <a:extLst>
                <a:ext uri="{FF2B5EF4-FFF2-40B4-BE49-F238E27FC236}">
                  <a16:creationId xmlns:a16="http://schemas.microsoft.com/office/drawing/2014/main" id="{9CF5C17F-DE80-CB4A-BCBD-9FC9697EB91C}"/>
                </a:ext>
              </a:extLst>
            </p:cNvPr>
            <p:cNvSpPr/>
            <p:nvPr/>
          </p:nvSpPr>
          <p:spPr>
            <a:xfrm>
              <a:off x="4978346" y="2616356"/>
              <a:ext cx="2428875" cy="1619250"/>
            </a:xfrm>
            <a:custGeom>
              <a:avLst/>
              <a:gdLst>
                <a:gd name="connsiteX0" fmla="*/ 2408587 w 2428875"/>
                <a:gd name="connsiteY0" fmla="*/ 29718 h 1619250"/>
                <a:gd name="connsiteX1" fmla="*/ 2264921 w 2428875"/>
                <a:gd name="connsiteY1" fmla="*/ 29718 h 1619250"/>
                <a:gd name="connsiteX2" fmla="*/ 914457 w 2428875"/>
                <a:gd name="connsiteY2" fmla="*/ 1380182 h 1619250"/>
                <a:gd name="connsiteX3" fmla="*/ 173384 w 2428875"/>
                <a:gd name="connsiteY3" fmla="*/ 639318 h 1619250"/>
                <a:gd name="connsiteX4" fmla="*/ 29718 w 2428875"/>
                <a:gd name="connsiteY4" fmla="*/ 639318 h 1619250"/>
                <a:gd name="connsiteX5" fmla="*/ 29718 w 2428875"/>
                <a:gd name="connsiteY5" fmla="*/ 782984 h 1619250"/>
                <a:gd name="connsiteX6" fmla="*/ 842515 w 2428875"/>
                <a:gd name="connsiteY6" fmla="*/ 1595780 h 1619250"/>
                <a:gd name="connsiteX7" fmla="*/ 914448 w 2428875"/>
                <a:gd name="connsiteY7" fmla="*/ 1625451 h 1619250"/>
                <a:gd name="connsiteX8" fmla="*/ 986180 w 2428875"/>
                <a:gd name="connsiteY8" fmla="*/ 1595780 h 1619250"/>
                <a:gd name="connsiteX9" fmla="*/ 2408577 w 2428875"/>
                <a:gd name="connsiteY9" fmla="*/ 173384 h 1619250"/>
                <a:gd name="connsiteX10" fmla="*/ 2408587 w 2428875"/>
                <a:gd name="connsiteY10" fmla="*/ 29718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28875" h="1619250">
                  <a:moveTo>
                    <a:pt x="2408587" y="29718"/>
                  </a:moveTo>
                  <a:cubicBezTo>
                    <a:pt x="2368963" y="-9906"/>
                    <a:pt x="2304545" y="-9906"/>
                    <a:pt x="2264921" y="29718"/>
                  </a:cubicBezTo>
                  <a:lnTo>
                    <a:pt x="914457" y="1380182"/>
                  </a:lnTo>
                  <a:lnTo>
                    <a:pt x="173384" y="639318"/>
                  </a:lnTo>
                  <a:cubicBezTo>
                    <a:pt x="133760" y="599694"/>
                    <a:pt x="69342" y="599694"/>
                    <a:pt x="29718" y="639318"/>
                  </a:cubicBezTo>
                  <a:cubicBezTo>
                    <a:pt x="-9906" y="678942"/>
                    <a:pt x="-9906" y="743360"/>
                    <a:pt x="29718" y="782984"/>
                  </a:cubicBezTo>
                  <a:lnTo>
                    <a:pt x="842515" y="1595780"/>
                  </a:lnTo>
                  <a:cubicBezTo>
                    <a:pt x="862432" y="1615488"/>
                    <a:pt x="888435" y="1625451"/>
                    <a:pt x="914448" y="1625451"/>
                  </a:cubicBezTo>
                  <a:cubicBezTo>
                    <a:pt x="940460" y="1625451"/>
                    <a:pt x="966464" y="1615497"/>
                    <a:pt x="986180" y="1595780"/>
                  </a:cubicBezTo>
                  <a:lnTo>
                    <a:pt x="2408577" y="173384"/>
                  </a:lnTo>
                  <a:cubicBezTo>
                    <a:pt x="2448211" y="133750"/>
                    <a:pt x="2448211" y="69342"/>
                    <a:pt x="2408587" y="2971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IBM Plex Sans"/>
                <a:ea typeface="+mn-ea"/>
                <a:cs typeface="+mn-cs"/>
              </a:endParaRPr>
            </a:p>
          </p:txBody>
        </p:sp>
        <p:sp>
          <p:nvSpPr>
            <p:cNvPr id="37" name="Freeform 36">
              <a:extLst>
                <a:ext uri="{FF2B5EF4-FFF2-40B4-BE49-F238E27FC236}">
                  <a16:creationId xmlns:a16="http://schemas.microsoft.com/office/drawing/2014/main" id="{52AFF4F5-DC3E-334E-83F9-79907F28C034}"/>
                </a:ext>
              </a:extLst>
            </p:cNvPr>
            <p:cNvSpPr/>
            <p:nvPr/>
          </p:nvSpPr>
          <p:spPr>
            <a:xfrm>
              <a:off x="3962400" y="990602"/>
              <a:ext cx="4267200" cy="4867275"/>
            </a:xfrm>
            <a:custGeom>
              <a:avLst/>
              <a:gdLst>
                <a:gd name="connsiteX0" fmla="*/ 4194658 w 4267200"/>
                <a:gd name="connsiteY0" fmla="*/ 613865 h 4867275"/>
                <a:gd name="connsiteX1" fmla="*/ 2162661 w 4267200"/>
                <a:gd name="connsiteY1" fmla="*/ 4265 h 4867275"/>
                <a:gd name="connsiteX2" fmla="*/ 2104339 w 4267200"/>
                <a:gd name="connsiteY2" fmla="*/ 4265 h 4867275"/>
                <a:gd name="connsiteX3" fmla="*/ 72342 w 4267200"/>
                <a:gd name="connsiteY3" fmla="*/ 613865 h 4867275"/>
                <a:gd name="connsiteX4" fmla="*/ 0 w 4267200"/>
                <a:gd name="connsiteY4" fmla="*/ 711201 h 4867275"/>
                <a:gd name="connsiteX5" fmla="*/ 0 w 4267200"/>
                <a:gd name="connsiteY5" fmla="*/ 2946404 h 4867275"/>
                <a:gd name="connsiteX6" fmla="*/ 2103530 w 4267200"/>
                <a:gd name="connsiteY6" fmla="*/ 4872331 h 4867275"/>
                <a:gd name="connsiteX7" fmla="*/ 2133600 w 4267200"/>
                <a:gd name="connsiteY7" fmla="*/ 4876798 h 4867275"/>
                <a:gd name="connsiteX8" fmla="*/ 2163671 w 4267200"/>
                <a:gd name="connsiteY8" fmla="*/ 4872331 h 4867275"/>
                <a:gd name="connsiteX9" fmla="*/ 4267200 w 4267200"/>
                <a:gd name="connsiteY9" fmla="*/ 2946395 h 4867275"/>
                <a:gd name="connsiteX10" fmla="*/ 4267200 w 4267200"/>
                <a:gd name="connsiteY10" fmla="*/ 711201 h 4867275"/>
                <a:gd name="connsiteX11" fmla="*/ 4194658 w 4267200"/>
                <a:gd name="connsiteY11" fmla="*/ 613865 h 4867275"/>
                <a:gd name="connsiteX12" fmla="*/ 4064003 w 4267200"/>
                <a:gd name="connsiteY12" fmla="*/ 2946395 h 4867275"/>
                <a:gd name="connsiteX13" fmla="*/ 2133600 w 4267200"/>
                <a:gd name="connsiteY13" fmla="*/ 4668715 h 4867275"/>
                <a:gd name="connsiteX14" fmla="*/ 203197 w 4267200"/>
                <a:gd name="connsiteY14" fmla="*/ 2946395 h 4867275"/>
                <a:gd name="connsiteX15" fmla="*/ 203197 w 4267200"/>
                <a:gd name="connsiteY15" fmla="*/ 786791 h 4867275"/>
                <a:gd name="connsiteX16" fmla="*/ 2133600 w 4267200"/>
                <a:gd name="connsiteY16" fmla="*/ 207671 h 4867275"/>
                <a:gd name="connsiteX17" fmla="*/ 4064003 w 4267200"/>
                <a:gd name="connsiteY17" fmla="*/ 786791 h 4867275"/>
                <a:gd name="connsiteX18" fmla="*/ 4064003 w 4267200"/>
                <a:gd name="connsiteY18" fmla="*/ 2946395 h 486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67200" h="4867275">
                  <a:moveTo>
                    <a:pt x="4194658" y="613865"/>
                  </a:moveTo>
                  <a:lnTo>
                    <a:pt x="2162661" y="4265"/>
                  </a:lnTo>
                  <a:cubicBezTo>
                    <a:pt x="2143563" y="-1422"/>
                    <a:pt x="2123447" y="-1422"/>
                    <a:pt x="2104339" y="4265"/>
                  </a:cubicBezTo>
                  <a:lnTo>
                    <a:pt x="72342" y="613865"/>
                  </a:lnTo>
                  <a:cubicBezTo>
                    <a:pt x="29461" y="626666"/>
                    <a:pt x="0" y="666290"/>
                    <a:pt x="0" y="711201"/>
                  </a:cubicBezTo>
                  <a:lnTo>
                    <a:pt x="0" y="2946404"/>
                  </a:lnTo>
                  <a:cubicBezTo>
                    <a:pt x="0" y="3844955"/>
                    <a:pt x="1369971" y="4644140"/>
                    <a:pt x="2103530" y="4872331"/>
                  </a:cubicBezTo>
                  <a:cubicBezTo>
                    <a:pt x="2113283" y="4875379"/>
                    <a:pt x="2123447" y="4876798"/>
                    <a:pt x="2133600" y="4876798"/>
                  </a:cubicBezTo>
                  <a:cubicBezTo>
                    <a:pt x="2143754" y="4876798"/>
                    <a:pt x="2153917" y="4875379"/>
                    <a:pt x="2163671" y="4872331"/>
                  </a:cubicBezTo>
                  <a:cubicBezTo>
                    <a:pt x="2897229" y="4643931"/>
                    <a:pt x="4267200" y="3844945"/>
                    <a:pt x="4267200" y="2946395"/>
                  </a:cubicBezTo>
                  <a:lnTo>
                    <a:pt x="4267200" y="711201"/>
                  </a:lnTo>
                  <a:cubicBezTo>
                    <a:pt x="4267200" y="666290"/>
                    <a:pt x="4237740" y="626867"/>
                    <a:pt x="4194658" y="613865"/>
                  </a:cubicBezTo>
                  <a:close/>
                  <a:moveTo>
                    <a:pt x="4064003" y="2946395"/>
                  </a:moveTo>
                  <a:cubicBezTo>
                    <a:pt x="4064003" y="3659827"/>
                    <a:pt x="2933605" y="4410044"/>
                    <a:pt x="2133600" y="4668715"/>
                  </a:cubicBezTo>
                  <a:cubicBezTo>
                    <a:pt x="1333605" y="4410044"/>
                    <a:pt x="203197" y="3659827"/>
                    <a:pt x="203197" y="2946395"/>
                  </a:cubicBezTo>
                  <a:lnTo>
                    <a:pt x="203197" y="786791"/>
                  </a:lnTo>
                  <a:lnTo>
                    <a:pt x="2133600" y="207671"/>
                  </a:lnTo>
                  <a:lnTo>
                    <a:pt x="4064003" y="786791"/>
                  </a:lnTo>
                  <a:lnTo>
                    <a:pt x="4064003" y="2946395"/>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IBM Plex Sans"/>
                <a:ea typeface="+mn-ea"/>
                <a:cs typeface="+mn-cs"/>
              </a:endParaRPr>
            </a:p>
          </p:txBody>
        </p:sp>
      </p:grpSp>
      <p:sp>
        <p:nvSpPr>
          <p:cNvPr id="20" name="Slide Number Placeholder 2">
            <a:extLst>
              <a:ext uri="{FF2B5EF4-FFF2-40B4-BE49-F238E27FC236}">
                <a16:creationId xmlns:a16="http://schemas.microsoft.com/office/drawing/2014/main" id="{C75574C3-B99A-6F44-8FF3-528BC12D51B5}"/>
              </a:ext>
            </a:extLst>
          </p:cNvPr>
          <p:cNvSpPr txBox="1">
            <a:spLocks/>
          </p:cNvSpPr>
          <p:nvPr/>
        </p:nvSpPr>
        <p:spPr>
          <a:xfrm>
            <a:off x="6858000" y="4826480"/>
            <a:ext cx="2057400" cy="137160"/>
          </a:xfr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3FD999D4-B456-9943-89B7-30D56181CE18}" type="slidenum">
              <a:rPr kumimoji="0" lang="en-US" sz="600" b="0" i="0" u="none" strike="noStrike" kern="1200" cap="none" spc="0" normalizeH="0" baseline="0" noProof="0" smtClean="0">
                <a:ln>
                  <a:noFill/>
                </a:ln>
                <a:solidFill>
                  <a:srgbClr val="000000"/>
                </a:solidFill>
                <a:effectLst/>
                <a:uLnTx/>
                <a:uFillTx/>
                <a:latin typeface="IBM Plex Sans"/>
                <a:ea typeface="+mn-ea"/>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en-US" sz="600" b="0" i="0" u="none" strike="noStrike" kern="1200" cap="none" spc="0" normalizeH="0" baseline="0" noProof="0" dirty="0">
              <a:ln>
                <a:noFill/>
              </a:ln>
              <a:solidFill>
                <a:srgbClr val="000000"/>
              </a:solidFill>
              <a:effectLst/>
              <a:uLnTx/>
              <a:uFillTx/>
              <a:latin typeface="IBM Plex Sans"/>
              <a:ea typeface="+mn-ea"/>
              <a:cs typeface="Arial" charset="0"/>
            </a:endParaRPr>
          </a:p>
        </p:txBody>
      </p:sp>
      <p:pic>
        <p:nvPicPr>
          <p:cNvPr id="22" name="Picture 21">
            <a:extLst>
              <a:ext uri="{FF2B5EF4-FFF2-40B4-BE49-F238E27FC236}">
                <a16:creationId xmlns:a16="http://schemas.microsoft.com/office/drawing/2014/main" id="{41E0CEF4-CD07-4E41-A0F2-78997C3EEB58}"/>
              </a:ext>
            </a:extLst>
          </p:cNvPr>
          <p:cNvPicPr>
            <a:picLocks/>
          </p:cNvPicPr>
          <p:nvPr/>
        </p:nvPicPr>
        <p:blipFill>
          <a:blip r:embed="rId3" cstate="email">
            <a:extLst>
              <a:ext uri="{28A0092B-C50C-407E-A947-70E740481C1C}">
                <a14:useLocalDpi xmlns:a14="http://schemas.microsoft.com/office/drawing/2010/main"/>
              </a:ext>
            </a:extLst>
          </a:blip>
          <a:stretch>
            <a:fillRect/>
          </a:stretch>
        </p:blipFill>
        <p:spPr>
          <a:xfrm>
            <a:off x="6855355" y="-8229"/>
            <a:ext cx="1097280" cy="2011680"/>
          </a:xfrm>
          <a:prstGeom prst="rect">
            <a:avLst/>
          </a:prstGeom>
        </p:spPr>
      </p:pic>
      <p:pic>
        <p:nvPicPr>
          <p:cNvPr id="28" name="Picture 27">
            <a:extLst>
              <a:ext uri="{FF2B5EF4-FFF2-40B4-BE49-F238E27FC236}">
                <a16:creationId xmlns:a16="http://schemas.microsoft.com/office/drawing/2014/main" id="{E35B68BE-8F76-42A2-B3DB-8435BB9E822B}"/>
              </a:ext>
            </a:extLst>
          </p:cNvPr>
          <p:cNvPicPr>
            <a:picLocks/>
          </p:cNvPicPr>
          <p:nvPr/>
        </p:nvPicPr>
        <p:blipFill>
          <a:blip r:embed="rId4" cstate="email">
            <a:extLst>
              <a:ext uri="{28A0092B-C50C-407E-A947-70E740481C1C}">
                <a14:useLocalDpi xmlns:a14="http://schemas.microsoft.com/office/drawing/2010/main"/>
              </a:ext>
            </a:extLst>
          </a:blip>
          <a:stretch>
            <a:fillRect/>
          </a:stretch>
        </p:blipFill>
        <p:spPr>
          <a:xfrm>
            <a:off x="8002730" y="-8229"/>
            <a:ext cx="1097280" cy="2011680"/>
          </a:xfrm>
          <a:prstGeom prst="rect">
            <a:avLst/>
          </a:prstGeom>
        </p:spPr>
      </p:pic>
      <p:pic>
        <p:nvPicPr>
          <p:cNvPr id="32" name="Picture 31">
            <a:extLst>
              <a:ext uri="{FF2B5EF4-FFF2-40B4-BE49-F238E27FC236}">
                <a16:creationId xmlns:a16="http://schemas.microsoft.com/office/drawing/2014/main" id="{1C052C1B-52C4-49F9-88E0-6BF494F4C03E}"/>
              </a:ext>
            </a:extLst>
          </p:cNvPr>
          <p:cNvPicPr>
            <a:picLocks/>
          </p:cNvPicPr>
          <p:nvPr/>
        </p:nvPicPr>
        <p:blipFill>
          <a:blip r:embed="rId5" cstate="email">
            <a:extLst>
              <a:ext uri="{28A0092B-C50C-407E-A947-70E740481C1C}">
                <a14:useLocalDpi xmlns:a14="http://schemas.microsoft.com/office/drawing/2010/main"/>
              </a:ext>
            </a:extLst>
          </a:blip>
          <a:stretch>
            <a:fillRect/>
          </a:stretch>
        </p:blipFill>
        <p:spPr>
          <a:xfrm>
            <a:off x="4560605" y="-8229"/>
            <a:ext cx="1097280" cy="2011680"/>
          </a:xfrm>
          <a:prstGeom prst="rect">
            <a:avLst/>
          </a:prstGeom>
        </p:spPr>
      </p:pic>
      <p:pic>
        <p:nvPicPr>
          <p:cNvPr id="38" name="Picture 37">
            <a:extLst>
              <a:ext uri="{FF2B5EF4-FFF2-40B4-BE49-F238E27FC236}">
                <a16:creationId xmlns:a16="http://schemas.microsoft.com/office/drawing/2014/main" id="{6417FD8F-F20D-4B60-BB5D-1E0DC1DE07DF}"/>
              </a:ext>
            </a:extLst>
          </p:cNvPr>
          <p:cNvPicPr>
            <a:picLocks/>
          </p:cNvPicPr>
          <p:nvPr/>
        </p:nvPicPr>
        <p:blipFill>
          <a:blip r:embed="rId6" cstate="email">
            <a:extLst>
              <a:ext uri="{28A0092B-C50C-407E-A947-70E740481C1C}">
                <a14:useLocalDpi xmlns:a14="http://schemas.microsoft.com/office/drawing/2010/main"/>
              </a:ext>
            </a:extLst>
          </a:blip>
          <a:stretch>
            <a:fillRect/>
          </a:stretch>
        </p:blipFill>
        <p:spPr>
          <a:xfrm>
            <a:off x="5707980" y="-8229"/>
            <a:ext cx="1097280" cy="2011680"/>
          </a:xfrm>
          <a:prstGeom prst="rect">
            <a:avLst/>
          </a:prstGeom>
        </p:spPr>
      </p:pic>
    </p:spTree>
    <p:extLst>
      <p:ext uri="{BB962C8B-B14F-4D97-AF65-F5344CB8AC3E}">
        <p14:creationId xmlns:p14="http://schemas.microsoft.com/office/powerpoint/2010/main" val="21420917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 name="Rectangle 141">
            <a:extLst>
              <a:ext uri="{FF2B5EF4-FFF2-40B4-BE49-F238E27FC236}">
                <a16:creationId xmlns:a16="http://schemas.microsoft.com/office/drawing/2014/main" id="{06054FDE-FC83-DD40-875B-C4983BB9DE97}"/>
              </a:ext>
            </a:extLst>
          </p:cNvPr>
          <p:cNvSpPr/>
          <p:nvPr/>
        </p:nvSpPr>
        <p:spPr>
          <a:xfrm>
            <a:off x="-1" y="8930"/>
            <a:ext cx="9144001" cy="1448395"/>
          </a:xfrm>
          <a:prstGeom prst="rect">
            <a:avLst/>
          </a:prstGeom>
          <a:solidFill>
            <a:srgbClr val="0064FF"/>
          </a:solidFill>
        </p:spPr>
        <p:txBody>
          <a:bodyPr wrap="square" lIns="0" tIns="0" rIns="0" bIns="0" rtlCol="0" anchor="ctr">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FFFFFF"/>
              </a:solidFill>
              <a:effectLst/>
              <a:uLnTx/>
              <a:uFillTx/>
              <a:latin typeface="Arial"/>
              <a:ea typeface="+mn-ea"/>
              <a:cs typeface="Arial"/>
            </a:endParaRPr>
          </a:p>
        </p:txBody>
      </p:sp>
      <p:graphicFrame>
        <p:nvGraphicFramePr>
          <p:cNvPr id="5" name="Object 4" hidden="1">
            <a:extLst>
              <a:ext uri="{FF2B5EF4-FFF2-40B4-BE49-F238E27FC236}">
                <a16:creationId xmlns:a16="http://schemas.microsoft.com/office/drawing/2014/main" id="{228C7B6F-1F62-1248-9501-7D139ACD2DE0}"/>
              </a:ext>
            </a:extLst>
          </p:cNvPr>
          <p:cNvGraphicFramePr>
            <a:graphicFrameLocks noChangeAspect="1"/>
          </p:cNvGraphicFramePr>
          <p:nvPr>
            <p:custDataLst>
              <p:tags r:id="rId2"/>
            </p:custDataLst>
          </p:nvPr>
        </p:nvGraphicFramePr>
        <p:xfrm>
          <a:off x="2383" y="1862"/>
          <a:ext cx="1190" cy="1190"/>
        </p:xfrm>
        <a:graphic>
          <a:graphicData uri="http://schemas.openxmlformats.org/presentationml/2006/ole">
            <mc:AlternateContent xmlns:mc="http://schemas.openxmlformats.org/markup-compatibility/2006">
              <mc:Choice xmlns:v="urn:schemas-microsoft-com:vml" Requires="v">
                <p:oleObj spid="_x0000_s6173"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228C7B6F-1F62-1248-9501-7D139ACD2DE0}"/>
                          </a:ext>
                        </a:extLst>
                      </p:cNvPr>
                      <p:cNvPicPr/>
                      <p:nvPr/>
                    </p:nvPicPr>
                    <p:blipFill>
                      <a:blip r:embed="rId7"/>
                      <a:stretch>
                        <a:fillRect/>
                      </a:stretch>
                    </p:blipFill>
                    <p:spPr>
                      <a:xfrm>
                        <a:off x="2383" y="1862"/>
                        <a:ext cx="1190"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8EF021-0B27-3244-9698-95FABE417096}"/>
              </a:ext>
            </a:extLst>
          </p:cNvPr>
          <p:cNvSpPr/>
          <p:nvPr>
            <p:custDataLst>
              <p:tags r:id="rId3"/>
            </p:custDataLst>
          </p:nvPr>
        </p:nvSpPr>
        <p:spPr bwMode="auto">
          <a:xfrm>
            <a:off x="1191" y="671"/>
            <a:ext cx="119032" cy="119032"/>
          </a:xfrm>
          <a:prstGeom prst="rect">
            <a:avLst/>
          </a:prstGeom>
          <a:noFill/>
          <a:ln w="6350" cap="rnd"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685595" rtl="0" eaLnBrk="1" fontAlgn="base" latinLnBrk="0" hangingPunct="1">
              <a:lnSpc>
                <a:spcPct val="100000"/>
              </a:lnSpc>
              <a:spcBef>
                <a:spcPts val="450"/>
              </a:spcBef>
              <a:spcAft>
                <a:spcPct val="0"/>
              </a:spcAft>
              <a:buClr>
                <a:srgbClr val="000000"/>
              </a:buClr>
              <a:buSzTx/>
              <a:buFontTx/>
              <a:buNone/>
              <a:tabLst/>
              <a:defRPr/>
            </a:pPr>
            <a:endParaRPr kumimoji="0" lang="en-US" sz="1499" b="0" i="0" u="none" strike="noStrike" kern="1200" cap="none" spc="0" normalizeH="0" baseline="0" noProof="0" dirty="0">
              <a:ln>
                <a:noFill/>
              </a:ln>
              <a:solidFill>
                <a:srgbClr val="000000"/>
              </a:solidFill>
              <a:effectLst/>
              <a:uLnTx/>
              <a:uFillTx/>
              <a:latin typeface="Arial" pitchFamily="34" charset="0"/>
              <a:ea typeface="+mn-ea"/>
              <a:cs typeface="Arial" pitchFamily="34" charset="0"/>
              <a:sym typeface="Arial" panose="020B0604020202020204" pitchFamily="34" charset="0"/>
            </a:endParaRPr>
          </a:p>
        </p:txBody>
      </p:sp>
      <p:sp>
        <p:nvSpPr>
          <p:cNvPr id="2" name="Title 1">
            <a:extLst>
              <a:ext uri="{FF2B5EF4-FFF2-40B4-BE49-F238E27FC236}">
                <a16:creationId xmlns:a16="http://schemas.microsoft.com/office/drawing/2014/main" id="{6D6AFCF1-4DA7-B24C-B6B3-F94EFCA10057}"/>
              </a:ext>
            </a:extLst>
          </p:cNvPr>
          <p:cNvSpPr>
            <a:spLocks noGrp="1"/>
          </p:cNvSpPr>
          <p:nvPr>
            <p:ph type="title"/>
          </p:nvPr>
        </p:nvSpPr>
        <p:spPr>
          <a:xfrm>
            <a:off x="235744" y="179854"/>
            <a:ext cx="6337748" cy="1063159"/>
          </a:xfrm>
        </p:spPr>
        <p:txBody>
          <a:bodyPr>
            <a:normAutofit fontScale="90000"/>
          </a:bodyPr>
          <a:lstStyle/>
          <a:p>
            <a:r>
              <a:rPr lang="en-US" dirty="0">
                <a:solidFill>
                  <a:schemeClr val="bg2"/>
                </a:solidFill>
                <a:latin typeface="IBM Plex Sans Medium" panose="020B0503050203000203" pitchFamily="34" charset="0"/>
              </a:rPr>
              <a:t>Maximo Worker Insights combines latest sensor technologies with analytics to provide insights and monitor potential risks </a:t>
            </a:r>
            <a:br>
              <a:rPr lang="en-US" dirty="0">
                <a:latin typeface="IBM Plex Sans Medium" panose="020B0503050203000203" pitchFamily="34" charset="0"/>
              </a:rPr>
            </a:br>
            <a:endParaRPr lang="en-US" dirty="0">
              <a:latin typeface="IBM Plex Sans Medium" panose="020B0503050203000203" pitchFamily="34" charset="0"/>
            </a:endParaRPr>
          </a:p>
        </p:txBody>
      </p:sp>
      <p:sp>
        <p:nvSpPr>
          <p:cNvPr id="74" name="Rectangle 73">
            <a:extLst>
              <a:ext uri="{FF2B5EF4-FFF2-40B4-BE49-F238E27FC236}">
                <a16:creationId xmlns:a16="http://schemas.microsoft.com/office/drawing/2014/main" id="{B7A14372-05AB-B447-A5D3-BD113308A22D}"/>
              </a:ext>
            </a:extLst>
          </p:cNvPr>
          <p:cNvSpPr/>
          <p:nvPr/>
        </p:nvSpPr>
        <p:spPr>
          <a:xfrm>
            <a:off x="246303" y="4671577"/>
            <a:ext cx="5942052" cy="329184"/>
          </a:xfrm>
          <a:prstGeom prst="rect">
            <a:avLst/>
          </a:prstGeom>
          <a:solidFill>
            <a:srgbClr val="F3F3F3"/>
          </a:solidFill>
          <a:ln w="12700" cap="flat" cmpd="sng" algn="ctr">
            <a:noFill/>
            <a:prstDash val="solid"/>
            <a:miter lim="800000"/>
          </a:ln>
          <a:effectLst/>
        </p:spPr>
        <p:txBody>
          <a:bodyPr rot="0" spcFirstLastPara="0" vertOverflow="overflow" horzOverflow="overflow" vert="horz" wrap="square" lIns="57135" tIns="28568" rIns="57135" bIns="28568" numCol="1" spcCol="0" rtlCol="0" fromWordArt="0" anchor="ctr" anchorCtr="0" forceAA="0" compatLnSpc="1">
            <a:prstTxWarp prst="textNoShape">
              <a:avLst/>
            </a:prstTxWarp>
            <a:noAutofit/>
          </a:bodyPr>
          <a:lstStyle/>
          <a:p>
            <a:pPr marL="0" marR="0" lvl="0" indent="0" algn="ctr" defTabSz="685567" rtl="0" eaLnBrk="1" fontAlgn="auto" latinLnBrk="0" hangingPunct="1">
              <a:lnSpc>
                <a:spcPct val="100000"/>
              </a:lnSpc>
              <a:spcBef>
                <a:spcPts val="0"/>
              </a:spcBef>
              <a:spcAft>
                <a:spcPts val="0"/>
              </a:spcAft>
              <a:buClrTx/>
              <a:buSzTx/>
              <a:buFontTx/>
              <a:buNone/>
              <a:tabLst/>
              <a:defRPr/>
            </a:pPr>
            <a:endParaRPr kumimoji="0" lang="en-US" sz="1349" b="0" i="0" u="none" strike="noStrike" kern="0" cap="none" spc="0" normalizeH="0" baseline="0" noProof="0" dirty="0">
              <a:ln>
                <a:noFill/>
              </a:ln>
              <a:solidFill>
                <a:srgbClr val="051243"/>
              </a:solidFill>
              <a:effectLst/>
              <a:uLnTx/>
              <a:uFillTx/>
              <a:latin typeface="Arial" panose="020B0604020202020204"/>
              <a:ea typeface="+mn-ea"/>
              <a:cs typeface="Arial" pitchFamily="34" charset="0"/>
            </a:endParaRPr>
          </a:p>
        </p:txBody>
      </p:sp>
      <p:sp>
        <p:nvSpPr>
          <p:cNvPr id="75" name="TextBox 74">
            <a:extLst>
              <a:ext uri="{FF2B5EF4-FFF2-40B4-BE49-F238E27FC236}">
                <a16:creationId xmlns:a16="http://schemas.microsoft.com/office/drawing/2014/main" id="{3824AD68-39FF-8C43-845D-1CE3CA935957}"/>
              </a:ext>
            </a:extLst>
          </p:cNvPr>
          <p:cNvSpPr txBox="1"/>
          <p:nvPr/>
        </p:nvSpPr>
        <p:spPr>
          <a:xfrm>
            <a:off x="1753541" y="4766851"/>
            <a:ext cx="2429475" cy="268286"/>
          </a:xfrm>
          <a:prstGeom prst="rect">
            <a:avLst/>
          </a:prstGeom>
        </p:spPr>
        <p:txBody>
          <a:bodyPr wrap="square" lIns="0" tIns="0" rIns="0" bIns="0" rtlCol="0">
            <a:noAutofit/>
          </a:bodyPr>
          <a:lstStyle/>
          <a:p>
            <a:pPr marL="0" marR="0" lvl="0" indent="0" algn="l" defTabSz="685567" rtl="0" eaLnBrk="1" fontAlgn="auto" latinLnBrk="0" hangingPunct="1">
              <a:lnSpc>
                <a:spcPct val="105000"/>
              </a:lnSpc>
              <a:spcBef>
                <a:spcPts val="625"/>
              </a:spcBef>
              <a:spcAft>
                <a:spcPts val="0"/>
              </a:spcAft>
              <a:buClrTx/>
              <a:buSzTx/>
              <a:buFontTx/>
              <a:buNone/>
              <a:tabLst/>
              <a:defRPr/>
            </a:pPr>
            <a:r>
              <a:rPr kumimoji="0" lang="en-US" sz="1000" b="0" i="0" u="none" strike="noStrike" kern="1200" cap="none" spc="0" normalizeH="0" baseline="0" noProof="0" dirty="0">
                <a:ln>
                  <a:noFill/>
                </a:ln>
                <a:solidFill>
                  <a:srgbClr val="F3F3F3">
                    <a:lumMod val="50000"/>
                  </a:srgbClr>
                </a:solidFill>
                <a:effectLst/>
                <a:uLnTx/>
                <a:uFillTx/>
                <a:latin typeface="IBM Plex Sans" charset="0"/>
                <a:ea typeface="IBM Plex Sans" charset="0"/>
                <a:cs typeface="IBM Plex Sans" charset="0"/>
              </a:rPr>
              <a:t>Bluetooth Beacons and Smart Phones</a:t>
            </a:r>
          </a:p>
        </p:txBody>
      </p:sp>
      <p:sp>
        <p:nvSpPr>
          <p:cNvPr id="76" name="TextBox 75">
            <a:extLst>
              <a:ext uri="{FF2B5EF4-FFF2-40B4-BE49-F238E27FC236}">
                <a16:creationId xmlns:a16="http://schemas.microsoft.com/office/drawing/2014/main" id="{E02F2687-4CF9-F84B-BB1B-D3E47D0E3560}"/>
              </a:ext>
            </a:extLst>
          </p:cNvPr>
          <p:cNvSpPr txBox="1"/>
          <p:nvPr/>
        </p:nvSpPr>
        <p:spPr>
          <a:xfrm>
            <a:off x="4371025" y="4766851"/>
            <a:ext cx="1074575" cy="268286"/>
          </a:xfrm>
          <a:prstGeom prst="rect">
            <a:avLst/>
          </a:prstGeom>
        </p:spPr>
        <p:txBody>
          <a:bodyPr wrap="square" lIns="0" tIns="0" rIns="0" bIns="0" rtlCol="0">
            <a:noAutofit/>
          </a:bodyPr>
          <a:lstStyle/>
          <a:p>
            <a:pPr marL="0" marR="0" lvl="0" indent="0" algn="l" defTabSz="685567" rtl="0" eaLnBrk="1" fontAlgn="auto" latinLnBrk="0" hangingPunct="1">
              <a:lnSpc>
                <a:spcPct val="105000"/>
              </a:lnSpc>
              <a:spcBef>
                <a:spcPts val="625"/>
              </a:spcBef>
              <a:spcAft>
                <a:spcPts val="0"/>
              </a:spcAft>
              <a:buClrTx/>
              <a:buSzTx/>
              <a:buFontTx/>
              <a:buNone/>
              <a:tabLst/>
              <a:defRPr/>
            </a:pPr>
            <a:r>
              <a:rPr kumimoji="0" lang="en-US" sz="1000" b="0" i="0" u="none" strike="noStrike" kern="1200" cap="none" spc="0" normalizeH="0" baseline="0" noProof="0" dirty="0">
                <a:ln>
                  <a:noFill/>
                </a:ln>
                <a:solidFill>
                  <a:srgbClr val="F3F3F3">
                    <a:lumMod val="50000"/>
                  </a:srgbClr>
                </a:solidFill>
                <a:effectLst/>
                <a:uLnTx/>
                <a:uFillTx/>
                <a:latin typeface="IBM Plex Sans" charset="0"/>
                <a:ea typeface="IBM Plex Sans" charset="0"/>
                <a:cs typeface="IBM Plex Sans" charset="0"/>
              </a:rPr>
              <a:t>Wearables</a:t>
            </a:r>
          </a:p>
        </p:txBody>
      </p:sp>
      <p:graphicFrame>
        <p:nvGraphicFramePr>
          <p:cNvPr id="77" name="Table 76">
            <a:extLst>
              <a:ext uri="{FF2B5EF4-FFF2-40B4-BE49-F238E27FC236}">
                <a16:creationId xmlns:a16="http://schemas.microsoft.com/office/drawing/2014/main" id="{C80C0BFC-AEF5-844C-A3E9-70D13C52D65E}"/>
              </a:ext>
            </a:extLst>
          </p:cNvPr>
          <p:cNvGraphicFramePr>
            <a:graphicFrameLocks noGrp="1"/>
          </p:cNvGraphicFramePr>
          <p:nvPr/>
        </p:nvGraphicFramePr>
        <p:xfrm>
          <a:off x="171451" y="1909987"/>
          <a:ext cx="8851108" cy="2844221"/>
        </p:xfrm>
        <a:graphic>
          <a:graphicData uri="http://schemas.openxmlformats.org/drawingml/2006/table">
            <a:tbl>
              <a:tblPr firstRow="1" bandRow="1"/>
              <a:tblGrid>
                <a:gridCol w="1264444">
                  <a:extLst>
                    <a:ext uri="{9D8B030D-6E8A-4147-A177-3AD203B41FA5}">
                      <a16:colId xmlns:a16="http://schemas.microsoft.com/office/drawing/2014/main" val="3512515992"/>
                    </a:ext>
                  </a:extLst>
                </a:gridCol>
                <a:gridCol w="1264444">
                  <a:extLst>
                    <a:ext uri="{9D8B030D-6E8A-4147-A177-3AD203B41FA5}">
                      <a16:colId xmlns:a16="http://schemas.microsoft.com/office/drawing/2014/main" val="2816729449"/>
                    </a:ext>
                  </a:extLst>
                </a:gridCol>
                <a:gridCol w="1264444">
                  <a:extLst>
                    <a:ext uri="{9D8B030D-6E8A-4147-A177-3AD203B41FA5}">
                      <a16:colId xmlns:a16="http://schemas.microsoft.com/office/drawing/2014/main" val="2446625779"/>
                    </a:ext>
                  </a:extLst>
                </a:gridCol>
                <a:gridCol w="1264444">
                  <a:extLst>
                    <a:ext uri="{9D8B030D-6E8A-4147-A177-3AD203B41FA5}">
                      <a16:colId xmlns:a16="http://schemas.microsoft.com/office/drawing/2014/main" val="2364442495"/>
                    </a:ext>
                  </a:extLst>
                </a:gridCol>
                <a:gridCol w="1264444">
                  <a:extLst>
                    <a:ext uri="{9D8B030D-6E8A-4147-A177-3AD203B41FA5}">
                      <a16:colId xmlns:a16="http://schemas.microsoft.com/office/drawing/2014/main" val="503490958"/>
                    </a:ext>
                  </a:extLst>
                </a:gridCol>
                <a:gridCol w="1264444">
                  <a:extLst>
                    <a:ext uri="{9D8B030D-6E8A-4147-A177-3AD203B41FA5}">
                      <a16:colId xmlns:a16="http://schemas.microsoft.com/office/drawing/2014/main" val="3207988230"/>
                    </a:ext>
                  </a:extLst>
                </a:gridCol>
                <a:gridCol w="1264444">
                  <a:extLst>
                    <a:ext uri="{9D8B030D-6E8A-4147-A177-3AD203B41FA5}">
                      <a16:colId xmlns:a16="http://schemas.microsoft.com/office/drawing/2014/main" val="2554719660"/>
                    </a:ext>
                  </a:extLst>
                </a:gridCol>
              </a:tblGrid>
              <a:tr h="942730">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endParaRPr lang="en-US" sz="1000" dirty="0"/>
                    </a:p>
                  </a:txBody>
                  <a:tcPr marL="57135" marR="57135" marT="28568" marB="2856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endParaRPr lang="en-US" sz="1000" dirty="0"/>
                    </a:p>
                  </a:txBody>
                  <a:tcPr marL="57135" marR="57135" marT="28568" marB="2856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endParaRPr lang="en-US" sz="1000" dirty="0"/>
                    </a:p>
                  </a:txBody>
                  <a:tcPr marL="57135" marR="57135" marT="28568" marB="2856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endParaRPr lang="en-US" sz="1000" dirty="0"/>
                    </a:p>
                  </a:txBody>
                  <a:tcPr marL="57135" marR="57135" marT="28568" marB="2856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endParaRPr lang="en-US" sz="1000" dirty="0"/>
                    </a:p>
                  </a:txBody>
                  <a:tcPr marL="57135" marR="57135" marT="28568" marB="2856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endParaRPr lang="en-US" sz="1000" dirty="0"/>
                    </a:p>
                  </a:txBody>
                  <a:tcPr marL="57135" marR="57135" marT="28568" marB="2856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endParaRPr lang="en-US" sz="1000" dirty="0"/>
                    </a:p>
                  </a:txBody>
                  <a:tcPr marL="57135" marR="57135" marT="28568" marB="2856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8452308"/>
                  </a:ext>
                </a:extLst>
              </a:tr>
              <a:tr h="495965">
                <a:tc>
                  <a:txBody>
                    <a:bodyPr/>
                    <a:lstStyle>
                      <a:lvl1pPr marL="0" algn="l" defTabSz="1097303" rtl="0" eaLnBrk="1" latinLnBrk="0" hangingPunct="1">
                        <a:defRPr sz="2160" kern="1200">
                          <a:solidFill>
                            <a:schemeClr val="tx1"/>
                          </a:solidFill>
                          <a:latin typeface="Calibri" panose="020F0502020204030204"/>
                        </a:defRPr>
                      </a:lvl1pPr>
                      <a:lvl2pPr marL="548651" algn="l" defTabSz="1097303" rtl="0" eaLnBrk="1" latinLnBrk="0" hangingPunct="1">
                        <a:defRPr sz="2160" kern="1200">
                          <a:solidFill>
                            <a:schemeClr val="tx1"/>
                          </a:solidFill>
                          <a:latin typeface="Calibri" panose="020F0502020204030204"/>
                        </a:defRPr>
                      </a:lvl2pPr>
                      <a:lvl3pPr marL="1097303" algn="l" defTabSz="1097303" rtl="0" eaLnBrk="1" latinLnBrk="0" hangingPunct="1">
                        <a:defRPr sz="2160" kern="1200">
                          <a:solidFill>
                            <a:schemeClr val="tx1"/>
                          </a:solidFill>
                          <a:latin typeface="Calibri" panose="020F0502020204030204"/>
                        </a:defRPr>
                      </a:lvl3pPr>
                      <a:lvl4pPr marL="1645954" algn="l" defTabSz="1097303" rtl="0" eaLnBrk="1" latinLnBrk="0" hangingPunct="1">
                        <a:defRPr sz="2160" kern="1200">
                          <a:solidFill>
                            <a:schemeClr val="tx1"/>
                          </a:solidFill>
                          <a:latin typeface="Calibri" panose="020F0502020204030204"/>
                        </a:defRPr>
                      </a:lvl4pPr>
                      <a:lvl5pPr marL="2194604" algn="l" defTabSz="1097303" rtl="0" eaLnBrk="1" latinLnBrk="0" hangingPunct="1">
                        <a:defRPr sz="2160" kern="1200">
                          <a:solidFill>
                            <a:schemeClr val="tx1"/>
                          </a:solidFill>
                          <a:latin typeface="Calibri" panose="020F0502020204030204"/>
                        </a:defRPr>
                      </a:lvl5pPr>
                      <a:lvl6pPr marL="2743255" algn="l" defTabSz="1097303" rtl="0" eaLnBrk="1" latinLnBrk="0" hangingPunct="1">
                        <a:defRPr sz="2160" kern="1200">
                          <a:solidFill>
                            <a:schemeClr val="tx1"/>
                          </a:solidFill>
                          <a:latin typeface="Calibri" panose="020F0502020204030204"/>
                        </a:defRPr>
                      </a:lvl6pPr>
                      <a:lvl7pPr marL="3291906" algn="l" defTabSz="1097303" rtl="0" eaLnBrk="1" latinLnBrk="0" hangingPunct="1">
                        <a:defRPr sz="2160" kern="1200">
                          <a:solidFill>
                            <a:schemeClr val="tx1"/>
                          </a:solidFill>
                          <a:latin typeface="Calibri" panose="020F0502020204030204"/>
                        </a:defRPr>
                      </a:lvl7pPr>
                      <a:lvl8pPr marL="3840557" algn="l" defTabSz="1097303" rtl="0" eaLnBrk="1" latinLnBrk="0" hangingPunct="1">
                        <a:defRPr sz="2160" kern="1200">
                          <a:solidFill>
                            <a:schemeClr val="tx1"/>
                          </a:solidFill>
                          <a:latin typeface="Calibri" panose="020F0502020204030204"/>
                        </a:defRPr>
                      </a:lvl8pPr>
                      <a:lvl9pPr marL="4389208" algn="l" defTabSz="1097303" rtl="0" eaLnBrk="1" latinLnBrk="0" hangingPunct="1">
                        <a:defRPr sz="2160" kern="1200">
                          <a:solidFill>
                            <a:schemeClr val="tx1"/>
                          </a:solidFill>
                          <a:latin typeface="Calibri" panose="020F0502020204030204"/>
                        </a:defRPr>
                      </a:lvl9pPr>
                    </a:lstStyle>
                    <a:p>
                      <a:pPr algn="ctr">
                        <a:lnSpc>
                          <a:spcPct val="100000"/>
                        </a:lnSpc>
                      </a:pPr>
                      <a:r>
                        <a:rPr lang="en-GB" sz="1000" b="1" dirty="0">
                          <a:solidFill>
                            <a:srgbClr val="0F6DFF"/>
                          </a:solidFill>
                          <a:effectLst/>
                          <a:latin typeface="IBM Plex Sans" panose="020B0503050203000203" pitchFamily="34" charset="0"/>
                        </a:rPr>
                        <a:t>Social distancing scoring</a:t>
                      </a:r>
                    </a:p>
                  </a:txBody>
                  <a:tcPr marL="50195" marR="50195" marT="25097" marB="2509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7303" rtl="0" eaLnBrk="1" latinLnBrk="0" hangingPunct="1">
                        <a:defRPr sz="2160" kern="1200">
                          <a:solidFill>
                            <a:schemeClr val="tx1"/>
                          </a:solidFill>
                          <a:latin typeface="Calibri" panose="020F0502020204030204"/>
                        </a:defRPr>
                      </a:lvl1pPr>
                      <a:lvl2pPr marL="548651" algn="l" defTabSz="1097303" rtl="0" eaLnBrk="1" latinLnBrk="0" hangingPunct="1">
                        <a:defRPr sz="2160" kern="1200">
                          <a:solidFill>
                            <a:schemeClr val="tx1"/>
                          </a:solidFill>
                          <a:latin typeface="Calibri" panose="020F0502020204030204"/>
                        </a:defRPr>
                      </a:lvl2pPr>
                      <a:lvl3pPr marL="1097303" algn="l" defTabSz="1097303" rtl="0" eaLnBrk="1" latinLnBrk="0" hangingPunct="1">
                        <a:defRPr sz="2160" kern="1200">
                          <a:solidFill>
                            <a:schemeClr val="tx1"/>
                          </a:solidFill>
                          <a:latin typeface="Calibri" panose="020F0502020204030204"/>
                        </a:defRPr>
                      </a:lvl3pPr>
                      <a:lvl4pPr marL="1645954" algn="l" defTabSz="1097303" rtl="0" eaLnBrk="1" latinLnBrk="0" hangingPunct="1">
                        <a:defRPr sz="2160" kern="1200">
                          <a:solidFill>
                            <a:schemeClr val="tx1"/>
                          </a:solidFill>
                          <a:latin typeface="Calibri" panose="020F0502020204030204"/>
                        </a:defRPr>
                      </a:lvl4pPr>
                      <a:lvl5pPr marL="2194604" algn="l" defTabSz="1097303" rtl="0" eaLnBrk="1" latinLnBrk="0" hangingPunct="1">
                        <a:defRPr sz="2160" kern="1200">
                          <a:solidFill>
                            <a:schemeClr val="tx1"/>
                          </a:solidFill>
                          <a:latin typeface="Calibri" panose="020F0502020204030204"/>
                        </a:defRPr>
                      </a:lvl5pPr>
                      <a:lvl6pPr marL="2743255" algn="l" defTabSz="1097303" rtl="0" eaLnBrk="1" latinLnBrk="0" hangingPunct="1">
                        <a:defRPr sz="2160" kern="1200">
                          <a:solidFill>
                            <a:schemeClr val="tx1"/>
                          </a:solidFill>
                          <a:latin typeface="Calibri" panose="020F0502020204030204"/>
                        </a:defRPr>
                      </a:lvl6pPr>
                      <a:lvl7pPr marL="3291906" algn="l" defTabSz="1097303" rtl="0" eaLnBrk="1" latinLnBrk="0" hangingPunct="1">
                        <a:defRPr sz="2160" kern="1200">
                          <a:solidFill>
                            <a:schemeClr val="tx1"/>
                          </a:solidFill>
                          <a:latin typeface="Calibri" panose="020F0502020204030204"/>
                        </a:defRPr>
                      </a:lvl7pPr>
                      <a:lvl8pPr marL="3840557" algn="l" defTabSz="1097303" rtl="0" eaLnBrk="1" latinLnBrk="0" hangingPunct="1">
                        <a:defRPr sz="2160" kern="1200">
                          <a:solidFill>
                            <a:schemeClr val="tx1"/>
                          </a:solidFill>
                          <a:latin typeface="Calibri" panose="020F0502020204030204"/>
                        </a:defRPr>
                      </a:lvl8pPr>
                      <a:lvl9pPr marL="4389208" algn="l" defTabSz="1097303" rtl="0" eaLnBrk="1" latinLnBrk="0" hangingPunct="1">
                        <a:defRPr sz="2160" kern="1200">
                          <a:solidFill>
                            <a:schemeClr val="tx1"/>
                          </a:solidFill>
                          <a:latin typeface="Calibri" panose="020F0502020204030204"/>
                        </a:defRPr>
                      </a:lvl9pPr>
                    </a:lstStyle>
                    <a:p>
                      <a:pPr algn="ctr">
                        <a:lnSpc>
                          <a:spcPct val="100000"/>
                        </a:lnSpc>
                      </a:pPr>
                      <a:r>
                        <a:rPr lang="en-GB" sz="1000" b="1" dirty="0">
                          <a:solidFill>
                            <a:srgbClr val="0F6DFF"/>
                          </a:solidFill>
                          <a:effectLst/>
                          <a:latin typeface="IBM Plex Sans" panose="020B0503050203000203" pitchFamily="34" charset="0"/>
                        </a:rPr>
                        <a:t>Health monitoring</a:t>
                      </a:r>
                    </a:p>
                  </a:txBody>
                  <a:tcPr marL="50195" marR="50195" marT="25097" marB="2509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7303" rtl="0" eaLnBrk="1" latinLnBrk="0" hangingPunct="1">
                        <a:defRPr sz="2160" kern="1200">
                          <a:solidFill>
                            <a:schemeClr val="tx1"/>
                          </a:solidFill>
                          <a:latin typeface="Calibri" panose="020F0502020204030204"/>
                        </a:defRPr>
                      </a:lvl1pPr>
                      <a:lvl2pPr marL="548651" algn="l" defTabSz="1097303" rtl="0" eaLnBrk="1" latinLnBrk="0" hangingPunct="1">
                        <a:defRPr sz="2160" kern="1200">
                          <a:solidFill>
                            <a:schemeClr val="tx1"/>
                          </a:solidFill>
                          <a:latin typeface="Calibri" panose="020F0502020204030204"/>
                        </a:defRPr>
                      </a:lvl2pPr>
                      <a:lvl3pPr marL="1097303" algn="l" defTabSz="1097303" rtl="0" eaLnBrk="1" latinLnBrk="0" hangingPunct="1">
                        <a:defRPr sz="2160" kern="1200">
                          <a:solidFill>
                            <a:schemeClr val="tx1"/>
                          </a:solidFill>
                          <a:latin typeface="Calibri" panose="020F0502020204030204"/>
                        </a:defRPr>
                      </a:lvl3pPr>
                      <a:lvl4pPr marL="1645954" algn="l" defTabSz="1097303" rtl="0" eaLnBrk="1" latinLnBrk="0" hangingPunct="1">
                        <a:defRPr sz="2160" kern="1200">
                          <a:solidFill>
                            <a:schemeClr val="tx1"/>
                          </a:solidFill>
                          <a:latin typeface="Calibri" panose="020F0502020204030204"/>
                        </a:defRPr>
                      </a:lvl4pPr>
                      <a:lvl5pPr marL="2194604" algn="l" defTabSz="1097303" rtl="0" eaLnBrk="1" latinLnBrk="0" hangingPunct="1">
                        <a:defRPr sz="2160" kern="1200">
                          <a:solidFill>
                            <a:schemeClr val="tx1"/>
                          </a:solidFill>
                          <a:latin typeface="Calibri" panose="020F0502020204030204"/>
                        </a:defRPr>
                      </a:lvl5pPr>
                      <a:lvl6pPr marL="2743255" algn="l" defTabSz="1097303" rtl="0" eaLnBrk="1" latinLnBrk="0" hangingPunct="1">
                        <a:defRPr sz="2160" kern="1200">
                          <a:solidFill>
                            <a:schemeClr val="tx1"/>
                          </a:solidFill>
                          <a:latin typeface="Calibri" panose="020F0502020204030204"/>
                        </a:defRPr>
                      </a:lvl6pPr>
                      <a:lvl7pPr marL="3291906" algn="l" defTabSz="1097303" rtl="0" eaLnBrk="1" latinLnBrk="0" hangingPunct="1">
                        <a:defRPr sz="2160" kern="1200">
                          <a:solidFill>
                            <a:schemeClr val="tx1"/>
                          </a:solidFill>
                          <a:latin typeface="Calibri" panose="020F0502020204030204"/>
                        </a:defRPr>
                      </a:lvl7pPr>
                      <a:lvl8pPr marL="3840557" algn="l" defTabSz="1097303" rtl="0" eaLnBrk="1" latinLnBrk="0" hangingPunct="1">
                        <a:defRPr sz="2160" kern="1200">
                          <a:solidFill>
                            <a:schemeClr val="tx1"/>
                          </a:solidFill>
                          <a:latin typeface="Calibri" panose="020F0502020204030204"/>
                        </a:defRPr>
                      </a:lvl8pPr>
                      <a:lvl9pPr marL="4389208" algn="l" defTabSz="1097303" rtl="0" eaLnBrk="1" latinLnBrk="0" hangingPunct="1">
                        <a:defRPr sz="2160" kern="1200">
                          <a:solidFill>
                            <a:schemeClr val="tx1"/>
                          </a:solidFill>
                          <a:latin typeface="Calibri" panose="020F0502020204030204"/>
                        </a:defRPr>
                      </a:lvl9pPr>
                    </a:lstStyle>
                    <a:p>
                      <a:pPr marL="0" marR="0" lvl="0" indent="0" algn="ctr" defTabSz="914218" rtl="0" eaLnBrk="1" fontAlgn="auto" latinLnBrk="0" hangingPunct="1">
                        <a:lnSpc>
                          <a:spcPct val="100000"/>
                        </a:lnSpc>
                        <a:spcBef>
                          <a:spcPts val="0"/>
                        </a:spcBef>
                        <a:spcAft>
                          <a:spcPts val="0"/>
                        </a:spcAft>
                        <a:buClrTx/>
                        <a:buSzTx/>
                        <a:buFontTx/>
                        <a:buNone/>
                        <a:tabLst/>
                        <a:defRPr/>
                      </a:pPr>
                      <a:r>
                        <a:rPr lang="en-GB" sz="1000" b="1" dirty="0">
                          <a:solidFill>
                            <a:srgbClr val="0F6DFF"/>
                          </a:solidFill>
                          <a:effectLst/>
                          <a:latin typeface="IBM Plex Sans" panose="020B0503050203000203" pitchFamily="34" charset="0"/>
                        </a:rPr>
                        <a:t>Occupancy monitoring</a:t>
                      </a:r>
                    </a:p>
                  </a:txBody>
                  <a:tcPr marL="50195" marR="50195" marT="25097" marB="2509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7303" rtl="0" eaLnBrk="1" latinLnBrk="0" hangingPunct="1">
                        <a:defRPr sz="2160" kern="1200">
                          <a:solidFill>
                            <a:schemeClr val="tx1"/>
                          </a:solidFill>
                          <a:latin typeface="Calibri" panose="020F0502020204030204"/>
                        </a:defRPr>
                      </a:lvl1pPr>
                      <a:lvl2pPr marL="548651" algn="l" defTabSz="1097303" rtl="0" eaLnBrk="1" latinLnBrk="0" hangingPunct="1">
                        <a:defRPr sz="2160" kern="1200">
                          <a:solidFill>
                            <a:schemeClr val="tx1"/>
                          </a:solidFill>
                          <a:latin typeface="Calibri" panose="020F0502020204030204"/>
                        </a:defRPr>
                      </a:lvl2pPr>
                      <a:lvl3pPr marL="1097303" algn="l" defTabSz="1097303" rtl="0" eaLnBrk="1" latinLnBrk="0" hangingPunct="1">
                        <a:defRPr sz="2160" kern="1200">
                          <a:solidFill>
                            <a:schemeClr val="tx1"/>
                          </a:solidFill>
                          <a:latin typeface="Calibri" panose="020F0502020204030204"/>
                        </a:defRPr>
                      </a:lvl3pPr>
                      <a:lvl4pPr marL="1645954" algn="l" defTabSz="1097303" rtl="0" eaLnBrk="1" latinLnBrk="0" hangingPunct="1">
                        <a:defRPr sz="2160" kern="1200">
                          <a:solidFill>
                            <a:schemeClr val="tx1"/>
                          </a:solidFill>
                          <a:latin typeface="Calibri" panose="020F0502020204030204"/>
                        </a:defRPr>
                      </a:lvl4pPr>
                      <a:lvl5pPr marL="2194604" algn="l" defTabSz="1097303" rtl="0" eaLnBrk="1" latinLnBrk="0" hangingPunct="1">
                        <a:defRPr sz="2160" kern="1200">
                          <a:solidFill>
                            <a:schemeClr val="tx1"/>
                          </a:solidFill>
                          <a:latin typeface="Calibri" panose="020F0502020204030204"/>
                        </a:defRPr>
                      </a:lvl5pPr>
                      <a:lvl6pPr marL="2743255" algn="l" defTabSz="1097303" rtl="0" eaLnBrk="1" latinLnBrk="0" hangingPunct="1">
                        <a:defRPr sz="2160" kern="1200">
                          <a:solidFill>
                            <a:schemeClr val="tx1"/>
                          </a:solidFill>
                          <a:latin typeface="Calibri" panose="020F0502020204030204"/>
                        </a:defRPr>
                      </a:lvl6pPr>
                      <a:lvl7pPr marL="3291906" algn="l" defTabSz="1097303" rtl="0" eaLnBrk="1" latinLnBrk="0" hangingPunct="1">
                        <a:defRPr sz="2160" kern="1200">
                          <a:solidFill>
                            <a:schemeClr val="tx1"/>
                          </a:solidFill>
                          <a:latin typeface="Calibri" panose="020F0502020204030204"/>
                        </a:defRPr>
                      </a:lvl7pPr>
                      <a:lvl8pPr marL="3840557" algn="l" defTabSz="1097303" rtl="0" eaLnBrk="1" latinLnBrk="0" hangingPunct="1">
                        <a:defRPr sz="2160" kern="1200">
                          <a:solidFill>
                            <a:schemeClr val="tx1"/>
                          </a:solidFill>
                          <a:latin typeface="Calibri" panose="020F0502020204030204"/>
                        </a:defRPr>
                      </a:lvl8pPr>
                      <a:lvl9pPr marL="4389208" algn="l" defTabSz="1097303" rtl="0" eaLnBrk="1" latinLnBrk="0" hangingPunct="1">
                        <a:defRPr sz="2160" kern="1200">
                          <a:solidFill>
                            <a:schemeClr val="tx1"/>
                          </a:solidFill>
                          <a:latin typeface="Calibri" panose="020F0502020204030204"/>
                        </a:defRPr>
                      </a:lvl9pPr>
                    </a:lstStyle>
                    <a:p>
                      <a:pPr algn="ctr">
                        <a:lnSpc>
                          <a:spcPct val="100000"/>
                        </a:lnSpc>
                      </a:pPr>
                      <a:r>
                        <a:rPr lang="en-GB" sz="1000" b="1" dirty="0">
                          <a:solidFill>
                            <a:srgbClr val="0F6DFF"/>
                          </a:solidFill>
                          <a:effectLst/>
                          <a:latin typeface="IBM Plex Sans" panose="020B0503050203000203" pitchFamily="34" charset="0"/>
                        </a:rPr>
                        <a:t>No-go zone monitoring &amp; alerting</a:t>
                      </a:r>
                    </a:p>
                  </a:txBody>
                  <a:tcPr marL="50195" marR="50195" marT="25097" marB="2509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7303" rtl="0" eaLnBrk="1" latinLnBrk="0" hangingPunct="1">
                        <a:defRPr sz="2160" kern="1200">
                          <a:solidFill>
                            <a:schemeClr val="tx1"/>
                          </a:solidFill>
                          <a:latin typeface="Calibri" panose="020F0502020204030204"/>
                        </a:defRPr>
                      </a:lvl1pPr>
                      <a:lvl2pPr marL="548651" algn="l" defTabSz="1097303" rtl="0" eaLnBrk="1" latinLnBrk="0" hangingPunct="1">
                        <a:defRPr sz="2160" kern="1200">
                          <a:solidFill>
                            <a:schemeClr val="tx1"/>
                          </a:solidFill>
                          <a:latin typeface="Calibri" panose="020F0502020204030204"/>
                        </a:defRPr>
                      </a:lvl2pPr>
                      <a:lvl3pPr marL="1097303" algn="l" defTabSz="1097303" rtl="0" eaLnBrk="1" latinLnBrk="0" hangingPunct="1">
                        <a:defRPr sz="2160" kern="1200">
                          <a:solidFill>
                            <a:schemeClr val="tx1"/>
                          </a:solidFill>
                          <a:latin typeface="Calibri" panose="020F0502020204030204"/>
                        </a:defRPr>
                      </a:lvl3pPr>
                      <a:lvl4pPr marL="1645954" algn="l" defTabSz="1097303" rtl="0" eaLnBrk="1" latinLnBrk="0" hangingPunct="1">
                        <a:defRPr sz="2160" kern="1200">
                          <a:solidFill>
                            <a:schemeClr val="tx1"/>
                          </a:solidFill>
                          <a:latin typeface="Calibri" panose="020F0502020204030204"/>
                        </a:defRPr>
                      </a:lvl4pPr>
                      <a:lvl5pPr marL="2194604" algn="l" defTabSz="1097303" rtl="0" eaLnBrk="1" latinLnBrk="0" hangingPunct="1">
                        <a:defRPr sz="2160" kern="1200">
                          <a:solidFill>
                            <a:schemeClr val="tx1"/>
                          </a:solidFill>
                          <a:latin typeface="Calibri" panose="020F0502020204030204"/>
                        </a:defRPr>
                      </a:lvl5pPr>
                      <a:lvl6pPr marL="2743255" algn="l" defTabSz="1097303" rtl="0" eaLnBrk="1" latinLnBrk="0" hangingPunct="1">
                        <a:defRPr sz="2160" kern="1200">
                          <a:solidFill>
                            <a:schemeClr val="tx1"/>
                          </a:solidFill>
                          <a:latin typeface="Calibri" panose="020F0502020204030204"/>
                        </a:defRPr>
                      </a:lvl6pPr>
                      <a:lvl7pPr marL="3291906" algn="l" defTabSz="1097303" rtl="0" eaLnBrk="1" latinLnBrk="0" hangingPunct="1">
                        <a:defRPr sz="2160" kern="1200">
                          <a:solidFill>
                            <a:schemeClr val="tx1"/>
                          </a:solidFill>
                          <a:latin typeface="Calibri" panose="020F0502020204030204"/>
                        </a:defRPr>
                      </a:lvl7pPr>
                      <a:lvl8pPr marL="3840557" algn="l" defTabSz="1097303" rtl="0" eaLnBrk="1" latinLnBrk="0" hangingPunct="1">
                        <a:defRPr sz="2160" kern="1200">
                          <a:solidFill>
                            <a:schemeClr val="tx1"/>
                          </a:solidFill>
                          <a:latin typeface="Calibri" panose="020F0502020204030204"/>
                        </a:defRPr>
                      </a:lvl8pPr>
                      <a:lvl9pPr marL="4389208" algn="l" defTabSz="1097303" rtl="0" eaLnBrk="1" latinLnBrk="0" hangingPunct="1">
                        <a:defRPr sz="2160" kern="1200">
                          <a:solidFill>
                            <a:schemeClr val="tx1"/>
                          </a:solidFill>
                          <a:latin typeface="Calibri" panose="020F0502020204030204"/>
                        </a:defRPr>
                      </a:lvl9pPr>
                    </a:lstStyle>
                    <a:p>
                      <a:pPr marL="0" marR="0" lvl="0" indent="0" algn="ctr" defTabSz="914218" rtl="0" eaLnBrk="1" fontAlgn="auto" latinLnBrk="0" hangingPunct="1">
                        <a:lnSpc>
                          <a:spcPct val="100000"/>
                        </a:lnSpc>
                        <a:spcBef>
                          <a:spcPts val="0"/>
                        </a:spcBef>
                        <a:spcAft>
                          <a:spcPts val="0"/>
                        </a:spcAft>
                        <a:buClrTx/>
                        <a:buSzTx/>
                        <a:buFontTx/>
                        <a:buNone/>
                        <a:tabLst/>
                        <a:defRPr/>
                      </a:pPr>
                      <a:r>
                        <a:rPr lang="en-GB" sz="1000" b="1" dirty="0">
                          <a:solidFill>
                            <a:srgbClr val="0F6DFF"/>
                          </a:solidFill>
                          <a:effectLst/>
                          <a:latin typeface="IBM Plex Sans" panose="020B0503050203000203" pitchFamily="34" charset="0"/>
                        </a:rPr>
                        <a:t>Crowd density management</a:t>
                      </a:r>
                    </a:p>
                  </a:txBody>
                  <a:tcPr marL="50195" marR="50195" marT="25097" marB="2509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7303" rtl="0" eaLnBrk="1" latinLnBrk="0" hangingPunct="1">
                        <a:defRPr sz="2160" kern="1200">
                          <a:solidFill>
                            <a:schemeClr val="tx1"/>
                          </a:solidFill>
                          <a:latin typeface="Calibri" panose="020F0502020204030204"/>
                        </a:defRPr>
                      </a:lvl1pPr>
                      <a:lvl2pPr marL="548651" algn="l" defTabSz="1097303" rtl="0" eaLnBrk="1" latinLnBrk="0" hangingPunct="1">
                        <a:defRPr sz="2160" kern="1200">
                          <a:solidFill>
                            <a:schemeClr val="tx1"/>
                          </a:solidFill>
                          <a:latin typeface="Calibri" panose="020F0502020204030204"/>
                        </a:defRPr>
                      </a:lvl2pPr>
                      <a:lvl3pPr marL="1097303" algn="l" defTabSz="1097303" rtl="0" eaLnBrk="1" latinLnBrk="0" hangingPunct="1">
                        <a:defRPr sz="2160" kern="1200">
                          <a:solidFill>
                            <a:schemeClr val="tx1"/>
                          </a:solidFill>
                          <a:latin typeface="Calibri" panose="020F0502020204030204"/>
                        </a:defRPr>
                      </a:lvl3pPr>
                      <a:lvl4pPr marL="1645954" algn="l" defTabSz="1097303" rtl="0" eaLnBrk="1" latinLnBrk="0" hangingPunct="1">
                        <a:defRPr sz="2160" kern="1200">
                          <a:solidFill>
                            <a:schemeClr val="tx1"/>
                          </a:solidFill>
                          <a:latin typeface="Calibri" panose="020F0502020204030204"/>
                        </a:defRPr>
                      </a:lvl4pPr>
                      <a:lvl5pPr marL="2194604" algn="l" defTabSz="1097303" rtl="0" eaLnBrk="1" latinLnBrk="0" hangingPunct="1">
                        <a:defRPr sz="2160" kern="1200">
                          <a:solidFill>
                            <a:schemeClr val="tx1"/>
                          </a:solidFill>
                          <a:latin typeface="Calibri" panose="020F0502020204030204"/>
                        </a:defRPr>
                      </a:lvl5pPr>
                      <a:lvl6pPr marL="2743255" algn="l" defTabSz="1097303" rtl="0" eaLnBrk="1" latinLnBrk="0" hangingPunct="1">
                        <a:defRPr sz="2160" kern="1200">
                          <a:solidFill>
                            <a:schemeClr val="tx1"/>
                          </a:solidFill>
                          <a:latin typeface="Calibri" panose="020F0502020204030204"/>
                        </a:defRPr>
                      </a:lvl6pPr>
                      <a:lvl7pPr marL="3291906" algn="l" defTabSz="1097303" rtl="0" eaLnBrk="1" latinLnBrk="0" hangingPunct="1">
                        <a:defRPr sz="2160" kern="1200">
                          <a:solidFill>
                            <a:schemeClr val="tx1"/>
                          </a:solidFill>
                          <a:latin typeface="Calibri" panose="020F0502020204030204"/>
                        </a:defRPr>
                      </a:lvl7pPr>
                      <a:lvl8pPr marL="3840557" algn="l" defTabSz="1097303" rtl="0" eaLnBrk="1" latinLnBrk="0" hangingPunct="1">
                        <a:defRPr sz="2160" kern="1200">
                          <a:solidFill>
                            <a:schemeClr val="tx1"/>
                          </a:solidFill>
                          <a:latin typeface="Calibri" panose="020F0502020204030204"/>
                        </a:defRPr>
                      </a:lvl8pPr>
                      <a:lvl9pPr marL="4389208" algn="l" defTabSz="1097303" rtl="0" eaLnBrk="1" latinLnBrk="0" hangingPunct="1">
                        <a:defRPr sz="2160" kern="1200">
                          <a:solidFill>
                            <a:schemeClr val="tx1"/>
                          </a:solidFill>
                          <a:latin typeface="Calibri" panose="020F0502020204030204"/>
                        </a:defRPr>
                      </a:lvl9pPr>
                    </a:lstStyle>
                    <a:p>
                      <a:pPr marL="0" marR="0" lvl="0" indent="0" algn="ctr" defTabSz="914218" rtl="0" eaLnBrk="1" fontAlgn="auto" latinLnBrk="0" hangingPunct="1">
                        <a:lnSpc>
                          <a:spcPct val="100000"/>
                        </a:lnSpc>
                        <a:spcBef>
                          <a:spcPts val="0"/>
                        </a:spcBef>
                        <a:spcAft>
                          <a:spcPts val="0"/>
                        </a:spcAft>
                        <a:buClrTx/>
                        <a:buSzTx/>
                        <a:buFontTx/>
                        <a:buNone/>
                        <a:tabLst/>
                        <a:defRPr/>
                      </a:pPr>
                      <a:r>
                        <a:rPr lang="en-GB" sz="1000" b="1" dirty="0">
                          <a:solidFill>
                            <a:srgbClr val="0F6DFF"/>
                          </a:solidFill>
                          <a:effectLst/>
                          <a:latin typeface="IBM Plex Sans" panose="020B0503050203000203" pitchFamily="34" charset="0"/>
                        </a:rPr>
                        <a:t>Elevated body temperature monitoring</a:t>
                      </a:r>
                    </a:p>
                  </a:txBody>
                  <a:tcPr marL="50195" marR="50195" marT="25097" marB="2509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7303" rtl="0" eaLnBrk="1" latinLnBrk="0" hangingPunct="1">
                        <a:defRPr sz="2160" kern="1200">
                          <a:solidFill>
                            <a:schemeClr val="tx1"/>
                          </a:solidFill>
                          <a:latin typeface="Calibri" panose="020F0502020204030204"/>
                        </a:defRPr>
                      </a:lvl1pPr>
                      <a:lvl2pPr marL="548651" algn="l" defTabSz="1097303" rtl="0" eaLnBrk="1" latinLnBrk="0" hangingPunct="1">
                        <a:defRPr sz="2160" kern="1200">
                          <a:solidFill>
                            <a:schemeClr val="tx1"/>
                          </a:solidFill>
                          <a:latin typeface="Calibri" panose="020F0502020204030204"/>
                        </a:defRPr>
                      </a:lvl2pPr>
                      <a:lvl3pPr marL="1097303" algn="l" defTabSz="1097303" rtl="0" eaLnBrk="1" latinLnBrk="0" hangingPunct="1">
                        <a:defRPr sz="2160" kern="1200">
                          <a:solidFill>
                            <a:schemeClr val="tx1"/>
                          </a:solidFill>
                          <a:latin typeface="Calibri" panose="020F0502020204030204"/>
                        </a:defRPr>
                      </a:lvl3pPr>
                      <a:lvl4pPr marL="1645954" algn="l" defTabSz="1097303" rtl="0" eaLnBrk="1" latinLnBrk="0" hangingPunct="1">
                        <a:defRPr sz="2160" kern="1200">
                          <a:solidFill>
                            <a:schemeClr val="tx1"/>
                          </a:solidFill>
                          <a:latin typeface="Calibri" panose="020F0502020204030204"/>
                        </a:defRPr>
                      </a:lvl4pPr>
                      <a:lvl5pPr marL="2194604" algn="l" defTabSz="1097303" rtl="0" eaLnBrk="1" latinLnBrk="0" hangingPunct="1">
                        <a:defRPr sz="2160" kern="1200">
                          <a:solidFill>
                            <a:schemeClr val="tx1"/>
                          </a:solidFill>
                          <a:latin typeface="Calibri" panose="020F0502020204030204"/>
                        </a:defRPr>
                      </a:lvl5pPr>
                      <a:lvl6pPr marL="2743255" algn="l" defTabSz="1097303" rtl="0" eaLnBrk="1" latinLnBrk="0" hangingPunct="1">
                        <a:defRPr sz="2160" kern="1200">
                          <a:solidFill>
                            <a:schemeClr val="tx1"/>
                          </a:solidFill>
                          <a:latin typeface="Calibri" panose="020F0502020204030204"/>
                        </a:defRPr>
                      </a:lvl6pPr>
                      <a:lvl7pPr marL="3291906" algn="l" defTabSz="1097303" rtl="0" eaLnBrk="1" latinLnBrk="0" hangingPunct="1">
                        <a:defRPr sz="2160" kern="1200">
                          <a:solidFill>
                            <a:schemeClr val="tx1"/>
                          </a:solidFill>
                          <a:latin typeface="Calibri" panose="020F0502020204030204"/>
                        </a:defRPr>
                      </a:lvl7pPr>
                      <a:lvl8pPr marL="3840557" algn="l" defTabSz="1097303" rtl="0" eaLnBrk="1" latinLnBrk="0" hangingPunct="1">
                        <a:defRPr sz="2160" kern="1200">
                          <a:solidFill>
                            <a:schemeClr val="tx1"/>
                          </a:solidFill>
                          <a:latin typeface="Calibri" panose="020F0502020204030204"/>
                        </a:defRPr>
                      </a:lvl8pPr>
                      <a:lvl9pPr marL="4389208" algn="l" defTabSz="1097303" rtl="0" eaLnBrk="1" latinLnBrk="0" hangingPunct="1">
                        <a:defRPr sz="2160" kern="1200">
                          <a:solidFill>
                            <a:schemeClr val="tx1"/>
                          </a:solidFill>
                          <a:latin typeface="Calibri" panose="020F0502020204030204"/>
                        </a:defRPr>
                      </a:lvl9pPr>
                    </a:lstStyle>
                    <a:p>
                      <a:pPr algn="ctr">
                        <a:lnSpc>
                          <a:spcPct val="100000"/>
                        </a:lnSpc>
                      </a:pPr>
                      <a:r>
                        <a:rPr lang="en-GB" sz="1000" b="1" dirty="0">
                          <a:solidFill>
                            <a:srgbClr val="0F6DFF"/>
                          </a:solidFill>
                          <a:effectLst/>
                          <a:latin typeface="IBM Plex Sans" panose="020B0503050203000203" pitchFamily="34" charset="0"/>
                        </a:rPr>
                        <a:t>Face mask detection</a:t>
                      </a:r>
                    </a:p>
                  </a:txBody>
                  <a:tcPr marL="50195" marR="50195" marT="25097" marB="25097">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3139425"/>
                  </a:ext>
                </a:extLst>
              </a:tr>
              <a:tr h="1394097">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US" sz="1000" dirty="0"/>
                    </a:p>
                  </a:txBody>
                  <a:tcPr marL="57135" marR="57135" marT="28568" marB="2856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endParaRPr lang="en-GB" sz="1000" dirty="0">
                        <a:effectLst/>
                        <a:latin typeface="IBM Plex Sans" panose="020B0503050203000203" pitchFamily="34" charset="0"/>
                      </a:endParaRPr>
                    </a:p>
                  </a:txBody>
                  <a:tcPr marL="57135" marR="57135" marT="28568" marB="2856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US" sz="1000" dirty="0"/>
                    </a:p>
                  </a:txBody>
                  <a:tcPr marL="57135" marR="57135" marT="28568" marB="2856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endParaRPr lang="en-GB" sz="1000" dirty="0">
                        <a:effectLst/>
                        <a:latin typeface="IBM Plex Sans" panose="020B0503050203000203" pitchFamily="34" charset="0"/>
                      </a:endParaRPr>
                    </a:p>
                  </a:txBody>
                  <a:tcPr marL="57135" marR="57135" marT="28568" marB="2856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US" sz="1000" dirty="0"/>
                    </a:p>
                  </a:txBody>
                  <a:tcPr marL="57135" marR="57135" marT="28568" marB="2856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endParaRPr lang="en-US" sz="1000" dirty="0"/>
                    </a:p>
                  </a:txBody>
                  <a:tcPr marL="57135" marR="57135" marT="28568" marB="2856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l" defTabSz="1097280" rtl="0" eaLnBrk="1" fontAlgn="auto" latinLnBrk="0" hangingPunct="1">
                        <a:lnSpc>
                          <a:spcPct val="100000"/>
                        </a:lnSpc>
                        <a:spcBef>
                          <a:spcPts val="0"/>
                        </a:spcBef>
                        <a:spcAft>
                          <a:spcPts val="0"/>
                        </a:spcAft>
                        <a:buClrTx/>
                        <a:buSzTx/>
                        <a:buFontTx/>
                        <a:buNone/>
                        <a:tabLst/>
                        <a:defRPr/>
                      </a:pPr>
                      <a:endParaRPr lang="en-US" sz="1000" dirty="0"/>
                    </a:p>
                  </a:txBody>
                  <a:tcPr marL="57135" marR="57135" marT="28568" marB="28568">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9961923"/>
                  </a:ext>
                </a:extLst>
              </a:tr>
            </a:tbl>
          </a:graphicData>
        </a:graphic>
      </p:graphicFrame>
      <p:sp>
        <p:nvSpPr>
          <p:cNvPr id="78" name="Rectangle 77">
            <a:extLst>
              <a:ext uri="{FF2B5EF4-FFF2-40B4-BE49-F238E27FC236}">
                <a16:creationId xmlns:a16="http://schemas.microsoft.com/office/drawing/2014/main" id="{EF64633E-45B0-B341-9E66-BD0B01547733}"/>
              </a:ext>
            </a:extLst>
          </p:cNvPr>
          <p:cNvSpPr/>
          <p:nvPr/>
        </p:nvSpPr>
        <p:spPr>
          <a:xfrm>
            <a:off x="316412" y="3897367"/>
            <a:ext cx="8045489" cy="438582"/>
          </a:xfrm>
          <a:prstGeom prst="rect">
            <a:avLst/>
          </a:prstGeom>
          <a:solidFill>
            <a:schemeClr val="accent3">
              <a:lumMod val="20000"/>
              <a:lumOff val="80000"/>
            </a:schemeClr>
          </a:solidFill>
        </p:spPr>
        <p:txBody>
          <a:bodyPr wrap="square" anchor="t">
            <a:spAutoFit/>
          </a:bodyPr>
          <a:lstStyle/>
          <a:p>
            <a:pPr marL="0" marR="0" lvl="0" indent="0" algn="ctr" defTabSz="685540" rtl="0" eaLnBrk="1" fontAlgn="auto" latinLnBrk="0" hangingPunct="1">
              <a:lnSpc>
                <a:spcPct val="100000"/>
              </a:lnSpc>
              <a:spcBef>
                <a:spcPts val="0"/>
              </a:spcBef>
              <a:spcAft>
                <a:spcPts val="0"/>
              </a:spcAft>
              <a:buClrTx/>
              <a:buSzTx/>
              <a:buFontTx/>
              <a:buNone/>
              <a:tabLst/>
              <a:defRPr/>
            </a:pPr>
            <a:r>
              <a:rPr kumimoji="0" lang="en-GB" sz="1125" b="1" i="0" u="none" strike="noStrike" kern="1200" cap="none" spc="0" normalizeH="0" baseline="0" noProof="0" dirty="0">
                <a:ln>
                  <a:noFill/>
                </a:ln>
                <a:solidFill>
                  <a:srgbClr val="000000">
                    <a:lumMod val="95000"/>
                    <a:lumOff val="5000"/>
                  </a:srgbClr>
                </a:solidFill>
                <a:effectLst/>
                <a:uLnTx/>
                <a:uFillTx/>
                <a:latin typeface="IBM Plex Sans"/>
                <a:ea typeface="+mn-ea"/>
                <a:cs typeface="Arial" pitchFamily="34" charset="0"/>
              </a:rPr>
              <a:t>Maximo Worker Insights utilizes inputs from optical and thermal imaging cameras, Bluetooth beacons and mobile phones to provide analytical insights to workers and supervisors for a wide range of critical use cases</a:t>
            </a:r>
          </a:p>
        </p:txBody>
      </p:sp>
      <p:grpSp>
        <p:nvGrpSpPr>
          <p:cNvPr id="79" name="Group 78">
            <a:extLst>
              <a:ext uri="{FF2B5EF4-FFF2-40B4-BE49-F238E27FC236}">
                <a16:creationId xmlns:a16="http://schemas.microsoft.com/office/drawing/2014/main" id="{57063029-CC10-A74E-ADC6-602A8EFAAC4B}"/>
              </a:ext>
            </a:extLst>
          </p:cNvPr>
          <p:cNvGrpSpPr/>
          <p:nvPr/>
        </p:nvGrpSpPr>
        <p:grpSpPr>
          <a:xfrm>
            <a:off x="1684836" y="1839985"/>
            <a:ext cx="755825" cy="731174"/>
            <a:chOff x="7459572" y="6007857"/>
            <a:chExt cx="1209635" cy="1170183"/>
          </a:xfrm>
        </p:grpSpPr>
        <p:pic>
          <p:nvPicPr>
            <p:cNvPr id="80" name="Picture 79" descr="A screenshot of a cell phone&#10;&#10;Description automatically generated">
              <a:extLst>
                <a:ext uri="{FF2B5EF4-FFF2-40B4-BE49-F238E27FC236}">
                  <a16:creationId xmlns:a16="http://schemas.microsoft.com/office/drawing/2014/main" id="{E724B9A4-BCB6-704D-A405-0BB72C3BECA0}"/>
                </a:ext>
              </a:extLst>
            </p:cNvPr>
            <p:cNvPicPr>
              <a:picLocks noChangeAspect="1"/>
            </p:cNvPicPr>
            <p:nvPr/>
          </p:nvPicPr>
          <p:blipFill rotWithShape="1">
            <a:blip r:embed="rId8"/>
            <a:srcRect l="54168" t="16210" r="19161" b="46205"/>
            <a:stretch/>
          </p:blipFill>
          <p:spPr>
            <a:xfrm>
              <a:off x="7492899" y="6007857"/>
              <a:ext cx="1176308" cy="1170183"/>
            </a:xfrm>
            <a:prstGeom prst="rect">
              <a:avLst/>
            </a:prstGeom>
          </p:spPr>
        </p:pic>
        <p:sp>
          <p:nvSpPr>
            <p:cNvPr id="81" name="Rectangle 80">
              <a:extLst>
                <a:ext uri="{FF2B5EF4-FFF2-40B4-BE49-F238E27FC236}">
                  <a16:creationId xmlns:a16="http://schemas.microsoft.com/office/drawing/2014/main" id="{7DE13A3B-4CC7-1E41-BA54-DF4F800ABA0A}"/>
                </a:ext>
              </a:extLst>
            </p:cNvPr>
            <p:cNvSpPr/>
            <p:nvPr/>
          </p:nvSpPr>
          <p:spPr>
            <a:xfrm>
              <a:off x="7459572" y="6029408"/>
              <a:ext cx="1188242" cy="1080721"/>
            </a:xfrm>
            <a:prstGeom prst="rect">
              <a:avLst/>
            </a:prstGeom>
            <a:noFill/>
            <a:ln w="19050" cap="flat" cmpd="sng" algn="ctr">
              <a:solidFill>
                <a:srgbClr val="000000"/>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57135" tIns="28568" rIns="57135" bIns="28568" numCol="1" spcCol="0" rtlCol="0" fromWordArt="0" anchor="ctr" anchorCtr="0" forceAA="0" compatLnSpc="1">
              <a:prstTxWarp prst="textNoShape">
                <a:avLst/>
              </a:prstTxWarp>
              <a:noAutofit/>
            </a:bodyPr>
            <a:lstStyle/>
            <a:p>
              <a:pPr marL="0" marR="0" lvl="0" indent="0" algn="ctr" defTabSz="685567" rtl="0" eaLnBrk="1" fontAlgn="auto" latinLnBrk="0" hangingPunct="1">
                <a:lnSpc>
                  <a:spcPct val="100000"/>
                </a:lnSpc>
                <a:spcBef>
                  <a:spcPts val="0"/>
                </a:spcBef>
                <a:spcAft>
                  <a:spcPts val="0"/>
                </a:spcAft>
                <a:buClrTx/>
                <a:buSzTx/>
                <a:buFontTx/>
                <a:buNone/>
                <a:tabLst/>
                <a:defRPr/>
              </a:pPr>
              <a:endParaRPr kumimoji="0" lang="en-US" sz="1349" b="0" i="0" u="none" strike="noStrike" kern="0" cap="none" spc="0" normalizeH="0" baseline="0" noProof="0" dirty="0">
                <a:ln>
                  <a:noFill/>
                </a:ln>
                <a:solidFill>
                  <a:srgbClr val="051243"/>
                </a:solidFill>
                <a:effectLst/>
                <a:uLnTx/>
                <a:uFillTx/>
                <a:latin typeface="Arial" panose="020B0604020202020204"/>
                <a:ea typeface="+mn-ea"/>
                <a:cs typeface="Arial" pitchFamily="34" charset="0"/>
              </a:endParaRPr>
            </a:p>
          </p:txBody>
        </p:sp>
      </p:grpSp>
      <p:grpSp>
        <p:nvGrpSpPr>
          <p:cNvPr id="82" name="Group 81">
            <a:extLst>
              <a:ext uri="{FF2B5EF4-FFF2-40B4-BE49-F238E27FC236}">
                <a16:creationId xmlns:a16="http://schemas.microsoft.com/office/drawing/2014/main" id="{E5371F10-625A-2545-8BB6-B6577AE9D54C}"/>
              </a:ext>
            </a:extLst>
          </p:cNvPr>
          <p:cNvGrpSpPr/>
          <p:nvPr/>
        </p:nvGrpSpPr>
        <p:grpSpPr>
          <a:xfrm>
            <a:off x="2958809" y="1839986"/>
            <a:ext cx="752377" cy="675275"/>
            <a:chOff x="576526" y="5867893"/>
            <a:chExt cx="1204116" cy="1080721"/>
          </a:xfrm>
        </p:grpSpPr>
        <p:sp>
          <p:nvSpPr>
            <p:cNvPr id="83" name="Rectangle 82">
              <a:extLst>
                <a:ext uri="{FF2B5EF4-FFF2-40B4-BE49-F238E27FC236}">
                  <a16:creationId xmlns:a16="http://schemas.microsoft.com/office/drawing/2014/main" id="{4CDF547D-DFF3-C64A-882F-A5EC8FC5434B}"/>
                </a:ext>
              </a:extLst>
            </p:cNvPr>
            <p:cNvSpPr/>
            <p:nvPr/>
          </p:nvSpPr>
          <p:spPr>
            <a:xfrm>
              <a:off x="576526" y="5867893"/>
              <a:ext cx="1188242" cy="1080721"/>
            </a:xfrm>
            <a:prstGeom prst="rect">
              <a:avLst/>
            </a:prstGeom>
            <a:noFill/>
            <a:ln w="19050" cap="flat" cmpd="sng" algn="ctr">
              <a:solidFill>
                <a:srgbClr val="000000"/>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57135" tIns="28568" rIns="57135" bIns="28568" numCol="1" spcCol="0" rtlCol="0" fromWordArt="0" anchor="ctr" anchorCtr="0" forceAA="0" compatLnSpc="1">
              <a:prstTxWarp prst="textNoShape">
                <a:avLst/>
              </a:prstTxWarp>
              <a:noAutofit/>
            </a:bodyPr>
            <a:lstStyle/>
            <a:p>
              <a:pPr marL="0" marR="0" lvl="0" indent="0" algn="ctr" defTabSz="685567" rtl="0" eaLnBrk="1" fontAlgn="auto" latinLnBrk="0" hangingPunct="1">
                <a:lnSpc>
                  <a:spcPct val="100000"/>
                </a:lnSpc>
                <a:spcBef>
                  <a:spcPts val="0"/>
                </a:spcBef>
                <a:spcAft>
                  <a:spcPts val="0"/>
                </a:spcAft>
                <a:buClrTx/>
                <a:buSzTx/>
                <a:buFontTx/>
                <a:buNone/>
                <a:tabLst/>
                <a:defRPr/>
              </a:pPr>
              <a:endParaRPr kumimoji="0" lang="en-US" sz="1349" b="0" i="0" u="none" strike="noStrike" kern="0" cap="none" spc="0" normalizeH="0" baseline="0" noProof="0" dirty="0">
                <a:ln>
                  <a:noFill/>
                </a:ln>
                <a:solidFill>
                  <a:srgbClr val="051243"/>
                </a:solidFill>
                <a:effectLst/>
                <a:uLnTx/>
                <a:uFillTx/>
                <a:latin typeface="Arial" panose="020B0604020202020204"/>
                <a:ea typeface="+mn-ea"/>
                <a:cs typeface="Arial" pitchFamily="34" charset="0"/>
              </a:endParaRPr>
            </a:p>
          </p:txBody>
        </p:sp>
        <p:grpSp>
          <p:nvGrpSpPr>
            <p:cNvPr id="84" name="Group 83">
              <a:extLst>
                <a:ext uri="{FF2B5EF4-FFF2-40B4-BE49-F238E27FC236}">
                  <a16:creationId xmlns:a16="http://schemas.microsoft.com/office/drawing/2014/main" id="{173895C5-0693-DC42-A860-041F79786391}"/>
                </a:ext>
              </a:extLst>
            </p:cNvPr>
            <p:cNvGrpSpPr/>
            <p:nvPr/>
          </p:nvGrpSpPr>
          <p:grpSpPr>
            <a:xfrm>
              <a:off x="843107" y="5994838"/>
              <a:ext cx="665653" cy="641394"/>
              <a:chOff x="651139" y="6653517"/>
              <a:chExt cx="954460" cy="844566"/>
            </a:xfrm>
          </p:grpSpPr>
          <p:sp>
            <p:nvSpPr>
              <p:cNvPr id="86" name="Rectangle 85">
                <a:extLst>
                  <a:ext uri="{FF2B5EF4-FFF2-40B4-BE49-F238E27FC236}">
                    <a16:creationId xmlns:a16="http://schemas.microsoft.com/office/drawing/2014/main" id="{3ECCB0D8-F2C7-1544-9FA5-753D99B464AB}"/>
                  </a:ext>
                </a:extLst>
              </p:cNvPr>
              <p:cNvSpPr/>
              <p:nvPr/>
            </p:nvSpPr>
            <p:spPr>
              <a:xfrm>
                <a:off x="659144" y="6653517"/>
                <a:ext cx="946455" cy="844566"/>
              </a:xfrm>
              <a:prstGeom prst="rect">
                <a:avLst/>
              </a:prstGeom>
              <a:noFill/>
              <a:ln w="19050" cap="flat" cmpd="sng" algn="ctr">
                <a:solidFill>
                  <a:srgbClr val="000000"/>
                </a:solidFill>
                <a:prstDash val="dash"/>
                <a:miter lim="800000"/>
              </a:ln>
              <a:effectLst/>
            </p:spPr>
            <p:txBody>
              <a:bodyPr rot="0" spcFirstLastPara="0" vertOverflow="overflow" horzOverflow="overflow" vert="horz" wrap="square" lIns="57135" tIns="28568" rIns="57135" bIns="28568" numCol="1" spcCol="0" rtlCol="0" fromWordArt="0" anchor="ctr" anchorCtr="0" forceAA="0" compatLnSpc="1">
                <a:prstTxWarp prst="textNoShape">
                  <a:avLst/>
                </a:prstTxWarp>
                <a:noAutofit/>
              </a:bodyPr>
              <a:lstStyle/>
              <a:p>
                <a:pPr marL="0" marR="0" lvl="0" indent="0" algn="ctr" defTabSz="685567" rtl="0" eaLnBrk="1" fontAlgn="auto" latinLnBrk="0" hangingPunct="1">
                  <a:lnSpc>
                    <a:spcPct val="100000"/>
                  </a:lnSpc>
                  <a:spcBef>
                    <a:spcPts val="0"/>
                  </a:spcBef>
                  <a:spcAft>
                    <a:spcPts val="0"/>
                  </a:spcAft>
                  <a:buClrTx/>
                  <a:buSzTx/>
                  <a:buFontTx/>
                  <a:buNone/>
                  <a:tabLst/>
                  <a:defRPr/>
                </a:pPr>
                <a:endParaRPr kumimoji="0" lang="en-US" sz="1349" b="0" i="0" u="none" strike="noStrike" kern="0" cap="none" spc="0" normalizeH="0" baseline="0" noProof="0" dirty="0">
                  <a:ln>
                    <a:noFill/>
                  </a:ln>
                  <a:solidFill>
                    <a:srgbClr val="051243"/>
                  </a:solidFill>
                  <a:effectLst/>
                  <a:uLnTx/>
                  <a:uFillTx/>
                  <a:latin typeface="Arial" panose="020B0604020202020204"/>
                  <a:ea typeface="+mn-ea"/>
                  <a:cs typeface="Arial" pitchFamily="34" charset="0"/>
                </a:endParaRPr>
              </a:p>
            </p:txBody>
          </p:sp>
          <p:grpSp>
            <p:nvGrpSpPr>
              <p:cNvPr id="87" name="Group 86">
                <a:extLst>
                  <a:ext uri="{FF2B5EF4-FFF2-40B4-BE49-F238E27FC236}">
                    <a16:creationId xmlns:a16="http://schemas.microsoft.com/office/drawing/2014/main" id="{BCE86BFB-6C50-6F4C-9A0A-C07C25945A27}"/>
                  </a:ext>
                </a:extLst>
              </p:cNvPr>
              <p:cNvGrpSpPr/>
              <p:nvPr/>
            </p:nvGrpSpPr>
            <p:grpSpPr>
              <a:xfrm>
                <a:off x="651139" y="6745453"/>
                <a:ext cx="463695" cy="279729"/>
                <a:chOff x="651139" y="6753243"/>
                <a:chExt cx="463695" cy="279729"/>
              </a:xfrm>
            </p:grpSpPr>
            <p:pic>
              <p:nvPicPr>
                <p:cNvPr id="96" name="Picture 4" descr="Person Icons Outline - Circle , Transparent Cartoon, Free Cliparts ...">
                  <a:extLst>
                    <a:ext uri="{FF2B5EF4-FFF2-40B4-BE49-F238E27FC236}">
                      <a16:creationId xmlns:a16="http://schemas.microsoft.com/office/drawing/2014/main" id="{29AD69AF-B4F3-9245-B6A8-9114E92741CD}"/>
                    </a:ext>
                  </a:extLst>
                </p:cNvPr>
                <p:cNvPicPr>
                  <a:picLocks noChangeAspect="1" noChangeArrowheads="1"/>
                </p:cNvPicPr>
                <p:nvPr/>
              </p:nvPicPr>
              <p:blipFill>
                <a:blip r:embed="rId9">
                  <a:clrChange>
                    <a:clrFrom>
                      <a:srgbClr val="F7F7F7"/>
                    </a:clrFrom>
                    <a:clrTo>
                      <a:srgbClr val="F7F7F7">
                        <a:alpha val="0"/>
                      </a:srgbClr>
                    </a:clrTo>
                  </a:clrChange>
                  <a:biLevel thresh="75000"/>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51139" y="6753243"/>
                  <a:ext cx="463695" cy="279729"/>
                </a:xfrm>
                <a:prstGeom prst="rect">
                  <a:avLst/>
                </a:prstGeom>
                <a:noFill/>
                <a:extLst>
                  <a:ext uri="{909E8E84-426E-40DD-AFC4-6F175D3DCCD1}">
                    <a14:hiddenFill xmlns:a14="http://schemas.microsoft.com/office/drawing/2010/main">
                      <a:solidFill>
                        <a:srgbClr val="FFFFFF"/>
                      </a:solidFill>
                    </a14:hiddenFill>
                  </a:ext>
                </a:extLst>
              </p:spPr>
            </p:pic>
            <p:cxnSp>
              <p:nvCxnSpPr>
                <p:cNvPr id="97" name="Straight Connector 96">
                  <a:extLst>
                    <a:ext uri="{FF2B5EF4-FFF2-40B4-BE49-F238E27FC236}">
                      <a16:creationId xmlns:a16="http://schemas.microsoft.com/office/drawing/2014/main" id="{FABB558A-A059-3C48-BCF9-7EF9B74678D1}"/>
                    </a:ext>
                  </a:extLst>
                </p:cNvPr>
                <p:cNvCxnSpPr/>
                <p:nvPr/>
              </p:nvCxnSpPr>
              <p:spPr>
                <a:xfrm>
                  <a:off x="717812" y="7027922"/>
                  <a:ext cx="333748" cy="0"/>
                </a:xfrm>
                <a:prstGeom prst="line">
                  <a:avLst/>
                </a:prstGeom>
                <a:noFill/>
                <a:ln w="6350" cap="flat" cmpd="sng" algn="ctr">
                  <a:solidFill>
                    <a:srgbClr val="000000"/>
                  </a:solidFill>
                  <a:prstDash val="solid"/>
                  <a:miter lim="800000"/>
                </a:ln>
                <a:effectLst/>
              </p:spPr>
            </p:cxnSp>
          </p:grpSp>
          <p:grpSp>
            <p:nvGrpSpPr>
              <p:cNvPr id="88" name="Group 87">
                <a:extLst>
                  <a:ext uri="{FF2B5EF4-FFF2-40B4-BE49-F238E27FC236}">
                    <a16:creationId xmlns:a16="http://schemas.microsoft.com/office/drawing/2014/main" id="{D57B3F5C-8FE2-BC49-A09B-FB5AA6B0099A}"/>
                  </a:ext>
                </a:extLst>
              </p:cNvPr>
              <p:cNvGrpSpPr/>
              <p:nvPr/>
            </p:nvGrpSpPr>
            <p:grpSpPr>
              <a:xfrm>
                <a:off x="1090810" y="6745453"/>
                <a:ext cx="463695" cy="279729"/>
                <a:chOff x="651139" y="6753243"/>
                <a:chExt cx="463695" cy="279729"/>
              </a:xfrm>
            </p:grpSpPr>
            <p:pic>
              <p:nvPicPr>
                <p:cNvPr id="94" name="Picture 4" descr="Person Icons Outline - Circle , Transparent Cartoon, Free Cliparts ...">
                  <a:extLst>
                    <a:ext uri="{FF2B5EF4-FFF2-40B4-BE49-F238E27FC236}">
                      <a16:creationId xmlns:a16="http://schemas.microsoft.com/office/drawing/2014/main" id="{F0B3305F-588F-D74F-A156-C116BEA4A860}"/>
                    </a:ext>
                  </a:extLst>
                </p:cNvPr>
                <p:cNvPicPr>
                  <a:picLocks noChangeAspect="1" noChangeArrowheads="1"/>
                </p:cNvPicPr>
                <p:nvPr/>
              </p:nvPicPr>
              <p:blipFill>
                <a:blip r:embed="rId9">
                  <a:clrChange>
                    <a:clrFrom>
                      <a:srgbClr val="F7F7F7"/>
                    </a:clrFrom>
                    <a:clrTo>
                      <a:srgbClr val="F7F7F7">
                        <a:alpha val="0"/>
                      </a:srgbClr>
                    </a:clrTo>
                  </a:clrChange>
                  <a:biLevel thresh="75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51139" y="6753243"/>
                  <a:ext cx="463695" cy="279729"/>
                </a:xfrm>
                <a:prstGeom prst="rect">
                  <a:avLst/>
                </a:prstGeom>
                <a:noFill/>
                <a:extLst>
                  <a:ext uri="{909E8E84-426E-40DD-AFC4-6F175D3DCCD1}">
                    <a14:hiddenFill xmlns:a14="http://schemas.microsoft.com/office/drawing/2010/main">
                      <a:solidFill>
                        <a:srgbClr val="FFFFFF"/>
                      </a:solidFill>
                    </a14:hiddenFill>
                  </a:ext>
                </a:extLst>
              </p:spPr>
            </p:pic>
            <p:cxnSp>
              <p:nvCxnSpPr>
                <p:cNvPr id="95" name="Straight Connector 94">
                  <a:extLst>
                    <a:ext uri="{FF2B5EF4-FFF2-40B4-BE49-F238E27FC236}">
                      <a16:creationId xmlns:a16="http://schemas.microsoft.com/office/drawing/2014/main" id="{1CE39A3A-BCF7-284A-9729-F80F6E4B48DF}"/>
                    </a:ext>
                  </a:extLst>
                </p:cNvPr>
                <p:cNvCxnSpPr/>
                <p:nvPr/>
              </p:nvCxnSpPr>
              <p:spPr>
                <a:xfrm>
                  <a:off x="717812" y="7027922"/>
                  <a:ext cx="333748" cy="0"/>
                </a:xfrm>
                <a:prstGeom prst="line">
                  <a:avLst/>
                </a:prstGeom>
                <a:noFill/>
                <a:ln w="6350" cap="flat" cmpd="sng" algn="ctr">
                  <a:solidFill>
                    <a:srgbClr val="000000"/>
                  </a:solidFill>
                  <a:prstDash val="solid"/>
                  <a:miter lim="800000"/>
                </a:ln>
                <a:effectLst/>
              </p:spPr>
            </p:cxnSp>
          </p:grpSp>
          <p:grpSp>
            <p:nvGrpSpPr>
              <p:cNvPr id="89" name="Group 88">
                <a:extLst>
                  <a:ext uri="{FF2B5EF4-FFF2-40B4-BE49-F238E27FC236}">
                    <a16:creationId xmlns:a16="http://schemas.microsoft.com/office/drawing/2014/main" id="{9D40BBCC-98D0-714E-A74E-1ABEE639CCEE}"/>
                  </a:ext>
                </a:extLst>
              </p:cNvPr>
              <p:cNvGrpSpPr/>
              <p:nvPr/>
            </p:nvGrpSpPr>
            <p:grpSpPr>
              <a:xfrm>
                <a:off x="659144" y="7084217"/>
                <a:ext cx="463695" cy="279729"/>
                <a:chOff x="651139" y="6753243"/>
                <a:chExt cx="463695" cy="279729"/>
              </a:xfrm>
            </p:grpSpPr>
            <p:pic>
              <p:nvPicPr>
                <p:cNvPr id="92" name="Picture 4" descr="Person Icons Outline - Circle , Transparent Cartoon, Free Cliparts ...">
                  <a:extLst>
                    <a:ext uri="{FF2B5EF4-FFF2-40B4-BE49-F238E27FC236}">
                      <a16:creationId xmlns:a16="http://schemas.microsoft.com/office/drawing/2014/main" id="{B79240C6-6B26-D049-BE1E-00FE4CCE10B0}"/>
                    </a:ext>
                  </a:extLst>
                </p:cNvPr>
                <p:cNvPicPr>
                  <a:picLocks noChangeAspect="1" noChangeArrowheads="1"/>
                </p:cNvPicPr>
                <p:nvPr/>
              </p:nvPicPr>
              <p:blipFill>
                <a:blip r:embed="rId9">
                  <a:clrChange>
                    <a:clrFrom>
                      <a:srgbClr val="F7F7F7"/>
                    </a:clrFrom>
                    <a:clrTo>
                      <a:srgbClr val="F7F7F7">
                        <a:alpha val="0"/>
                      </a:srgbClr>
                    </a:clrTo>
                  </a:clrChange>
                  <a:biLevel thresh="75000"/>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51139" y="6753243"/>
                  <a:ext cx="463695" cy="279729"/>
                </a:xfrm>
                <a:prstGeom prst="rect">
                  <a:avLst/>
                </a:prstGeom>
                <a:noFill/>
                <a:extLst>
                  <a:ext uri="{909E8E84-426E-40DD-AFC4-6F175D3DCCD1}">
                    <a14:hiddenFill xmlns:a14="http://schemas.microsoft.com/office/drawing/2010/main">
                      <a:solidFill>
                        <a:srgbClr val="FFFFFF"/>
                      </a:solidFill>
                    </a14:hiddenFill>
                  </a:ext>
                </a:extLst>
              </p:spPr>
            </p:pic>
            <p:cxnSp>
              <p:nvCxnSpPr>
                <p:cNvPr id="93" name="Straight Connector 92">
                  <a:extLst>
                    <a:ext uri="{FF2B5EF4-FFF2-40B4-BE49-F238E27FC236}">
                      <a16:creationId xmlns:a16="http://schemas.microsoft.com/office/drawing/2014/main" id="{3DF01DD9-896F-EA49-B338-1FC454DEB590}"/>
                    </a:ext>
                  </a:extLst>
                </p:cNvPr>
                <p:cNvCxnSpPr/>
                <p:nvPr/>
              </p:nvCxnSpPr>
              <p:spPr>
                <a:xfrm>
                  <a:off x="717812" y="7027922"/>
                  <a:ext cx="333748" cy="0"/>
                </a:xfrm>
                <a:prstGeom prst="line">
                  <a:avLst/>
                </a:prstGeom>
                <a:noFill/>
                <a:ln w="6350" cap="flat" cmpd="sng" algn="ctr">
                  <a:solidFill>
                    <a:srgbClr val="000000"/>
                  </a:solidFill>
                  <a:prstDash val="solid"/>
                  <a:miter lim="800000"/>
                </a:ln>
                <a:effectLst/>
              </p:spPr>
            </p:cxnSp>
          </p:grpSp>
          <p:cxnSp>
            <p:nvCxnSpPr>
              <p:cNvPr id="90" name="Straight Connector 89">
                <a:extLst>
                  <a:ext uri="{FF2B5EF4-FFF2-40B4-BE49-F238E27FC236}">
                    <a16:creationId xmlns:a16="http://schemas.microsoft.com/office/drawing/2014/main" id="{AC482766-9F48-F044-A98E-6DD816E35CDB}"/>
                  </a:ext>
                </a:extLst>
              </p:cNvPr>
              <p:cNvCxnSpPr/>
              <p:nvPr/>
            </p:nvCxnSpPr>
            <p:spPr>
              <a:xfrm>
                <a:off x="1165488" y="7358896"/>
                <a:ext cx="333748" cy="0"/>
              </a:xfrm>
              <a:prstGeom prst="line">
                <a:avLst/>
              </a:prstGeom>
              <a:noFill/>
              <a:ln w="6350" cap="flat" cmpd="sng" algn="ctr">
                <a:solidFill>
                  <a:srgbClr val="000000"/>
                </a:solidFill>
                <a:prstDash val="solid"/>
                <a:miter lim="800000"/>
              </a:ln>
              <a:effectLst/>
            </p:spPr>
          </p:cxnSp>
          <p:sp>
            <p:nvSpPr>
              <p:cNvPr id="91" name="TextBox 90">
                <a:extLst>
                  <a:ext uri="{FF2B5EF4-FFF2-40B4-BE49-F238E27FC236}">
                    <a16:creationId xmlns:a16="http://schemas.microsoft.com/office/drawing/2014/main" id="{4FC5583D-E016-7642-88EB-CD9AC1DFE26C}"/>
                  </a:ext>
                </a:extLst>
              </p:cNvPr>
              <p:cNvSpPr txBox="1"/>
              <p:nvPr/>
            </p:nvSpPr>
            <p:spPr>
              <a:xfrm>
                <a:off x="1242106" y="7134297"/>
                <a:ext cx="325743" cy="182858"/>
              </a:xfrm>
              <a:prstGeom prst="rect">
                <a:avLst/>
              </a:prstGeom>
            </p:spPr>
            <p:txBody>
              <a:bodyPr wrap="square" lIns="0" tIns="0" rIns="0" bIns="0" rtlCol="0">
                <a:noAutofit/>
              </a:bodyPr>
              <a:lstStyle/>
              <a:p>
                <a:pPr marL="0" marR="0" lvl="0" indent="0" algn="l" defTabSz="685567" rtl="0" eaLnBrk="1" fontAlgn="auto" latinLnBrk="0" hangingPunct="1">
                  <a:lnSpc>
                    <a:spcPct val="105000"/>
                  </a:lnSpc>
                  <a:spcBef>
                    <a:spcPts val="625"/>
                  </a:spcBef>
                  <a:spcAft>
                    <a:spcPts val="0"/>
                  </a:spcAft>
                  <a:buClrTx/>
                  <a:buSzTx/>
                  <a:buFontTx/>
                  <a:buNone/>
                  <a:tabLst/>
                  <a:defRPr/>
                </a:pPr>
                <a:r>
                  <a:rPr kumimoji="0" lang="en-US" sz="1349" b="0" i="0" u="none" strike="noStrike" kern="0" cap="none" spc="0" normalizeH="0" baseline="0" noProof="0" dirty="0">
                    <a:ln>
                      <a:noFill/>
                    </a:ln>
                    <a:solidFill>
                      <a:srgbClr val="000000"/>
                    </a:solidFill>
                    <a:effectLst/>
                    <a:uLnTx/>
                    <a:uFillTx/>
                    <a:latin typeface="IBM Plex Sans" charset="0"/>
                    <a:ea typeface="IBM Plex Sans" charset="0"/>
                    <a:cs typeface="IBM Plex Sans" charset="0"/>
                  </a:rPr>
                  <a:t>+</a:t>
                </a:r>
              </a:p>
            </p:txBody>
          </p:sp>
        </p:grpSp>
        <p:sp>
          <p:nvSpPr>
            <p:cNvPr id="85" name="TextBox 84">
              <a:extLst>
                <a:ext uri="{FF2B5EF4-FFF2-40B4-BE49-F238E27FC236}">
                  <a16:creationId xmlns:a16="http://schemas.microsoft.com/office/drawing/2014/main" id="{AEFEFEBF-CE5E-234A-91EB-2EB74157E488}"/>
                </a:ext>
              </a:extLst>
            </p:cNvPr>
            <p:cNvSpPr txBox="1"/>
            <p:nvPr/>
          </p:nvSpPr>
          <p:spPr>
            <a:xfrm>
              <a:off x="669152" y="6727147"/>
              <a:ext cx="1111490" cy="218955"/>
            </a:xfrm>
            <a:prstGeom prst="rect">
              <a:avLst/>
            </a:prstGeom>
          </p:spPr>
          <p:txBody>
            <a:bodyPr wrap="square" lIns="0" tIns="0" rIns="0" bIns="0" rtlCol="0">
              <a:noAutofit/>
            </a:bodyPr>
            <a:lstStyle/>
            <a:p>
              <a:pPr marL="0" marR="0" lvl="0" indent="0" algn="l" defTabSz="685567" rtl="0" eaLnBrk="1" fontAlgn="auto" latinLnBrk="0" hangingPunct="1">
                <a:lnSpc>
                  <a:spcPct val="105000"/>
                </a:lnSpc>
                <a:spcBef>
                  <a:spcPts val="625"/>
                </a:spcBef>
                <a:spcAft>
                  <a:spcPts val="0"/>
                </a:spcAft>
                <a:buClrTx/>
                <a:buSzTx/>
                <a:buFontTx/>
                <a:buNone/>
                <a:tabLst/>
                <a:defRPr/>
              </a:pPr>
              <a:r>
                <a:rPr kumimoji="0" lang="en-US" sz="625" b="0" i="0" u="none" strike="noStrike" kern="0" cap="none" spc="0" normalizeH="0" baseline="0" noProof="0" dirty="0">
                  <a:ln>
                    <a:noFill/>
                  </a:ln>
                  <a:solidFill>
                    <a:srgbClr val="000000">
                      <a:lumMod val="50000"/>
                      <a:lumOff val="50000"/>
                    </a:srgbClr>
                  </a:solidFill>
                  <a:effectLst/>
                  <a:uLnTx/>
                  <a:uFillTx/>
                  <a:latin typeface="IBM Plex Sans" charset="0"/>
                  <a:ea typeface="IBM Plex Sans" charset="0"/>
                  <a:cs typeface="IBM Plex Sans" charset="0"/>
                </a:rPr>
                <a:t>Occupancy limits</a:t>
              </a:r>
            </a:p>
          </p:txBody>
        </p:sp>
      </p:grpSp>
      <p:grpSp>
        <p:nvGrpSpPr>
          <p:cNvPr id="98" name="Group 97">
            <a:extLst>
              <a:ext uri="{FF2B5EF4-FFF2-40B4-BE49-F238E27FC236}">
                <a16:creationId xmlns:a16="http://schemas.microsoft.com/office/drawing/2014/main" id="{DB1F165A-3E66-F143-9FBB-67E158CF0F82}"/>
              </a:ext>
            </a:extLst>
          </p:cNvPr>
          <p:cNvGrpSpPr/>
          <p:nvPr/>
        </p:nvGrpSpPr>
        <p:grpSpPr>
          <a:xfrm>
            <a:off x="4228974" y="1839985"/>
            <a:ext cx="751835" cy="723056"/>
            <a:chOff x="7450668" y="3121473"/>
            <a:chExt cx="1203249" cy="1157191"/>
          </a:xfrm>
        </p:grpSpPr>
        <p:pic>
          <p:nvPicPr>
            <p:cNvPr id="99" name="Picture 98" descr="A screenshot of a cell phone&#10;&#10;Description automatically generated">
              <a:extLst>
                <a:ext uri="{FF2B5EF4-FFF2-40B4-BE49-F238E27FC236}">
                  <a16:creationId xmlns:a16="http://schemas.microsoft.com/office/drawing/2014/main" id="{C69E3CAF-C3BF-7840-A2CE-C40877C08652}"/>
                </a:ext>
              </a:extLst>
            </p:cNvPr>
            <p:cNvPicPr>
              <a:picLocks noChangeAspect="1"/>
            </p:cNvPicPr>
            <p:nvPr/>
          </p:nvPicPr>
          <p:blipFill rotWithShape="1">
            <a:blip r:embed="rId8"/>
            <a:srcRect l="52216" t="60078" r="16219" b="2633"/>
            <a:stretch/>
          </p:blipFill>
          <p:spPr>
            <a:xfrm>
              <a:off x="7470036" y="3121473"/>
              <a:ext cx="1183881" cy="1157191"/>
            </a:xfrm>
            <a:prstGeom prst="rect">
              <a:avLst/>
            </a:prstGeom>
          </p:spPr>
        </p:pic>
        <p:sp>
          <p:nvSpPr>
            <p:cNvPr id="100" name="Rectangle 99">
              <a:extLst>
                <a:ext uri="{FF2B5EF4-FFF2-40B4-BE49-F238E27FC236}">
                  <a16:creationId xmlns:a16="http://schemas.microsoft.com/office/drawing/2014/main" id="{BA1EF071-29BA-DE43-AB47-2A493A888940}"/>
                </a:ext>
              </a:extLst>
            </p:cNvPr>
            <p:cNvSpPr/>
            <p:nvPr/>
          </p:nvSpPr>
          <p:spPr>
            <a:xfrm>
              <a:off x="7450668" y="3125519"/>
              <a:ext cx="1188242" cy="1080721"/>
            </a:xfrm>
            <a:prstGeom prst="rect">
              <a:avLst/>
            </a:prstGeom>
            <a:noFill/>
            <a:ln w="19050" cap="flat" cmpd="sng" algn="ctr">
              <a:solidFill>
                <a:srgbClr val="000000"/>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57135" tIns="28568" rIns="57135" bIns="28568" numCol="1" spcCol="0" rtlCol="0" fromWordArt="0" anchor="ctr" anchorCtr="0" forceAA="0" compatLnSpc="1">
              <a:prstTxWarp prst="textNoShape">
                <a:avLst/>
              </a:prstTxWarp>
              <a:noAutofit/>
            </a:bodyPr>
            <a:lstStyle/>
            <a:p>
              <a:pPr marL="0" marR="0" lvl="0" indent="0" algn="ctr" defTabSz="685567" rtl="0" eaLnBrk="1" fontAlgn="auto" latinLnBrk="0" hangingPunct="1">
                <a:lnSpc>
                  <a:spcPct val="100000"/>
                </a:lnSpc>
                <a:spcBef>
                  <a:spcPts val="0"/>
                </a:spcBef>
                <a:spcAft>
                  <a:spcPts val="0"/>
                </a:spcAft>
                <a:buClrTx/>
                <a:buSzTx/>
                <a:buFontTx/>
                <a:buNone/>
                <a:tabLst/>
                <a:defRPr/>
              </a:pPr>
              <a:endParaRPr kumimoji="0" lang="en-US" sz="1349" b="0" i="0" u="none" strike="noStrike" kern="0" cap="none" spc="0" normalizeH="0" baseline="0" noProof="0" dirty="0">
                <a:ln>
                  <a:noFill/>
                </a:ln>
                <a:solidFill>
                  <a:srgbClr val="051243"/>
                </a:solidFill>
                <a:effectLst/>
                <a:uLnTx/>
                <a:uFillTx/>
                <a:latin typeface="Arial" panose="020B0604020202020204"/>
                <a:ea typeface="+mn-ea"/>
                <a:cs typeface="Arial" pitchFamily="34" charset="0"/>
              </a:endParaRPr>
            </a:p>
          </p:txBody>
        </p:sp>
      </p:grpSp>
      <p:grpSp>
        <p:nvGrpSpPr>
          <p:cNvPr id="101" name="Group 100">
            <a:extLst>
              <a:ext uri="{FF2B5EF4-FFF2-40B4-BE49-F238E27FC236}">
                <a16:creationId xmlns:a16="http://schemas.microsoft.com/office/drawing/2014/main" id="{35DFBC8F-CE58-304B-8DEE-94EC752F44CF}"/>
              </a:ext>
            </a:extLst>
          </p:cNvPr>
          <p:cNvGrpSpPr/>
          <p:nvPr/>
        </p:nvGrpSpPr>
        <p:grpSpPr>
          <a:xfrm>
            <a:off x="6768027" y="1839984"/>
            <a:ext cx="746272" cy="716895"/>
            <a:chOff x="7459572" y="4523564"/>
            <a:chExt cx="1194345" cy="1147331"/>
          </a:xfrm>
        </p:grpSpPr>
        <p:pic>
          <p:nvPicPr>
            <p:cNvPr id="102" name="Picture 101" descr="A screenshot of a cell phone&#10;&#10;Description automatically generated">
              <a:extLst>
                <a:ext uri="{FF2B5EF4-FFF2-40B4-BE49-F238E27FC236}">
                  <a16:creationId xmlns:a16="http://schemas.microsoft.com/office/drawing/2014/main" id="{F113B8E5-53EF-5049-9713-BEB4D97CA0AA}"/>
                </a:ext>
              </a:extLst>
            </p:cNvPr>
            <p:cNvPicPr>
              <a:picLocks noChangeAspect="1"/>
            </p:cNvPicPr>
            <p:nvPr/>
          </p:nvPicPr>
          <p:blipFill rotWithShape="1">
            <a:blip r:embed="rId8"/>
            <a:srcRect l="16434" t="17110" r="51233" b="45355"/>
            <a:stretch/>
          </p:blipFill>
          <p:spPr>
            <a:xfrm>
              <a:off x="7496635" y="4559309"/>
              <a:ext cx="1157282" cy="1111586"/>
            </a:xfrm>
            <a:prstGeom prst="rect">
              <a:avLst/>
            </a:prstGeom>
          </p:spPr>
        </p:pic>
        <p:sp>
          <p:nvSpPr>
            <p:cNvPr id="103" name="Rectangle 102">
              <a:extLst>
                <a:ext uri="{FF2B5EF4-FFF2-40B4-BE49-F238E27FC236}">
                  <a16:creationId xmlns:a16="http://schemas.microsoft.com/office/drawing/2014/main" id="{87D165A4-6D45-A342-8857-5F4BF68A6DE6}"/>
                </a:ext>
              </a:extLst>
            </p:cNvPr>
            <p:cNvSpPr/>
            <p:nvPr/>
          </p:nvSpPr>
          <p:spPr>
            <a:xfrm>
              <a:off x="7459572" y="4523564"/>
              <a:ext cx="1188242" cy="1080721"/>
            </a:xfrm>
            <a:prstGeom prst="rect">
              <a:avLst/>
            </a:prstGeom>
            <a:noFill/>
            <a:ln w="19050" cap="flat" cmpd="sng" algn="ctr">
              <a:solidFill>
                <a:srgbClr val="000000"/>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57135" tIns="28568" rIns="57135" bIns="28568" numCol="1" spcCol="0" rtlCol="0" fromWordArt="0" anchor="ctr" anchorCtr="0" forceAA="0" compatLnSpc="1">
              <a:prstTxWarp prst="textNoShape">
                <a:avLst/>
              </a:prstTxWarp>
              <a:noAutofit/>
            </a:bodyPr>
            <a:lstStyle/>
            <a:p>
              <a:pPr marL="0" marR="0" lvl="0" indent="0" algn="ctr" defTabSz="685567" rtl="0" eaLnBrk="1" fontAlgn="auto" latinLnBrk="0" hangingPunct="1">
                <a:lnSpc>
                  <a:spcPct val="100000"/>
                </a:lnSpc>
                <a:spcBef>
                  <a:spcPts val="0"/>
                </a:spcBef>
                <a:spcAft>
                  <a:spcPts val="0"/>
                </a:spcAft>
                <a:buClrTx/>
                <a:buSzTx/>
                <a:buFontTx/>
                <a:buNone/>
                <a:tabLst/>
                <a:defRPr/>
              </a:pPr>
              <a:endParaRPr kumimoji="0" lang="en-US" sz="1349" b="0" i="0" u="none" strike="noStrike" kern="0" cap="none" spc="0" normalizeH="0" baseline="0" noProof="0" dirty="0">
                <a:ln>
                  <a:noFill/>
                </a:ln>
                <a:solidFill>
                  <a:srgbClr val="051243"/>
                </a:solidFill>
                <a:effectLst/>
                <a:uLnTx/>
                <a:uFillTx/>
                <a:latin typeface="Arial" panose="020B0604020202020204"/>
                <a:ea typeface="+mn-ea"/>
                <a:cs typeface="Arial" pitchFamily="34" charset="0"/>
              </a:endParaRPr>
            </a:p>
          </p:txBody>
        </p:sp>
      </p:grpSp>
      <p:grpSp>
        <p:nvGrpSpPr>
          <p:cNvPr id="104" name="Group 103">
            <a:extLst>
              <a:ext uri="{FF2B5EF4-FFF2-40B4-BE49-F238E27FC236}">
                <a16:creationId xmlns:a16="http://schemas.microsoft.com/office/drawing/2014/main" id="{8BC30DDA-6CD6-4841-9A9C-3D1938A3CEF2}"/>
              </a:ext>
            </a:extLst>
          </p:cNvPr>
          <p:cNvGrpSpPr/>
          <p:nvPr/>
        </p:nvGrpSpPr>
        <p:grpSpPr>
          <a:xfrm>
            <a:off x="8032445" y="1839984"/>
            <a:ext cx="869004" cy="675275"/>
            <a:chOff x="14688431" y="2730049"/>
            <a:chExt cx="1390769" cy="1080721"/>
          </a:xfrm>
        </p:grpSpPr>
        <p:sp>
          <p:nvSpPr>
            <p:cNvPr id="105" name="Rectangle 104">
              <a:extLst>
                <a:ext uri="{FF2B5EF4-FFF2-40B4-BE49-F238E27FC236}">
                  <a16:creationId xmlns:a16="http://schemas.microsoft.com/office/drawing/2014/main" id="{6D3FD014-E114-A546-95B0-68074385C3E9}"/>
                </a:ext>
              </a:extLst>
            </p:cNvPr>
            <p:cNvSpPr/>
            <p:nvPr/>
          </p:nvSpPr>
          <p:spPr>
            <a:xfrm>
              <a:off x="14688431" y="2730049"/>
              <a:ext cx="1188242" cy="1080721"/>
            </a:xfrm>
            <a:prstGeom prst="rect">
              <a:avLst/>
            </a:prstGeom>
            <a:noFill/>
            <a:ln w="19050" cap="flat" cmpd="sng" algn="ctr">
              <a:solidFill>
                <a:srgbClr val="000000"/>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57135" tIns="28568" rIns="57135" bIns="28568" numCol="1" spcCol="0" rtlCol="0" fromWordArt="0" anchor="ctr" anchorCtr="0" forceAA="0" compatLnSpc="1">
              <a:prstTxWarp prst="textNoShape">
                <a:avLst/>
              </a:prstTxWarp>
              <a:noAutofit/>
            </a:bodyPr>
            <a:lstStyle/>
            <a:p>
              <a:pPr marL="0" marR="0" lvl="0" indent="0" algn="ctr" defTabSz="685567" rtl="0" eaLnBrk="1" fontAlgn="auto" latinLnBrk="0" hangingPunct="1">
                <a:lnSpc>
                  <a:spcPct val="100000"/>
                </a:lnSpc>
                <a:spcBef>
                  <a:spcPts val="0"/>
                </a:spcBef>
                <a:spcAft>
                  <a:spcPts val="0"/>
                </a:spcAft>
                <a:buClrTx/>
                <a:buSzTx/>
                <a:buFontTx/>
                <a:buNone/>
                <a:tabLst/>
                <a:defRPr/>
              </a:pPr>
              <a:endParaRPr kumimoji="0" lang="en-US" sz="1349" b="0" i="0" u="none" strike="noStrike" kern="0" cap="none" spc="0" normalizeH="0" baseline="0" noProof="0" dirty="0">
                <a:ln>
                  <a:noFill/>
                </a:ln>
                <a:solidFill>
                  <a:srgbClr val="051243"/>
                </a:solidFill>
                <a:effectLst/>
                <a:uLnTx/>
                <a:uFillTx/>
                <a:latin typeface="Arial" panose="020B0604020202020204"/>
                <a:ea typeface="+mn-ea"/>
                <a:cs typeface="Arial" pitchFamily="34" charset="0"/>
              </a:endParaRPr>
            </a:p>
          </p:txBody>
        </p:sp>
        <p:grpSp>
          <p:nvGrpSpPr>
            <p:cNvPr id="106" name="Group 105">
              <a:extLst>
                <a:ext uri="{FF2B5EF4-FFF2-40B4-BE49-F238E27FC236}">
                  <a16:creationId xmlns:a16="http://schemas.microsoft.com/office/drawing/2014/main" id="{A9E52259-3AF0-CD4E-945C-96627487593D}"/>
                </a:ext>
              </a:extLst>
            </p:cNvPr>
            <p:cNvGrpSpPr/>
            <p:nvPr/>
          </p:nvGrpSpPr>
          <p:grpSpPr>
            <a:xfrm>
              <a:off x="14961316" y="2880538"/>
              <a:ext cx="648764" cy="504133"/>
              <a:chOff x="14917073" y="4110136"/>
              <a:chExt cx="1130169" cy="926371"/>
            </a:xfrm>
          </p:grpSpPr>
          <p:pic>
            <p:nvPicPr>
              <p:cNvPr id="108" name="Picture 107" descr="A picture containing game, basketball&#10;&#10;Description automatically generated">
                <a:extLst>
                  <a:ext uri="{FF2B5EF4-FFF2-40B4-BE49-F238E27FC236}">
                    <a16:creationId xmlns:a16="http://schemas.microsoft.com/office/drawing/2014/main" id="{83686C62-63DC-714D-9F7B-5AB37E1A56EB}"/>
                  </a:ext>
                </a:extLst>
              </p:cNvPr>
              <p:cNvPicPr>
                <a:picLocks noChangeAspect="1"/>
              </p:cNvPicPr>
              <p:nvPr/>
            </p:nvPicPr>
            <p:blipFill rotWithShape="1">
              <a:blip r:embed="rId12">
                <a:biLevel thresh="75000"/>
              </a:blip>
              <a:srcRect l="9500" t="5594" r="5093" b="11551"/>
              <a:stretch/>
            </p:blipFill>
            <p:spPr>
              <a:xfrm>
                <a:off x="14917073" y="4110136"/>
                <a:ext cx="673066" cy="926371"/>
              </a:xfrm>
              <a:prstGeom prst="rect">
                <a:avLst/>
              </a:prstGeom>
            </p:spPr>
          </p:pic>
          <p:pic>
            <p:nvPicPr>
              <p:cNvPr id="109" name="Picture 108" descr="A picture containing drawing&#10;&#10;Description automatically generated">
                <a:extLst>
                  <a:ext uri="{FF2B5EF4-FFF2-40B4-BE49-F238E27FC236}">
                    <a16:creationId xmlns:a16="http://schemas.microsoft.com/office/drawing/2014/main" id="{529CCC54-8FD8-A54D-8B99-3E2BB1B78F6C}"/>
                  </a:ext>
                </a:extLst>
              </p:cNvPr>
              <p:cNvPicPr>
                <a:picLocks noChangeAspect="1"/>
              </p:cNvPicPr>
              <p:nvPr/>
            </p:nvPicPr>
            <p:blipFill>
              <a:blip r:embed="rId13">
                <a:biLevel thresh="75000"/>
                <a:extLst>
                  <a:ext uri="{BEBA8EAE-BF5A-486C-A8C5-ECC9F3942E4B}">
                    <a14:imgProps xmlns:a14="http://schemas.microsoft.com/office/drawing/2010/main">
                      <a14:imgLayer r:embed="rId14">
                        <a14:imgEffect>
                          <a14:saturation sat="0"/>
                        </a14:imgEffect>
                      </a14:imgLayer>
                    </a14:imgProps>
                  </a:ext>
                </a:extLst>
              </a:blip>
              <a:stretch>
                <a:fillRect/>
              </a:stretch>
            </p:blipFill>
            <p:spPr>
              <a:xfrm>
                <a:off x="15521517" y="4532374"/>
                <a:ext cx="525725" cy="490246"/>
              </a:xfrm>
              <a:prstGeom prst="rect">
                <a:avLst/>
              </a:prstGeom>
            </p:spPr>
          </p:pic>
        </p:grpSp>
        <p:sp>
          <p:nvSpPr>
            <p:cNvPr id="107" name="TextBox 106">
              <a:extLst>
                <a:ext uri="{FF2B5EF4-FFF2-40B4-BE49-F238E27FC236}">
                  <a16:creationId xmlns:a16="http://schemas.microsoft.com/office/drawing/2014/main" id="{4D6D2F92-C4E6-9E4B-AC2B-F773B5D1B658}"/>
                </a:ext>
              </a:extLst>
            </p:cNvPr>
            <p:cNvSpPr txBox="1"/>
            <p:nvPr/>
          </p:nvSpPr>
          <p:spPr>
            <a:xfrm>
              <a:off x="14967709" y="3459686"/>
              <a:ext cx="1111491" cy="218955"/>
            </a:xfrm>
            <a:prstGeom prst="rect">
              <a:avLst/>
            </a:prstGeom>
          </p:spPr>
          <p:txBody>
            <a:bodyPr wrap="square" lIns="0" tIns="0" rIns="0" bIns="0" rtlCol="0">
              <a:noAutofit/>
            </a:bodyPr>
            <a:lstStyle/>
            <a:p>
              <a:pPr marL="0" marR="0" lvl="0" indent="0" algn="l" defTabSz="685567" rtl="0" eaLnBrk="1" fontAlgn="auto" latinLnBrk="0" hangingPunct="1">
                <a:lnSpc>
                  <a:spcPct val="105000"/>
                </a:lnSpc>
                <a:spcBef>
                  <a:spcPts val="625"/>
                </a:spcBef>
                <a:spcAft>
                  <a:spcPts val="0"/>
                </a:spcAft>
                <a:buClrTx/>
                <a:buSzTx/>
                <a:buFontTx/>
                <a:buNone/>
                <a:tabLst/>
                <a:defRPr/>
              </a:pPr>
              <a:r>
                <a:rPr kumimoji="0" lang="en-US" sz="625" b="0" i="0" u="none" strike="noStrike" kern="0" cap="none" spc="0" normalizeH="0" baseline="0" noProof="0" dirty="0">
                  <a:ln>
                    <a:noFill/>
                  </a:ln>
                  <a:solidFill>
                    <a:srgbClr val="000000">
                      <a:lumMod val="50000"/>
                      <a:lumOff val="50000"/>
                    </a:srgbClr>
                  </a:solidFill>
                  <a:effectLst/>
                  <a:uLnTx/>
                  <a:uFillTx/>
                  <a:latin typeface="IBM Plex Sans" charset="0"/>
                  <a:ea typeface="IBM Plex Sans" charset="0"/>
                  <a:cs typeface="IBM Plex Sans" charset="0"/>
                </a:rPr>
                <a:t>Face Mask </a:t>
              </a:r>
            </a:p>
          </p:txBody>
        </p:sp>
      </p:grpSp>
      <p:pic>
        <p:nvPicPr>
          <p:cNvPr id="111" name="Picture 110" descr="A screenshot of a cell phone&#10;&#10;Description automatically generated">
            <a:extLst>
              <a:ext uri="{FF2B5EF4-FFF2-40B4-BE49-F238E27FC236}">
                <a16:creationId xmlns:a16="http://schemas.microsoft.com/office/drawing/2014/main" id="{55D88347-419A-8945-8882-7A612BB832C1}"/>
              </a:ext>
            </a:extLst>
          </p:cNvPr>
          <p:cNvPicPr>
            <a:picLocks noChangeAspect="1"/>
          </p:cNvPicPr>
          <p:nvPr/>
        </p:nvPicPr>
        <p:blipFill rotWithShape="1">
          <a:blip r:embed="rId8"/>
          <a:srcRect l="17470" t="61752" r="54600" b="7544"/>
          <a:stretch/>
        </p:blipFill>
        <p:spPr>
          <a:xfrm>
            <a:off x="509300" y="1919299"/>
            <a:ext cx="592283" cy="538727"/>
          </a:xfrm>
          <a:prstGeom prst="rect">
            <a:avLst/>
          </a:prstGeom>
          <a:solidFill>
            <a:srgbClr val="FFFFFF">
              <a:shade val="85000"/>
            </a:srgbClr>
          </a:solidFill>
          <a:ln w="19050" cap="sq">
            <a:noFill/>
            <a:prstDash val="dash"/>
            <a:miter lim="800000"/>
          </a:ln>
          <a:effectLst/>
        </p:spPr>
      </p:pic>
      <p:sp>
        <p:nvSpPr>
          <p:cNvPr id="112" name="Rectangle 111">
            <a:extLst>
              <a:ext uri="{FF2B5EF4-FFF2-40B4-BE49-F238E27FC236}">
                <a16:creationId xmlns:a16="http://schemas.microsoft.com/office/drawing/2014/main" id="{77170838-13F5-3441-8F55-5FE12D425DE3}"/>
              </a:ext>
            </a:extLst>
          </p:cNvPr>
          <p:cNvSpPr/>
          <p:nvPr/>
        </p:nvSpPr>
        <p:spPr>
          <a:xfrm>
            <a:off x="424230" y="1839984"/>
            <a:ext cx="742458" cy="675275"/>
          </a:xfrm>
          <a:prstGeom prst="rect">
            <a:avLst/>
          </a:prstGeom>
          <a:noFill/>
          <a:ln w="19050" cap="flat" cmpd="sng" algn="ctr">
            <a:solidFill>
              <a:srgbClr val="000000"/>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57135" tIns="28568" rIns="57135" bIns="28568" numCol="1" spcCol="0" rtlCol="0" fromWordArt="0" anchor="ctr" anchorCtr="0" forceAA="0" compatLnSpc="1">
            <a:prstTxWarp prst="textNoShape">
              <a:avLst/>
            </a:prstTxWarp>
            <a:noAutofit/>
          </a:bodyPr>
          <a:lstStyle/>
          <a:p>
            <a:pPr marL="0" marR="0" lvl="0" indent="0" algn="ctr" defTabSz="685567" rtl="0" eaLnBrk="1" fontAlgn="auto" latinLnBrk="0" hangingPunct="1">
              <a:lnSpc>
                <a:spcPct val="100000"/>
              </a:lnSpc>
              <a:spcBef>
                <a:spcPts val="0"/>
              </a:spcBef>
              <a:spcAft>
                <a:spcPts val="0"/>
              </a:spcAft>
              <a:buClrTx/>
              <a:buSzTx/>
              <a:buFontTx/>
              <a:buNone/>
              <a:tabLst/>
              <a:defRPr/>
            </a:pPr>
            <a:endParaRPr kumimoji="0" lang="en-US" sz="1349" b="0" i="0" u="none" strike="noStrike" kern="0" cap="none" spc="0" normalizeH="0" baseline="0" noProof="0" dirty="0">
              <a:ln>
                <a:noFill/>
              </a:ln>
              <a:solidFill>
                <a:srgbClr val="051243"/>
              </a:solidFill>
              <a:effectLst/>
              <a:uLnTx/>
              <a:uFillTx/>
              <a:latin typeface="Arial" panose="020B0604020202020204"/>
              <a:ea typeface="+mn-ea"/>
              <a:cs typeface="Arial" pitchFamily="34" charset="0"/>
            </a:endParaRPr>
          </a:p>
        </p:txBody>
      </p:sp>
      <p:grpSp>
        <p:nvGrpSpPr>
          <p:cNvPr id="113" name="Group 112">
            <a:extLst>
              <a:ext uri="{FF2B5EF4-FFF2-40B4-BE49-F238E27FC236}">
                <a16:creationId xmlns:a16="http://schemas.microsoft.com/office/drawing/2014/main" id="{AD1B6AFF-27A0-3845-8E98-D29E9DB92F58}"/>
              </a:ext>
            </a:extLst>
          </p:cNvPr>
          <p:cNvGrpSpPr/>
          <p:nvPr/>
        </p:nvGrpSpPr>
        <p:grpSpPr>
          <a:xfrm>
            <a:off x="5498955" y="1839984"/>
            <a:ext cx="750924" cy="675275"/>
            <a:chOff x="8688694" y="3218004"/>
            <a:chExt cx="1201792" cy="1080721"/>
          </a:xfrm>
        </p:grpSpPr>
        <p:grpSp>
          <p:nvGrpSpPr>
            <p:cNvPr id="114" name="Group 113">
              <a:extLst>
                <a:ext uri="{FF2B5EF4-FFF2-40B4-BE49-F238E27FC236}">
                  <a16:creationId xmlns:a16="http://schemas.microsoft.com/office/drawing/2014/main" id="{C758340B-4864-DB45-9D2E-EA20C0005293}"/>
                </a:ext>
              </a:extLst>
            </p:cNvPr>
            <p:cNvGrpSpPr/>
            <p:nvPr/>
          </p:nvGrpSpPr>
          <p:grpSpPr>
            <a:xfrm>
              <a:off x="8688694" y="3218004"/>
              <a:ext cx="1201792" cy="1080721"/>
              <a:chOff x="576526" y="4532374"/>
              <a:chExt cx="1201792" cy="1080721"/>
            </a:xfrm>
          </p:grpSpPr>
          <p:grpSp>
            <p:nvGrpSpPr>
              <p:cNvPr id="116" name="Group 115">
                <a:extLst>
                  <a:ext uri="{FF2B5EF4-FFF2-40B4-BE49-F238E27FC236}">
                    <a16:creationId xmlns:a16="http://schemas.microsoft.com/office/drawing/2014/main" id="{0A99413A-35BE-314B-9D11-D1F610788EBF}"/>
                  </a:ext>
                </a:extLst>
              </p:cNvPr>
              <p:cNvGrpSpPr/>
              <p:nvPr/>
            </p:nvGrpSpPr>
            <p:grpSpPr>
              <a:xfrm>
                <a:off x="576526" y="4532374"/>
                <a:ext cx="1188242" cy="1080721"/>
                <a:chOff x="532326" y="4989629"/>
                <a:chExt cx="1188242" cy="1080721"/>
              </a:xfrm>
            </p:grpSpPr>
            <p:pic>
              <p:nvPicPr>
                <p:cNvPr id="118" name="Picture 2" descr="Crowd Icons - Download Free Vector Icons | Noun Project">
                  <a:extLst>
                    <a:ext uri="{FF2B5EF4-FFF2-40B4-BE49-F238E27FC236}">
                      <a16:creationId xmlns:a16="http://schemas.microsoft.com/office/drawing/2014/main" id="{C0C006AC-BCBE-6640-A0BA-6D001FF906E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21872" y="5003516"/>
                  <a:ext cx="817272" cy="817272"/>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a:extLst>
                    <a:ext uri="{FF2B5EF4-FFF2-40B4-BE49-F238E27FC236}">
                      <a16:creationId xmlns:a16="http://schemas.microsoft.com/office/drawing/2014/main" id="{BA9FCCBA-F117-F74A-B537-C2A7F5ACFCFD}"/>
                    </a:ext>
                  </a:extLst>
                </p:cNvPr>
                <p:cNvSpPr/>
                <p:nvPr/>
              </p:nvSpPr>
              <p:spPr>
                <a:xfrm>
                  <a:off x="532326" y="4989629"/>
                  <a:ext cx="1188242" cy="1080721"/>
                </a:xfrm>
                <a:prstGeom prst="rect">
                  <a:avLst/>
                </a:prstGeom>
                <a:noFill/>
                <a:ln w="19050" cap="flat" cmpd="sng" algn="ctr">
                  <a:solidFill>
                    <a:srgbClr val="000000"/>
                  </a:solid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57135" tIns="28568" rIns="57135" bIns="28568" numCol="1" spcCol="0" rtlCol="0" fromWordArt="0" anchor="ctr" anchorCtr="0" forceAA="0" compatLnSpc="1">
                  <a:prstTxWarp prst="textNoShape">
                    <a:avLst/>
                  </a:prstTxWarp>
                  <a:noAutofit/>
                </a:bodyPr>
                <a:lstStyle/>
                <a:p>
                  <a:pPr marL="0" marR="0" lvl="0" indent="0" algn="ctr" defTabSz="685567" rtl="0" eaLnBrk="1" fontAlgn="auto" latinLnBrk="0" hangingPunct="1">
                    <a:lnSpc>
                      <a:spcPct val="100000"/>
                    </a:lnSpc>
                    <a:spcBef>
                      <a:spcPts val="0"/>
                    </a:spcBef>
                    <a:spcAft>
                      <a:spcPts val="0"/>
                    </a:spcAft>
                    <a:buClrTx/>
                    <a:buSzTx/>
                    <a:buFontTx/>
                    <a:buNone/>
                    <a:tabLst/>
                    <a:defRPr/>
                  </a:pPr>
                  <a:endParaRPr kumimoji="0" lang="en-US" sz="1349" b="0" i="0" u="none" strike="noStrike" kern="0" cap="none" spc="0" normalizeH="0" baseline="0" noProof="0" dirty="0">
                    <a:ln>
                      <a:noFill/>
                    </a:ln>
                    <a:solidFill>
                      <a:srgbClr val="051243"/>
                    </a:solidFill>
                    <a:effectLst/>
                    <a:uLnTx/>
                    <a:uFillTx/>
                    <a:latin typeface="Arial" panose="020B0604020202020204"/>
                    <a:ea typeface="+mn-ea"/>
                    <a:cs typeface="Arial" pitchFamily="34" charset="0"/>
                  </a:endParaRPr>
                </a:p>
              </p:txBody>
            </p:sp>
          </p:grpSp>
          <p:sp>
            <p:nvSpPr>
              <p:cNvPr id="117" name="TextBox 116">
                <a:extLst>
                  <a:ext uri="{FF2B5EF4-FFF2-40B4-BE49-F238E27FC236}">
                    <a16:creationId xmlns:a16="http://schemas.microsoft.com/office/drawing/2014/main" id="{5C641974-2163-C449-9D86-28B5ECCF91A4}"/>
                  </a:ext>
                </a:extLst>
              </p:cNvPr>
              <p:cNvSpPr txBox="1"/>
              <p:nvPr/>
            </p:nvSpPr>
            <p:spPr>
              <a:xfrm>
                <a:off x="666827" y="5326096"/>
                <a:ext cx="1111491" cy="218955"/>
              </a:xfrm>
              <a:prstGeom prst="rect">
                <a:avLst/>
              </a:prstGeom>
            </p:spPr>
            <p:txBody>
              <a:bodyPr wrap="square" lIns="0" tIns="0" rIns="0" bIns="0" rtlCol="0">
                <a:noAutofit/>
              </a:bodyPr>
              <a:lstStyle/>
              <a:p>
                <a:pPr marL="0" marR="0" lvl="0" indent="0" algn="l" defTabSz="685567" rtl="0" eaLnBrk="1" fontAlgn="auto" latinLnBrk="0" hangingPunct="1">
                  <a:lnSpc>
                    <a:spcPct val="105000"/>
                  </a:lnSpc>
                  <a:spcBef>
                    <a:spcPts val="625"/>
                  </a:spcBef>
                  <a:spcAft>
                    <a:spcPts val="0"/>
                  </a:spcAft>
                  <a:buClrTx/>
                  <a:buSzTx/>
                  <a:buFontTx/>
                  <a:buNone/>
                  <a:tabLst/>
                  <a:defRPr/>
                </a:pPr>
                <a:r>
                  <a:rPr kumimoji="0" lang="en-US" sz="625" b="0" i="0" u="none" strike="noStrike" kern="0" cap="none" spc="0" normalizeH="0" baseline="0" noProof="0" dirty="0">
                    <a:ln>
                      <a:noFill/>
                    </a:ln>
                    <a:solidFill>
                      <a:srgbClr val="000000">
                        <a:lumMod val="50000"/>
                        <a:lumOff val="50000"/>
                      </a:srgbClr>
                    </a:solidFill>
                    <a:effectLst/>
                    <a:uLnTx/>
                    <a:uFillTx/>
                    <a:latin typeface="IBM Plex Sans" charset="0"/>
                    <a:ea typeface="IBM Plex Sans" charset="0"/>
                    <a:cs typeface="IBM Plex Sans" charset="0"/>
                  </a:rPr>
                  <a:t>Crowd Avoidance</a:t>
                </a:r>
              </a:p>
            </p:txBody>
          </p:sp>
        </p:grpSp>
        <p:sp>
          <p:nvSpPr>
            <p:cNvPr id="115" name="Oval 114">
              <a:extLst>
                <a:ext uri="{FF2B5EF4-FFF2-40B4-BE49-F238E27FC236}">
                  <a16:creationId xmlns:a16="http://schemas.microsoft.com/office/drawing/2014/main" id="{15D71D83-D717-224F-99BF-A38D330BC810}"/>
                </a:ext>
              </a:extLst>
            </p:cNvPr>
            <p:cNvSpPr>
              <a:spLocks noChangeAspect="1"/>
            </p:cNvSpPr>
            <p:nvPr/>
          </p:nvSpPr>
          <p:spPr>
            <a:xfrm>
              <a:off x="9538468" y="3672042"/>
              <a:ext cx="274320" cy="258755"/>
            </a:xfrm>
            <a:prstGeom prst="ellipse">
              <a:avLst/>
            </a:prstGeom>
            <a:solidFill>
              <a:srgbClr val="000000"/>
            </a:solidFill>
            <a:ln w="12700" cap="flat" cmpd="sng" algn="ctr">
              <a:noFill/>
              <a:prstDash val="solid"/>
              <a:miter lim="800000"/>
            </a:ln>
            <a:effectLst/>
          </p:spPr>
          <p:txBody>
            <a:bodyPr rot="0" spcFirstLastPara="0" vertOverflow="overflow" horzOverflow="overflow" vert="horz" wrap="square" lIns="57135" tIns="28568" rIns="57135" bIns="28568" numCol="1" spcCol="0" rtlCol="0" fromWordArt="0" anchor="ctr" anchorCtr="0" forceAA="0" compatLnSpc="1">
              <a:prstTxWarp prst="textNoShape">
                <a:avLst/>
              </a:prstTxWarp>
              <a:noAutofit/>
            </a:bodyPr>
            <a:lstStyle/>
            <a:p>
              <a:pPr marL="0" marR="0" lvl="0" indent="0" algn="ctr" defTabSz="685567"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Arial" panose="020B0604020202020204"/>
                  <a:ea typeface="+mn-ea"/>
                  <a:cs typeface="Arial" pitchFamily="34" charset="0"/>
                </a:rPr>
                <a:t>X</a:t>
              </a:r>
            </a:p>
          </p:txBody>
        </p:sp>
      </p:grpSp>
      <p:pic>
        <p:nvPicPr>
          <p:cNvPr id="120" name="Picture 8" descr="Beacon Technology: Both Bluetooth and Wi-Fi Helps to Increase the ...">
            <a:extLst>
              <a:ext uri="{FF2B5EF4-FFF2-40B4-BE49-F238E27FC236}">
                <a16:creationId xmlns:a16="http://schemas.microsoft.com/office/drawing/2014/main" id="{B5654D84-DB36-7D4B-BBF2-0BA32DFFA5F9}"/>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471238" y="2636279"/>
            <a:ext cx="272321" cy="191987"/>
          </a:xfrm>
          <a:prstGeom prst="rect">
            <a:avLst/>
          </a:prstGeom>
          <a:noFill/>
        </p:spPr>
      </p:pic>
      <p:pic>
        <p:nvPicPr>
          <p:cNvPr id="121" name="Picture 8" descr="Beacon Technology: Both Bluetooth and Wi-Fi Helps to Increase the ...">
            <a:extLst>
              <a:ext uri="{FF2B5EF4-FFF2-40B4-BE49-F238E27FC236}">
                <a16:creationId xmlns:a16="http://schemas.microsoft.com/office/drawing/2014/main" id="{169E28D1-01D1-D64B-961C-9EC48E8C34F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488177" y="4728713"/>
            <a:ext cx="272321" cy="191987"/>
          </a:xfrm>
          <a:prstGeom prst="rect">
            <a:avLst/>
          </a:prstGeom>
          <a:solidFill>
            <a:srgbClr val="F3F3F3"/>
          </a:solidFill>
        </p:spPr>
      </p:pic>
      <p:pic>
        <p:nvPicPr>
          <p:cNvPr id="122" name="Picture 8" descr="Beacon Technology: Both Bluetooth and Wi-Fi Helps to Increase the ...">
            <a:extLst>
              <a:ext uri="{FF2B5EF4-FFF2-40B4-BE49-F238E27FC236}">
                <a16:creationId xmlns:a16="http://schemas.microsoft.com/office/drawing/2014/main" id="{E0A30C4A-A66F-2B45-ACB3-A69914D4D102}"/>
              </a:ext>
            </a:extLst>
          </p:cNvPr>
          <p:cNvPicPr>
            <a:picLocks noChangeAspect="1" noChangeArrowheads="1"/>
          </p:cNvPicPr>
          <p:nvPr/>
        </p:nvPicPr>
        <p:blipFill>
          <a:blip r:embed="rId16">
            <a:extLst>
              <a:ext uri="{BEBA8EAE-BF5A-486C-A8C5-ECC9F3942E4B}">
                <a14:imgProps xmlns:a14="http://schemas.microsoft.com/office/drawing/2010/main">
                  <a14:imgLayer r:embed="rId19">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3055673" y="2636279"/>
            <a:ext cx="272321" cy="191987"/>
          </a:xfrm>
          <a:prstGeom prst="rect">
            <a:avLst/>
          </a:prstGeom>
          <a:noFill/>
        </p:spPr>
      </p:pic>
      <p:pic>
        <p:nvPicPr>
          <p:cNvPr id="123" name="Picture 8" descr="Beacon Technology: Both Bluetooth and Wi-Fi Helps to Increase the ...">
            <a:extLst>
              <a:ext uri="{FF2B5EF4-FFF2-40B4-BE49-F238E27FC236}">
                <a16:creationId xmlns:a16="http://schemas.microsoft.com/office/drawing/2014/main" id="{A43E27F9-8DD0-A540-9900-FC4CFDE07136}"/>
              </a:ext>
            </a:extLst>
          </p:cNvPr>
          <p:cNvPicPr>
            <a:picLocks noChangeAspect="1" noChangeArrowheads="1"/>
          </p:cNvPicPr>
          <p:nvPr/>
        </p:nvPicPr>
        <p:blipFill>
          <a:blip r:embed="rId16">
            <a:extLst>
              <a:ext uri="{BEBA8EAE-BF5A-486C-A8C5-ECC9F3942E4B}">
                <a14:imgProps xmlns:a14="http://schemas.microsoft.com/office/drawing/2010/main">
                  <a14:imgLayer r:embed="rId20">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4327859" y="2636279"/>
            <a:ext cx="272321" cy="191987"/>
          </a:xfrm>
          <a:prstGeom prst="rect">
            <a:avLst/>
          </a:prstGeom>
          <a:noFill/>
        </p:spPr>
      </p:pic>
      <p:pic>
        <p:nvPicPr>
          <p:cNvPr id="124" name="Picture 10" descr="Camera Icons Repair - Bullet Camera Icon Png , Transparent Cartoon ...">
            <a:extLst>
              <a:ext uri="{FF2B5EF4-FFF2-40B4-BE49-F238E27FC236}">
                <a16:creationId xmlns:a16="http://schemas.microsoft.com/office/drawing/2014/main" id="{71353376-0668-454C-AFCE-E9F7434234D2}"/>
              </a:ext>
            </a:extLst>
          </p:cNvPr>
          <p:cNvPicPr>
            <a:picLocks noChangeAspect="1" noChangeArrowheads="1"/>
          </p:cNvPicPr>
          <p:nvPr/>
        </p:nvPicPr>
        <p:blipFill>
          <a:blip r:embed="rId21">
            <a:duotone>
              <a:srgbClr val="D7306D">
                <a:shade val="45000"/>
                <a:satMod val="135000"/>
              </a:srgbClr>
              <a:prstClr val="white"/>
            </a:duotone>
            <a:extLst>
              <a:ext uri="{BEBA8EAE-BF5A-486C-A8C5-ECC9F3942E4B}">
                <a14:imgProps xmlns:a14="http://schemas.microsoft.com/office/drawing/2010/main">
                  <a14:imgLayer r:embed="rId22">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757869" y="2604865"/>
            <a:ext cx="226908" cy="181708"/>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10" descr="Camera Icons Repair - Bullet Camera Icon Png , Transparent Cartoon ...">
            <a:extLst>
              <a:ext uri="{FF2B5EF4-FFF2-40B4-BE49-F238E27FC236}">
                <a16:creationId xmlns:a16="http://schemas.microsoft.com/office/drawing/2014/main" id="{8A804E7C-61BB-644E-8834-0449FDE8B0CF}"/>
              </a:ext>
            </a:extLst>
          </p:cNvPr>
          <p:cNvPicPr>
            <a:picLocks noChangeAspect="1" noChangeArrowheads="1"/>
          </p:cNvPicPr>
          <p:nvPr/>
        </p:nvPicPr>
        <p:blipFill>
          <a:blip r:embed="rId21">
            <a:duotone>
              <a:srgbClr val="D7306D">
                <a:shade val="45000"/>
                <a:satMod val="135000"/>
              </a:srgbClr>
              <a:prstClr val="white"/>
            </a:duotone>
            <a:extLst>
              <a:ext uri="{BEBA8EAE-BF5A-486C-A8C5-ECC9F3942E4B}">
                <a14:imgProps xmlns:a14="http://schemas.microsoft.com/office/drawing/2010/main">
                  <a14:imgLayer r:embed="rId23">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7043408" y="2604865"/>
            <a:ext cx="226908" cy="181708"/>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10" descr="Camera Icons Repair - Bullet Camera Icon Png , Transparent Cartoon ...">
            <a:extLst>
              <a:ext uri="{FF2B5EF4-FFF2-40B4-BE49-F238E27FC236}">
                <a16:creationId xmlns:a16="http://schemas.microsoft.com/office/drawing/2014/main" id="{A9E50A88-D886-E74E-A0B7-DFDAB74BF95C}"/>
              </a:ext>
            </a:extLst>
          </p:cNvPr>
          <p:cNvPicPr>
            <a:picLocks noChangeAspect="1" noChangeArrowheads="1"/>
          </p:cNvPicPr>
          <p:nvPr/>
        </p:nvPicPr>
        <p:blipFill>
          <a:blip r:embed="rId21">
            <a:duotone>
              <a:srgbClr val="D7306D">
                <a:shade val="45000"/>
                <a:satMod val="135000"/>
              </a:srgbClr>
              <a:prstClr val="white"/>
            </a:duotone>
            <a:extLst>
              <a:ext uri="{BEBA8EAE-BF5A-486C-A8C5-ECC9F3942E4B}">
                <a14:imgProps xmlns:a14="http://schemas.microsoft.com/office/drawing/2010/main">
                  <a14:imgLayer r:embed="rId2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8328949" y="2604865"/>
            <a:ext cx="226908" cy="181708"/>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12" descr="Wearable Technology Icons - Download Free Vector Icons | Noun Project">
            <a:extLst>
              <a:ext uri="{FF2B5EF4-FFF2-40B4-BE49-F238E27FC236}">
                <a16:creationId xmlns:a16="http://schemas.microsoft.com/office/drawing/2014/main" id="{1B952A1A-FBDB-A044-9BAA-EE573CD48456}"/>
              </a:ext>
            </a:extLst>
          </p:cNvPr>
          <p:cNvPicPr>
            <a:picLocks noChangeAspect="1" noChangeArrowheads="1"/>
          </p:cNvPicPr>
          <p:nvPr/>
        </p:nvPicPr>
        <p:blipFill>
          <a:blip r:embed="rId25">
            <a:duotone>
              <a:srgbClr val="00BAB6">
                <a:shade val="45000"/>
                <a:satMod val="135000"/>
              </a:srgbClr>
              <a:prstClr val="white"/>
            </a:duotone>
            <a:extLst>
              <a:ext uri="{BEBA8EAE-BF5A-486C-A8C5-ECC9F3942E4B}">
                <a14:imgProps xmlns:a14="http://schemas.microsoft.com/office/drawing/2010/main">
                  <a14:imgLayer r:embed="rId26">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2022293" y="2671670"/>
            <a:ext cx="128028" cy="128028"/>
          </a:xfrm>
          <a:prstGeom prst="rect">
            <a:avLst/>
          </a:prstGeom>
          <a:noFill/>
        </p:spPr>
      </p:pic>
      <p:pic>
        <p:nvPicPr>
          <p:cNvPr id="128" name="Picture 12" descr="Wearable Technology Icons - Download Free Vector Icons | Noun Project">
            <a:extLst>
              <a:ext uri="{FF2B5EF4-FFF2-40B4-BE49-F238E27FC236}">
                <a16:creationId xmlns:a16="http://schemas.microsoft.com/office/drawing/2014/main" id="{58046A56-0E6D-2747-A294-85B7332C9A1F}"/>
              </a:ext>
            </a:extLst>
          </p:cNvPr>
          <p:cNvPicPr>
            <a:picLocks noChangeAspect="1" noChangeArrowheads="1"/>
          </p:cNvPicPr>
          <p:nvPr/>
        </p:nvPicPr>
        <p:blipFill>
          <a:blip r:embed="rId25">
            <a:duotone>
              <a:srgbClr val="00BAB6">
                <a:shade val="45000"/>
                <a:satMod val="135000"/>
              </a:srgbClr>
              <a:prstClr val="white"/>
            </a:duotone>
            <a:extLst>
              <a:ext uri="{BEBA8EAE-BF5A-486C-A8C5-ECC9F3942E4B}">
                <a14:imgProps xmlns:a14="http://schemas.microsoft.com/office/drawing/2010/main">
                  <a14:imgLayer r:embed="rId27">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728345" y="2661857"/>
            <a:ext cx="140831" cy="140831"/>
          </a:xfrm>
          <a:prstGeom prst="rect">
            <a:avLst/>
          </a:prstGeom>
          <a:noFill/>
        </p:spPr>
      </p:pic>
      <p:pic>
        <p:nvPicPr>
          <p:cNvPr id="129" name="Picture 12" descr="Wearable Technology Icons - Download Free Vector Icons | Noun Project">
            <a:extLst>
              <a:ext uri="{FF2B5EF4-FFF2-40B4-BE49-F238E27FC236}">
                <a16:creationId xmlns:a16="http://schemas.microsoft.com/office/drawing/2014/main" id="{42AEF26A-17E2-1A46-B042-CD697B6DAB45}"/>
              </a:ext>
            </a:extLst>
          </p:cNvPr>
          <p:cNvPicPr>
            <a:picLocks noChangeAspect="1" noChangeArrowheads="1"/>
          </p:cNvPicPr>
          <p:nvPr/>
        </p:nvPicPr>
        <p:blipFill>
          <a:blip r:embed="rId25">
            <a:duotone>
              <a:srgbClr val="00BAB6">
                <a:shade val="45000"/>
                <a:satMod val="135000"/>
              </a:srgbClr>
              <a:prstClr val="white"/>
            </a:duotone>
            <a:extLst>
              <a:ext uri="{BEBA8EAE-BF5A-486C-A8C5-ECC9F3942E4B}">
                <a14:imgProps xmlns:a14="http://schemas.microsoft.com/office/drawing/2010/main">
                  <a14:imgLayer r:embed="rId28">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4156778" y="4766850"/>
            <a:ext cx="140831" cy="140831"/>
          </a:xfrm>
          <a:prstGeom prst="rect">
            <a:avLst/>
          </a:prstGeom>
          <a:noFill/>
        </p:spPr>
      </p:pic>
      <p:sp>
        <p:nvSpPr>
          <p:cNvPr id="130" name="TextBox 129">
            <a:extLst>
              <a:ext uri="{FF2B5EF4-FFF2-40B4-BE49-F238E27FC236}">
                <a16:creationId xmlns:a16="http://schemas.microsoft.com/office/drawing/2014/main" id="{9A9DCCE8-B101-1047-9DD1-147AC6BF7226}"/>
              </a:ext>
            </a:extLst>
          </p:cNvPr>
          <p:cNvSpPr txBox="1"/>
          <p:nvPr/>
        </p:nvSpPr>
        <p:spPr>
          <a:xfrm>
            <a:off x="391513" y="4766851"/>
            <a:ext cx="1253043" cy="268286"/>
          </a:xfrm>
          <a:prstGeom prst="rect">
            <a:avLst/>
          </a:prstGeom>
        </p:spPr>
        <p:txBody>
          <a:bodyPr wrap="square" lIns="0" tIns="0" rIns="0" bIns="0" rtlCol="0">
            <a:noAutofit/>
          </a:bodyPr>
          <a:lstStyle/>
          <a:p>
            <a:pPr marL="0" marR="0" lvl="0" indent="0" algn="l" defTabSz="685567" rtl="0" eaLnBrk="1" fontAlgn="auto" latinLnBrk="0" hangingPunct="1">
              <a:lnSpc>
                <a:spcPct val="105000"/>
              </a:lnSpc>
              <a:spcBef>
                <a:spcPts val="625"/>
              </a:spcBef>
              <a:spcAft>
                <a:spcPts val="0"/>
              </a:spcAft>
              <a:buClrTx/>
              <a:buSzTx/>
              <a:buFontTx/>
              <a:buNone/>
              <a:tabLst/>
              <a:defRPr/>
            </a:pPr>
            <a:r>
              <a:rPr kumimoji="0" lang="en-US" sz="1000" b="0" i="0" u="none" strike="noStrike" kern="1200" cap="none" spc="0" normalizeH="0" baseline="0" noProof="0" dirty="0">
                <a:ln>
                  <a:noFill/>
                </a:ln>
                <a:solidFill>
                  <a:srgbClr val="F3F3F3">
                    <a:lumMod val="50000"/>
                  </a:srgbClr>
                </a:solidFill>
                <a:effectLst/>
                <a:uLnTx/>
                <a:uFillTx/>
                <a:latin typeface="IBM Plex Sans" charset="0"/>
                <a:ea typeface="IBM Plex Sans" charset="0"/>
                <a:cs typeface="IBM Plex Sans" charset="0"/>
              </a:rPr>
              <a:t>Solution based on : </a:t>
            </a:r>
          </a:p>
        </p:txBody>
      </p:sp>
      <p:sp>
        <p:nvSpPr>
          <p:cNvPr id="131" name="TextBox 130">
            <a:extLst>
              <a:ext uri="{FF2B5EF4-FFF2-40B4-BE49-F238E27FC236}">
                <a16:creationId xmlns:a16="http://schemas.microsoft.com/office/drawing/2014/main" id="{19027250-A667-7B41-9214-356FF31CFF75}"/>
              </a:ext>
            </a:extLst>
          </p:cNvPr>
          <p:cNvSpPr txBox="1"/>
          <p:nvPr/>
        </p:nvSpPr>
        <p:spPr>
          <a:xfrm>
            <a:off x="5522821" y="4756548"/>
            <a:ext cx="1074575" cy="268286"/>
          </a:xfrm>
          <a:prstGeom prst="rect">
            <a:avLst/>
          </a:prstGeom>
        </p:spPr>
        <p:txBody>
          <a:bodyPr wrap="square" lIns="0" tIns="0" rIns="0" bIns="0" rtlCol="0">
            <a:noAutofit/>
          </a:bodyPr>
          <a:lstStyle/>
          <a:p>
            <a:pPr marL="0" marR="0" lvl="0" indent="0" algn="l" defTabSz="685567" rtl="0" eaLnBrk="1" fontAlgn="auto" latinLnBrk="0" hangingPunct="1">
              <a:lnSpc>
                <a:spcPct val="105000"/>
              </a:lnSpc>
              <a:spcBef>
                <a:spcPts val="625"/>
              </a:spcBef>
              <a:spcAft>
                <a:spcPts val="0"/>
              </a:spcAft>
              <a:buClrTx/>
              <a:buSzTx/>
              <a:buFontTx/>
              <a:buNone/>
              <a:tabLst/>
              <a:defRPr/>
            </a:pPr>
            <a:r>
              <a:rPr kumimoji="0" lang="en-US" sz="1000" b="0" i="0" u="none" strike="noStrike" kern="1200" cap="none" spc="0" normalizeH="0" baseline="0" noProof="0" dirty="0">
                <a:ln>
                  <a:noFill/>
                </a:ln>
                <a:solidFill>
                  <a:srgbClr val="F3F3F3">
                    <a:lumMod val="50000"/>
                  </a:srgbClr>
                </a:solidFill>
                <a:effectLst/>
                <a:uLnTx/>
                <a:uFillTx/>
                <a:latin typeface="IBM Plex Sans" charset="0"/>
                <a:ea typeface="IBM Plex Sans" charset="0"/>
                <a:cs typeface="IBM Plex Sans" charset="0"/>
              </a:rPr>
              <a:t>Cameras</a:t>
            </a:r>
          </a:p>
        </p:txBody>
      </p:sp>
      <p:pic>
        <p:nvPicPr>
          <p:cNvPr id="132" name="Picture 10" descr="Camera Icons Repair - Bullet Camera Icon Png , Transparent Cartoon ...">
            <a:extLst>
              <a:ext uri="{FF2B5EF4-FFF2-40B4-BE49-F238E27FC236}">
                <a16:creationId xmlns:a16="http://schemas.microsoft.com/office/drawing/2014/main" id="{059F9362-28FE-E649-9BA3-0E4A167538BD}"/>
              </a:ext>
            </a:extLst>
          </p:cNvPr>
          <p:cNvPicPr>
            <a:picLocks noChangeAspect="1" noChangeArrowheads="1"/>
          </p:cNvPicPr>
          <p:nvPr/>
        </p:nvPicPr>
        <p:blipFill>
          <a:blip r:embed="rId29">
            <a:duotone>
              <a:srgbClr val="D7306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240693" y="4746412"/>
            <a:ext cx="226908" cy="181708"/>
          </a:xfrm>
          <a:prstGeom prst="rect">
            <a:avLst/>
          </a:prstGeom>
          <a:noFill/>
          <a:extLst>
            <a:ext uri="{909E8E84-426E-40DD-AFC4-6F175D3DCCD1}">
              <a14:hiddenFill xmlns:a14="http://schemas.microsoft.com/office/drawing/2010/main">
                <a:solidFill>
                  <a:srgbClr val="FFFFFF"/>
                </a:solidFill>
              </a14:hiddenFill>
            </a:ext>
          </a:extLst>
        </p:spPr>
      </p:pic>
      <p:cxnSp>
        <p:nvCxnSpPr>
          <p:cNvPr id="138" name="Straight Connector 137">
            <a:extLst>
              <a:ext uri="{FF2B5EF4-FFF2-40B4-BE49-F238E27FC236}">
                <a16:creationId xmlns:a16="http://schemas.microsoft.com/office/drawing/2014/main" id="{B66EC9EB-AA5F-CF4B-9635-B5BED1B2962B}"/>
              </a:ext>
            </a:extLst>
          </p:cNvPr>
          <p:cNvCxnSpPr>
            <a:cxnSpLocks/>
          </p:cNvCxnSpPr>
          <p:nvPr/>
        </p:nvCxnSpPr>
        <p:spPr>
          <a:xfrm>
            <a:off x="7799058" y="2617991"/>
            <a:ext cx="0" cy="930319"/>
          </a:xfrm>
          <a:prstGeom prst="line">
            <a:avLst/>
          </a:prstGeom>
          <a:noFill/>
          <a:ln w="9525" cap="flat" cmpd="sng" algn="ctr">
            <a:solidFill>
              <a:srgbClr val="F3F3F3">
                <a:lumMod val="50000"/>
              </a:srgbClr>
            </a:solidFill>
            <a:prstDash val="dash"/>
            <a:round/>
            <a:headEnd type="none" w="med" len="med"/>
            <a:tailEnd type="none" w="med" len="med"/>
          </a:ln>
          <a:effectLst/>
        </p:spPr>
      </p:cxnSp>
      <p:pic>
        <p:nvPicPr>
          <p:cNvPr id="139" name="Picture 10" descr="Camera Icons Repair - Bullet Camera Icon Png , Transparent Cartoon ...">
            <a:extLst>
              <a:ext uri="{FF2B5EF4-FFF2-40B4-BE49-F238E27FC236}">
                <a16:creationId xmlns:a16="http://schemas.microsoft.com/office/drawing/2014/main" id="{078F78AF-7D54-B047-A1B8-93AAB13FE3D9}"/>
              </a:ext>
            </a:extLst>
          </p:cNvPr>
          <p:cNvPicPr>
            <a:picLocks noChangeAspect="1" noChangeArrowheads="1"/>
          </p:cNvPicPr>
          <p:nvPr/>
        </p:nvPicPr>
        <p:blipFill>
          <a:blip r:embed="rId29">
            <a:duotone>
              <a:srgbClr val="D7306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600180" y="2617991"/>
            <a:ext cx="226908" cy="181708"/>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10" descr="Camera Icons Repair - Bullet Camera Icon Png , Transparent Cartoon ...">
            <a:extLst>
              <a:ext uri="{FF2B5EF4-FFF2-40B4-BE49-F238E27FC236}">
                <a16:creationId xmlns:a16="http://schemas.microsoft.com/office/drawing/2014/main" id="{1AF63302-BA20-7544-8549-E64B68A86DCA}"/>
              </a:ext>
            </a:extLst>
          </p:cNvPr>
          <p:cNvPicPr>
            <a:picLocks noChangeAspect="1" noChangeArrowheads="1"/>
          </p:cNvPicPr>
          <p:nvPr/>
        </p:nvPicPr>
        <p:blipFill>
          <a:blip r:embed="rId29">
            <a:duotone>
              <a:srgbClr val="D7306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343207" y="2636280"/>
            <a:ext cx="226908" cy="181708"/>
          </a:xfrm>
          <a:prstGeom prst="rect">
            <a:avLst/>
          </a:prstGeom>
          <a:noFill/>
          <a:extLst>
            <a:ext uri="{909E8E84-426E-40DD-AFC4-6F175D3DCCD1}">
              <a14:hiddenFill xmlns:a14="http://schemas.microsoft.com/office/drawing/2010/main">
                <a:solidFill>
                  <a:srgbClr val="FFFFFF"/>
                </a:solidFill>
              </a14:hiddenFill>
            </a:ext>
          </a:extLst>
        </p:spPr>
      </p:pic>
      <p:pic>
        <p:nvPicPr>
          <p:cNvPr id="141" name="Picture 10" descr="Camera Icons Repair - Bullet Camera Icon Png , Transparent Cartoon ...">
            <a:extLst>
              <a:ext uri="{FF2B5EF4-FFF2-40B4-BE49-F238E27FC236}">
                <a16:creationId xmlns:a16="http://schemas.microsoft.com/office/drawing/2014/main" id="{AC72F66D-31B7-CB43-B37A-C760C9F4EB2B}"/>
              </a:ext>
            </a:extLst>
          </p:cNvPr>
          <p:cNvPicPr>
            <a:picLocks noChangeAspect="1" noChangeArrowheads="1"/>
          </p:cNvPicPr>
          <p:nvPr/>
        </p:nvPicPr>
        <p:blipFill>
          <a:blip r:embed="rId29">
            <a:duotone>
              <a:srgbClr val="D7306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99751" y="2636280"/>
            <a:ext cx="226908" cy="181708"/>
          </a:xfrm>
          <a:prstGeom prst="rect">
            <a:avLst/>
          </a:prstGeom>
          <a:noFill/>
          <a:extLst>
            <a:ext uri="{909E8E84-426E-40DD-AFC4-6F175D3DCCD1}">
              <a14:hiddenFill xmlns:a14="http://schemas.microsoft.com/office/drawing/2010/main">
                <a:solidFill>
                  <a:srgbClr val="FFFFFF"/>
                </a:solidFill>
              </a14:hiddenFill>
            </a:ext>
          </a:extLst>
        </p:spPr>
      </p:pic>
      <p:cxnSp>
        <p:nvCxnSpPr>
          <p:cNvPr id="143" name="Straight Connector 142">
            <a:extLst>
              <a:ext uri="{FF2B5EF4-FFF2-40B4-BE49-F238E27FC236}">
                <a16:creationId xmlns:a16="http://schemas.microsoft.com/office/drawing/2014/main" id="{3168B07D-B127-9845-927B-60AD1B36D7C8}"/>
              </a:ext>
            </a:extLst>
          </p:cNvPr>
          <p:cNvCxnSpPr>
            <a:cxnSpLocks/>
          </p:cNvCxnSpPr>
          <p:nvPr/>
        </p:nvCxnSpPr>
        <p:spPr>
          <a:xfrm>
            <a:off x="6510936" y="2617991"/>
            <a:ext cx="0" cy="930319"/>
          </a:xfrm>
          <a:prstGeom prst="line">
            <a:avLst/>
          </a:prstGeom>
          <a:noFill/>
          <a:ln w="9525" cap="flat" cmpd="sng" algn="ctr">
            <a:solidFill>
              <a:srgbClr val="F3F3F3">
                <a:lumMod val="50000"/>
              </a:srgbClr>
            </a:solidFill>
            <a:prstDash val="dash"/>
            <a:round/>
            <a:headEnd type="none" w="med" len="med"/>
            <a:tailEnd type="none" w="med" len="med"/>
          </a:ln>
          <a:effectLst/>
        </p:spPr>
      </p:cxnSp>
      <p:cxnSp>
        <p:nvCxnSpPr>
          <p:cNvPr id="144" name="Straight Connector 143">
            <a:extLst>
              <a:ext uri="{FF2B5EF4-FFF2-40B4-BE49-F238E27FC236}">
                <a16:creationId xmlns:a16="http://schemas.microsoft.com/office/drawing/2014/main" id="{D1415D2F-C43A-E749-8117-6F01F1D9B508}"/>
              </a:ext>
            </a:extLst>
          </p:cNvPr>
          <p:cNvCxnSpPr>
            <a:cxnSpLocks/>
          </p:cNvCxnSpPr>
          <p:nvPr/>
        </p:nvCxnSpPr>
        <p:spPr>
          <a:xfrm>
            <a:off x="5216392" y="2617991"/>
            <a:ext cx="0" cy="930319"/>
          </a:xfrm>
          <a:prstGeom prst="line">
            <a:avLst/>
          </a:prstGeom>
          <a:noFill/>
          <a:ln w="9525" cap="flat" cmpd="sng" algn="ctr">
            <a:solidFill>
              <a:srgbClr val="F3F3F3">
                <a:lumMod val="50000"/>
              </a:srgbClr>
            </a:solidFill>
            <a:prstDash val="dash"/>
            <a:round/>
            <a:headEnd type="none" w="med" len="med"/>
            <a:tailEnd type="none" w="med" len="med"/>
          </a:ln>
          <a:effectLst/>
        </p:spPr>
      </p:cxnSp>
      <p:cxnSp>
        <p:nvCxnSpPr>
          <p:cNvPr id="145" name="Straight Connector 144">
            <a:extLst>
              <a:ext uri="{FF2B5EF4-FFF2-40B4-BE49-F238E27FC236}">
                <a16:creationId xmlns:a16="http://schemas.microsoft.com/office/drawing/2014/main" id="{DD546C76-AED3-9443-9067-2E1BC68F44E0}"/>
              </a:ext>
            </a:extLst>
          </p:cNvPr>
          <p:cNvCxnSpPr>
            <a:cxnSpLocks/>
          </p:cNvCxnSpPr>
          <p:nvPr/>
        </p:nvCxnSpPr>
        <p:spPr>
          <a:xfrm>
            <a:off x="3928270" y="2617991"/>
            <a:ext cx="0" cy="930319"/>
          </a:xfrm>
          <a:prstGeom prst="line">
            <a:avLst/>
          </a:prstGeom>
          <a:noFill/>
          <a:ln w="9525" cap="flat" cmpd="sng" algn="ctr">
            <a:solidFill>
              <a:srgbClr val="F3F3F3">
                <a:lumMod val="50000"/>
              </a:srgbClr>
            </a:solidFill>
            <a:prstDash val="dash"/>
            <a:round/>
            <a:headEnd type="none" w="med" len="med"/>
            <a:tailEnd type="none" w="med" len="med"/>
          </a:ln>
          <a:effectLst/>
        </p:spPr>
      </p:cxnSp>
      <p:cxnSp>
        <p:nvCxnSpPr>
          <p:cNvPr id="146" name="Straight Connector 145">
            <a:extLst>
              <a:ext uri="{FF2B5EF4-FFF2-40B4-BE49-F238E27FC236}">
                <a16:creationId xmlns:a16="http://schemas.microsoft.com/office/drawing/2014/main" id="{B363CE0D-9737-E54C-BD8C-C973420F53F8}"/>
              </a:ext>
            </a:extLst>
          </p:cNvPr>
          <p:cNvCxnSpPr>
            <a:cxnSpLocks/>
          </p:cNvCxnSpPr>
          <p:nvPr/>
        </p:nvCxnSpPr>
        <p:spPr>
          <a:xfrm>
            <a:off x="2696654" y="2604865"/>
            <a:ext cx="0" cy="930319"/>
          </a:xfrm>
          <a:prstGeom prst="line">
            <a:avLst/>
          </a:prstGeom>
          <a:noFill/>
          <a:ln w="9525" cap="flat" cmpd="sng" algn="ctr">
            <a:solidFill>
              <a:srgbClr val="F3F3F3">
                <a:lumMod val="50000"/>
              </a:srgbClr>
            </a:solidFill>
            <a:prstDash val="dash"/>
            <a:round/>
            <a:headEnd type="none" w="med" len="med"/>
            <a:tailEnd type="none" w="med" len="med"/>
          </a:ln>
          <a:effectLst/>
        </p:spPr>
      </p:cxnSp>
      <p:cxnSp>
        <p:nvCxnSpPr>
          <p:cNvPr id="147" name="Straight Connector 146">
            <a:extLst>
              <a:ext uri="{FF2B5EF4-FFF2-40B4-BE49-F238E27FC236}">
                <a16:creationId xmlns:a16="http://schemas.microsoft.com/office/drawing/2014/main" id="{C5DA07C8-891F-FF42-9DF2-6E4C24DCA3F4}"/>
              </a:ext>
            </a:extLst>
          </p:cNvPr>
          <p:cNvCxnSpPr>
            <a:cxnSpLocks/>
          </p:cNvCxnSpPr>
          <p:nvPr/>
        </p:nvCxnSpPr>
        <p:spPr>
          <a:xfrm>
            <a:off x="1408532" y="2604865"/>
            <a:ext cx="0" cy="930319"/>
          </a:xfrm>
          <a:prstGeom prst="line">
            <a:avLst/>
          </a:prstGeom>
          <a:noFill/>
          <a:ln w="9525" cap="flat" cmpd="sng" algn="ctr">
            <a:solidFill>
              <a:srgbClr val="F3F3F3">
                <a:lumMod val="50000"/>
              </a:srgbClr>
            </a:solidFill>
            <a:prstDash val="dash"/>
            <a:round/>
            <a:headEnd type="none" w="med" len="med"/>
            <a:tailEnd type="none" w="med" len="med"/>
          </a:ln>
          <a:effectLst/>
        </p:spPr>
      </p:cxnSp>
    </p:spTree>
    <p:extLst>
      <p:ext uri="{BB962C8B-B14F-4D97-AF65-F5344CB8AC3E}">
        <p14:creationId xmlns:p14="http://schemas.microsoft.com/office/powerpoint/2010/main" val="30290994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3B51E31B-72AD-C84D-BE87-05ACECA4B813}"/>
              </a:ext>
            </a:extLst>
          </p:cNvPr>
          <p:cNvSpPr/>
          <p:nvPr/>
        </p:nvSpPr>
        <p:spPr>
          <a:xfrm>
            <a:off x="1951650" y="2071322"/>
            <a:ext cx="682534" cy="1173951"/>
          </a:xfrm>
          <a:prstGeom prst="rect">
            <a:avLst/>
          </a:prstGeom>
          <a:solidFill>
            <a:schemeClr val="bg2"/>
          </a:solid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27" name="Rectangle 126">
            <a:extLst>
              <a:ext uri="{FF2B5EF4-FFF2-40B4-BE49-F238E27FC236}">
                <a16:creationId xmlns:a16="http://schemas.microsoft.com/office/drawing/2014/main" id="{2C86E832-6FDE-3249-82E1-8AFC22D85229}"/>
              </a:ext>
            </a:extLst>
          </p:cNvPr>
          <p:cNvSpPr/>
          <p:nvPr/>
        </p:nvSpPr>
        <p:spPr>
          <a:xfrm>
            <a:off x="1931888" y="835424"/>
            <a:ext cx="682534" cy="1173951"/>
          </a:xfrm>
          <a:prstGeom prst="rect">
            <a:avLst/>
          </a:prstGeom>
          <a:solidFill>
            <a:schemeClr val="bg2"/>
          </a:solid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0" name="Rounded Rectangle 9">
            <a:extLst>
              <a:ext uri="{FF2B5EF4-FFF2-40B4-BE49-F238E27FC236}">
                <a16:creationId xmlns:a16="http://schemas.microsoft.com/office/drawing/2014/main" id="{C01988CC-939B-4C42-8C42-4E1A1D7D6EEF}"/>
              </a:ext>
            </a:extLst>
          </p:cNvPr>
          <p:cNvSpPr/>
          <p:nvPr/>
        </p:nvSpPr>
        <p:spPr>
          <a:xfrm>
            <a:off x="201905" y="4096496"/>
            <a:ext cx="8765709" cy="920481"/>
          </a:xfrm>
          <a:prstGeom prst="roundRect">
            <a:avLst/>
          </a:prstGeom>
          <a:solidFill>
            <a:schemeClr val="accent2">
              <a:lumMod val="60000"/>
              <a:lumOff val="40000"/>
            </a:schemeClr>
          </a:solidFill>
        </p:spPr>
        <p:txBody>
          <a:bodyPr wrap="square" lIns="0" tIns="0" rIns="0" bIns="0" rtlCol="0" anchor="ctr">
            <a:noAutofit/>
          </a:bodyPr>
          <a:lstStyle/>
          <a:p>
            <a:pPr algn="ctr" defTabSz="685766"/>
            <a:endParaRPr lang="en-US" sz="900" dirty="0" err="1">
              <a:solidFill>
                <a:srgbClr val="FFFFFF"/>
              </a:solidFill>
              <a:latin typeface="Arial"/>
              <a:cs typeface="Arial"/>
            </a:endParaRPr>
          </a:p>
        </p:txBody>
      </p:sp>
      <p:sp>
        <p:nvSpPr>
          <p:cNvPr id="41" name="Shape 736">
            <a:extLst>
              <a:ext uri="{FF2B5EF4-FFF2-40B4-BE49-F238E27FC236}">
                <a16:creationId xmlns:a16="http://schemas.microsoft.com/office/drawing/2014/main" id="{B93DF67E-C697-8749-B288-B0E24D2AF3D8}"/>
              </a:ext>
            </a:extLst>
          </p:cNvPr>
          <p:cNvSpPr/>
          <p:nvPr/>
        </p:nvSpPr>
        <p:spPr>
          <a:xfrm>
            <a:off x="236529" y="3861112"/>
            <a:ext cx="2108355" cy="242374"/>
          </a:xfrm>
          <a:prstGeom prst="rect">
            <a:avLst/>
          </a:prstGeom>
          <a:noFill/>
          <a:ln w="12700">
            <a:miter lim="400000"/>
          </a:ln>
          <a:extLst>
            <a:ext uri="{C572A759-6A51-4108-AA02-DFA0A04FC94B}">
              <ma14:wrappingTextBoxFlag xmlns="" xmlns:ma14="http://schemas.microsoft.com/office/mac/drawingml/2011/main" val="1"/>
            </a:ext>
          </a:extLst>
        </p:spPr>
        <p:txBody>
          <a:bodyPr wrap="square" lIns="28575" tIns="28575" rIns="28575" bIns="28575" anchor="ctr">
            <a:spAutoFit/>
          </a:bodyPr>
          <a:lstStyle>
            <a:lvl1pPr algn="ctr" defTabSz="825500">
              <a:defRPr sz="1600">
                <a:solidFill>
                  <a:srgbClr val="000000"/>
                </a:solidFill>
                <a:latin typeface="+mj-lt"/>
                <a:ea typeface="+mj-ea"/>
                <a:cs typeface="+mj-cs"/>
                <a:sym typeface="Helvetica"/>
              </a:defRPr>
            </a:lvl1pPr>
          </a:lstStyle>
          <a:p>
            <a:pPr defTabSz="619094"/>
            <a:r>
              <a:rPr lang="en-US" sz="1200" b="1" dirty="0">
                <a:solidFill>
                  <a:schemeClr val="tx1"/>
                </a:solidFill>
                <a:latin typeface="IBM Plex Sans" charset="0"/>
                <a:ea typeface="IBM Plex Sans" charset="0"/>
                <a:cs typeface="IBM Plex Sans" charset="0"/>
              </a:rPr>
              <a:t>Maximo HSE / Oil and Gas</a:t>
            </a:r>
            <a:endParaRPr sz="1200" b="1" dirty="0">
              <a:solidFill>
                <a:schemeClr val="tx1"/>
              </a:solidFill>
              <a:latin typeface="IBM Plex Sans" charset="0"/>
              <a:ea typeface="IBM Plex Sans" charset="0"/>
              <a:cs typeface="IBM Plex Sans" charset="0"/>
            </a:endParaRPr>
          </a:p>
        </p:txBody>
      </p:sp>
      <p:sp>
        <p:nvSpPr>
          <p:cNvPr id="2" name="Title 1">
            <a:extLst>
              <a:ext uri="{FF2B5EF4-FFF2-40B4-BE49-F238E27FC236}">
                <a16:creationId xmlns:a16="http://schemas.microsoft.com/office/drawing/2014/main" id="{9D56C3E3-F955-4747-B557-0F90592970F4}"/>
              </a:ext>
            </a:extLst>
          </p:cNvPr>
          <p:cNvSpPr>
            <a:spLocks noGrp="1"/>
          </p:cNvSpPr>
          <p:nvPr>
            <p:ph type="title"/>
          </p:nvPr>
        </p:nvSpPr>
        <p:spPr>
          <a:xfrm>
            <a:off x="201906" y="29229"/>
            <a:ext cx="8807477" cy="664780"/>
          </a:xfrm>
        </p:spPr>
        <p:txBody>
          <a:bodyPr/>
          <a:lstStyle/>
          <a:p>
            <a:r>
              <a:rPr lang="en-US" dirty="0"/>
              <a:t>Maximo Worker Insights </a:t>
            </a:r>
            <a:br>
              <a:rPr lang="en-US" dirty="0"/>
            </a:br>
            <a:r>
              <a:rPr lang="en-US" sz="1500" dirty="0"/>
              <a:t>Prescriptive and just in time analytics to assist employers  in improving workplace safety</a:t>
            </a:r>
          </a:p>
        </p:txBody>
      </p:sp>
      <p:pic>
        <p:nvPicPr>
          <p:cNvPr id="111" name="Picture 110">
            <a:extLst>
              <a:ext uri="{FF2B5EF4-FFF2-40B4-BE49-F238E27FC236}">
                <a16:creationId xmlns:a16="http://schemas.microsoft.com/office/drawing/2014/main" id="{6604BD7A-4544-794F-BB8A-CF024FE578FE}"/>
              </a:ext>
            </a:extLst>
          </p:cNvPr>
          <p:cNvPicPr>
            <a:picLocks noChangeAspect="1"/>
          </p:cNvPicPr>
          <p:nvPr/>
        </p:nvPicPr>
        <p:blipFill>
          <a:blip r:embed="rId3"/>
          <a:stretch>
            <a:fillRect/>
          </a:stretch>
        </p:blipFill>
        <p:spPr>
          <a:xfrm>
            <a:off x="484297" y="4319478"/>
            <a:ext cx="722222" cy="567461"/>
          </a:xfrm>
          <a:prstGeom prst="rect">
            <a:avLst/>
          </a:prstGeom>
        </p:spPr>
      </p:pic>
      <p:sp>
        <p:nvSpPr>
          <p:cNvPr id="113" name="Shape 736">
            <a:extLst>
              <a:ext uri="{FF2B5EF4-FFF2-40B4-BE49-F238E27FC236}">
                <a16:creationId xmlns:a16="http://schemas.microsoft.com/office/drawing/2014/main" id="{31616494-8D70-B143-AC39-9497B3A2AF3E}"/>
              </a:ext>
            </a:extLst>
          </p:cNvPr>
          <p:cNvSpPr/>
          <p:nvPr/>
        </p:nvSpPr>
        <p:spPr>
          <a:xfrm>
            <a:off x="3523118" y="4126442"/>
            <a:ext cx="2106524" cy="219291"/>
          </a:xfrm>
          <a:prstGeom prst="rect">
            <a:avLst/>
          </a:prstGeom>
          <a:noFill/>
          <a:ln w="12700">
            <a:solidFill>
              <a:schemeClr val="accent1">
                <a:shade val="50000"/>
              </a:schemeClr>
            </a:solidFill>
            <a:miter lim="400000"/>
          </a:ln>
          <a:extLst>
            <a:ext uri="{C572A759-6A51-4108-AA02-DFA0A04FC94B}">
              <ma14:wrappingTextBoxFlag xmlns="" xmlns:ma14="http://schemas.microsoft.com/office/mac/drawingml/2011/main" val="1"/>
            </a:ext>
          </a:extLst>
        </p:spPr>
        <p:txBody>
          <a:bodyPr wrap="square" lIns="28575" tIns="28575" rIns="28575" bIns="28575" anchor="ctr">
            <a:spAutoFit/>
          </a:bodyPr>
          <a:lstStyle>
            <a:lvl1pPr algn="ctr" defTabSz="825500">
              <a:defRPr sz="1600">
                <a:solidFill>
                  <a:srgbClr val="000000"/>
                </a:solidFill>
                <a:latin typeface="+mj-lt"/>
                <a:ea typeface="+mj-ea"/>
                <a:cs typeface="+mj-cs"/>
                <a:sym typeface="Helvetica"/>
              </a:defRPr>
            </a:lvl1pPr>
          </a:lstStyle>
          <a:p>
            <a:pPr defTabSz="619094"/>
            <a:r>
              <a:rPr lang="en-US" sz="1050" b="1" dirty="0">
                <a:solidFill>
                  <a:schemeClr val="tx1">
                    <a:lumMod val="85000"/>
                    <a:lumOff val="15000"/>
                  </a:schemeClr>
                </a:solidFill>
                <a:latin typeface="IBM Plex Sans" charset="0"/>
                <a:ea typeface="IBM Plex Sans" charset="0"/>
                <a:cs typeface="IBM Plex Sans" charset="0"/>
              </a:rPr>
              <a:t>Incident Management Process</a:t>
            </a:r>
            <a:endParaRPr sz="1050" b="1" dirty="0">
              <a:solidFill>
                <a:schemeClr val="tx1">
                  <a:lumMod val="85000"/>
                  <a:lumOff val="15000"/>
                </a:schemeClr>
              </a:solidFill>
              <a:latin typeface="IBM Plex Sans" charset="0"/>
              <a:ea typeface="IBM Plex Sans" charset="0"/>
              <a:cs typeface="IBM Plex Sans" charset="0"/>
            </a:endParaRPr>
          </a:p>
        </p:txBody>
      </p:sp>
      <p:sp>
        <p:nvSpPr>
          <p:cNvPr id="114" name="TextBox 113">
            <a:extLst>
              <a:ext uri="{FF2B5EF4-FFF2-40B4-BE49-F238E27FC236}">
                <a16:creationId xmlns:a16="http://schemas.microsoft.com/office/drawing/2014/main" id="{5CF58571-F3FC-2B44-851A-2B92CCD5998D}"/>
              </a:ext>
            </a:extLst>
          </p:cNvPr>
          <p:cNvSpPr txBox="1"/>
          <p:nvPr/>
        </p:nvSpPr>
        <p:spPr>
          <a:xfrm>
            <a:off x="7335298" y="4148920"/>
            <a:ext cx="1482763" cy="844185"/>
          </a:xfrm>
          <a:prstGeom prst="rect">
            <a:avLst/>
          </a:prstGeom>
          <a:noFill/>
          <a:ln w="19050">
            <a:noFill/>
            <a:prstDash val="sysDash"/>
            <a:miter lim="400000"/>
          </a:ln>
        </p:spPr>
        <p:txBody>
          <a:bodyPr lIns="25717" rIns="25717" anchor="ctr"/>
          <a:lstStyle>
            <a:defPPr>
              <a:defRPr lang="en-US"/>
            </a:defPPr>
            <a:lvl1pPr defTabSz="619079">
              <a:defRPr sz="2700" b="1">
                <a:solidFill>
                  <a:schemeClr val="tx2"/>
                </a:solidFill>
                <a:latin typeface="IBM Plex Sans" charset="0"/>
                <a:ea typeface="IBM Plex Sans" charset="0"/>
                <a:cs typeface="IBM Plex Sans" charset="0"/>
              </a:defRPr>
            </a:lvl1pPr>
          </a:lstStyle>
          <a:p>
            <a:pPr defTabSz="685766"/>
            <a:r>
              <a:rPr lang="en-US" sz="1000" b="0" dirty="0">
                <a:solidFill>
                  <a:srgbClr val="1E1E1E"/>
                </a:solidFill>
              </a:rPr>
              <a:t>System processes </a:t>
            </a:r>
            <a:r>
              <a:rPr lang="en-US" sz="1000" dirty="0">
                <a:solidFill>
                  <a:srgbClr val="1E1E1E"/>
                </a:solidFill>
              </a:rPr>
              <a:t>automatically triggers the Incident Management process</a:t>
            </a:r>
          </a:p>
        </p:txBody>
      </p:sp>
      <p:sp>
        <p:nvSpPr>
          <p:cNvPr id="115" name="Shape 732">
            <a:extLst>
              <a:ext uri="{FF2B5EF4-FFF2-40B4-BE49-F238E27FC236}">
                <a16:creationId xmlns:a16="http://schemas.microsoft.com/office/drawing/2014/main" id="{ECD30C5A-F95A-F14D-8FC7-4099305993C2}"/>
              </a:ext>
            </a:extLst>
          </p:cNvPr>
          <p:cNvSpPr/>
          <p:nvPr/>
        </p:nvSpPr>
        <p:spPr>
          <a:xfrm flipH="1" flipV="1">
            <a:off x="5705142" y="4657479"/>
            <a:ext cx="683366" cy="16759"/>
          </a:xfrm>
          <a:prstGeom prst="line">
            <a:avLst/>
          </a:prstGeom>
          <a:ln w="63500">
            <a:solidFill>
              <a:schemeClr val="tx1">
                <a:lumMod val="85000"/>
                <a:lumOff val="15000"/>
              </a:schemeClr>
            </a:solidFill>
            <a:miter lim="400000"/>
            <a:headEnd type="triangle"/>
            <a:tailEnd type="triangle"/>
          </a:ln>
        </p:spPr>
        <p:txBody>
          <a:bodyPr lIns="25717" rIns="25717"/>
          <a:lstStyle/>
          <a:p>
            <a:pPr defTabSz="685766"/>
            <a:endParaRPr sz="1688" dirty="0">
              <a:solidFill>
                <a:srgbClr val="C7C7C7"/>
              </a:solidFill>
              <a:latin typeface="IBM Plex Sans" charset="0"/>
              <a:ea typeface="IBM Plex Sans" charset="0"/>
              <a:cs typeface="IBM Plex Sans" charset="0"/>
            </a:endParaRPr>
          </a:p>
        </p:txBody>
      </p:sp>
      <p:sp>
        <p:nvSpPr>
          <p:cNvPr id="120" name="TextBox 119">
            <a:extLst>
              <a:ext uri="{FF2B5EF4-FFF2-40B4-BE49-F238E27FC236}">
                <a16:creationId xmlns:a16="http://schemas.microsoft.com/office/drawing/2014/main" id="{FE4E8625-FE3E-1D47-8578-C2918D933EBA}"/>
              </a:ext>
            </a:extLst>
          </p:cNvPr>
          <p:cNvSpPr txBox="1"/>
          <p:nvPr/>
        </p:nvSpPr>
        <p:spPr>
          <a:xfrm>
            <a:off x="6868467" y="5029598"/>
            <a:ext cx="1078438" cy="230832"/>
          </a:xfrm>
          <a:prstGeom prst="rect">
            <a:avLst/>
          </a:prstGeom>
          <a:noFill/>
          <a:ln>
            <a:noFill/>
          </a:ln>
        </p:spPr>
        <p:txBody>
          <a:bodyPr wrap="square" rtlCol="0">
            <a:spAutoFit/>
          </a:bodyPr>
          <a:lstStyle/>
          <a:p>
            <a:pPr defTabSz="685766"/>
            <a:r>
              <a:rPr lang="en-US" sz="900" dirty="0">
                <a:solidFill>
                  <a:srgbClr val="595959">
                    <a:lumMod val="60000"/>
                    <a:lumOff val="40000"/>
                  </a:srgbClr>
                </a:solidFill>
                <a:latin typeface="Arial"/>
              </a:rPr>
              <a:t>Time</a:t>
            </a:r>
          </a:p>
        </p:txBody>
      </p:sp>
      <p:sp>
        <p:nvSpPr>
          <p:cNvPr id="59" name="TextBox 58">
            <a:extLst>
              <a:ext uri="{FF2B5EF4-FFF2-40B4-BE49-F238E27FC236}">
                <a16:creationId xmlns:a16="http://schemas.microsoft.com/office/drawing/2014/main" id="{7D3E9AFA-A2FB-EA48-A810-AB65C0B80DC8}"/>
              </a:ext>
            </a:extLst>
          </p:cNvPr>
          <p:cNvSpPr txBox="1"/>
          <p:nvPr/>
        </p:nvSpPr>
        <p:spPr>
          <a:xfrm>
            <a:off x="3225894" y="3704289"/>
            <a:ext cx="2542911" cy="400110"/>
          </a:xfrm>
          <a:prstGeom prst="rect">
            <a:avLst/>
          </a:prstGeom>
          <a:solidFill>
            <a:schemeClr val="bg2">
              <a:lumMod val="75000"/>
            </a:schemeClr>
          </a:solidFill>
          <a:ln w="12700">
            <a:solidFill>
              <a:schemeClr val="accent5">
                <a:lumMod val="75000"/>
              </a:schemeClr>
            </a:solidFill>
          </a:ln>
        </p:spPr>
        <p:txBody>
          <a:bodyPr wrap="square" rtlCol="0">
            <a:spAutoFit/>
          </a:bodyPr>
          <a:lstStyle>
            <a:defPPr>
              <a:defRPr lang="en-US"/>
            </a:defPPr>
            <a:lvl1pPr algn="ctr">
              <a:defRPr sz="1200">
                <a:latin typeface="IBM Plex Sans" charset="0"/>
                <a:ea typeface="IBM Plex Sans" charset="0"/>
                <a:cs typeface="IBM Plex Sans" charset="0"/>
              </a:defRPr>
            </a:lvl1pPr>
          </a:lstStyle>
          <a:p>
            <a:pPr defTabSz="457178"/>
            <a:r>
              <a:rPr lang="en-US" sz="1000" dirty="0">
                <a:solidFill>
                  <a:srgbClr val="1E1E1E"/>
                </a:solidFill>
              </a:rPr>
              <a:t>Near real time data from leveraging IoT technology from workers and assets</a:t>
            </a:r>
          </a:p>
        </p:txBody>
      </p:sp>
      <p:sp>
        <p:nvSpPr>
          <p:cNvPr id="61" name="TextBox 60">
            <a:extLst>
              <a:ext uri="{FF2B5EF4-FFF2-40B4-BE49-F238E27FC236}">
                <a16:creationId xmlns:a16="http://schemas.microsoft.com/office/drawing/2014/main" id="{3CCF83D0-615D-DB42-91ED-89722DB96651}"/>
              </a:ext>
            </a:extLst>
          </p:cNvPr>
          <p:cNvSpPr txBox="1"/>
          <p:nvPr/>
        </p:nvSpPr>
        <p:spPr>
          <a:xfrm>
            <a:off x="1448969" y="4364656"/>
            <a:ext cx="1371361" cy="707886"/>
          </a:xfrm>
          <a:prstGeom prst="rect">
            <a:avLst/>
          </a:prstGeom>
          <a:noFill/>
          <a:ln w="28575">
            <a:noFill/>
          </a:ln>
        </p:spPr>
        <p:txBody>
          <a:bodyPr wrap="square" rtlCol="0">
            <a:spAutoFit/>
          </a:bodyPr>
          <a:lstStyle/>
          <a:p>
            <a:pPr algn="ctr" defTabSz="457178"/>
            <a:r>
              <a:rPr lang="en-US" sz="1000" dirty="0">
                <a:solidFill>
                  <a:srgbClr val="1E1E1E"/>
                </a:solidFill>
                <a:latin typeface="IBM Plex Sans" charset="0"/>
                <a:ea typeface="IBM Plex Sans" charset="0"/>
                <a:cs typeface="IBM Plex Sans" charset="0"/>
              </a:rPr>
              <a:t>Data automatically fed to HSE incident management system</a:t>
            </a:r>
          </a:p>
        </p:txBody>
      </p:sp>
      <p:sp>
        <p:nvSpPr>
          <p:cNvPr id="68" name="Shape 732">
            <a:extLst>
              <a:ext uri="{FF2B5EF4-FFF2-40B4-BE49-F238E27FC236}">
                <a16:creationId xmlns:a16="http://schemas.microsoft.com/office/drawing/2014/main" id="{FDA79E63-24CC-C04E-B257-E5106A5B2D7C}"/>
              </a:ext>
            </a:extLst>
          </p:cNvPr>
          <p:cNvSpPr/>
          <p:nvPr/>
        </p:nvSpPr>
        <p:spPr>
          <a:xfrm flipH="1" flipV="1">
            <a:off x="2854742" y="4631254"/>
            <a:ext cx="626159" cy="967"/>
          </a:xfrm>
          <a:prstGeom prst="line">
            <a:avLst/>
          </a:prstGeom>
          <a:ln w="63500">
            <a:solidFill>
              <a:schemeClr val="tx1">
                <a:lumMod val="85000"/>
                <a:lumOff val="15000"/>
              </a:schemeClr>
            </a:solidFill>
            <a:miter lim="400000"/>
            <a:headEnd type="triangle"/>
            <a:tailEnd type="triangle"/>
          </a:ln>
        </p:spPr>
        <p:txBody>
          <a:bodyPr lIns="25717" rIns="25717"/>
          <a:lstStyle/>
          <a:p>
            <a:pPr defTabSz="685766"/>
            <a:endParaRPr sz="1688" dirty="0">
              <a:solidFill>
                <a:srgbClr val="C7C7C7"/>
              </a:solidFill>
              <a:latin typeface="IBM Plex Sans" charset="0"/>
              <a:ea typeface="IBM Plex Sans" charset="0"/>
              <a:cs typeface="IBM Plex Sans" charset="0"/>
            </a:endParaRPr>
          </a:p>
        </p:txBody>
      </p:sp>
      <p:pic>
        <p:nvPicPr>
          <p:cNvPr id="53" name="Graphic 52" descr="Customer review">
            <a:extLst>
              <a:ext uri="{FF2B5EF4-FFF2-40B4-BE49-F238E27FC236}">
                <a16:creationId xmlns:a16="http://schemas.microsoft.com/office/drawing/2014/main" id="{42803DBA-971C-BA4D-805E-1933286ACAB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10470" y="4298718"/>
            <a:ext cx="396341" cy="600236"/>
          </a:xfrm>
          <a:prstGeom prst="rect">
            <a:avLst/>
          </a:prstGeom>
        </p:spPr>
      </p:pic>
      <p:sp>
        <p:nvSpPr>
          <p:cNvPr id="54" name="TextBox 53">
            <a:extLst>
              <a:ext uri="{FF2B5EF4-FFF2-40B4-BE49-F238E27FC236}">
                <a16:creationId xmlns:a16="http://schemas.microsoft.com/office/drawing/2014/main" id="{3DAC418C-CA0A-F244-B73A-7250BB17DF73}"/>
              </a:ext>
            </a:extLst>
          </p:cNvPr>
          <p:cNvSpPr txBox="1"/>
          <p:nvPr/>
        </p:nvSpPr>
        <p:spPr>
          <a:xfrm>
            <a:off x="4267164" y="4350093"/>
            <a:ext cx="1475765" cy="613344"/>
          </a:xfrm>
          <a:prstGeom prst="rect">
            <a:avLst/>
          </a:prstGeom>
          <a:noFill/>
          <a:ln w="19050">
            <a:noFill/>
            <a:prstDash val="sysDash"/>
            <a:miter lim="400000"/>
          </a:ln>
        </p:spPr>
        <p:txBody>
          <a:bodyPr lIns="25717" rIns="25717" anchor="ctr"/>
          <a:lstStyle>
            <a:defPPr>
              <a:defRPr lang="en-US"/>
            </a:defPPr>
            <a:lvl1pPr defTabSz="619079">
              <a:defRPr sz="2700" b="1">
                <a:solidFill>
                  <a:schemeClr val="tx2"/>
                </a:solidFill>
                <a:latin typeface="IBM Plex Sans" charset="0"/>
                <a:ea typeface="IBM Plex Sans" charset="0"/>
                <a:cs typeface="IBM Plex Sans" charset="0"/>
              </a:defRPr>
            </a:lvl1pPr>
          </a:lstStyle>
          <a:p>
            <a:pPr defTabSz="685766"/>
            <a:r>
              <a:rPr lang="en-US" sz="1000" b="0" dirty="0">
                <a:solidFill>
                  <a:srgbClr val="1E1E1E"/>
                </a:solidFill>
              </a:rPr>
              <a:t>System processes rules to determine if event was actual incident</a:t>
            </a:r>
            <a:endParaRPr lang="en-US" sz="1000" dirty="0">
              <a:solidFill>
                <a:srgbClr val="1E1E1E"/>
              </a:solidFill>
            </a:endParaRPr>
          </a:p>
        </p:txBody>
      </p:sp>
      <p:pic>
        <p:nvPicPr>
          <p:cNvPr id="55" name="Graphic 54" descr="Circles with arrows">
            <a:extLst>
              <a:ext uri="{FF2B5EF4-FFF2-40B4-BE49-F238E27FC236}">
                <a16:creationId xmlns:a16="http://schemas.microsoft.com/office/drawing/2014/main" id="{A7D59D91-A74D-524B-B51E-68D143ACC0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50720" y="4223102"/>
            <a:ext cx="791754" cy="791754"/>
          </a:xfrm>
          <a:prstGeom prst="rect">
            <a:avLst/>
          </a:prstGeom>
        </p:spPr>
      </p:pic>
      <p:sp>
        <p:nvSpPr>
          <p:cNvPr id="56" name="Rectangle 55">
            <a:extLst>
              <a:ext uri="{FF2B5EF4-FFF2-40B4-BE49-F238E27FC236}">
                <a16:creationId xmlns:a16="http://schemas.microsoft.com/office/drawing/2014/main" id="{9A80FBA0-4D77-6645-B4D1-2CBA70677DD6}"/>
              </a:ext>
            </a:extLst>
          </p:cNvPr>
          <p:cNvSpPr/>
          <p:nvPr/>
        </p:nvSpPr>
        <p:spPr>
          <a:xfrm>
            <a:off x="6243913" y="595906"/>
            <a:ext cx="2331904" cy="2775004"/>
          </a:xfrm>
          <a:prstGeom prst="rect">
            <a:avLst/>
          </a:prstGeom>
          <a:solidFill>
            <a:schemeClr val="bg2"/>
          </a:solid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57" name="Rectangle 56">
            <a:extLst>
              <a:ext uri="{FF2B5EF4-FFF2-40B4-BE49-F238E27FC236}">
                <a16:creationId xmlns:a16="http://schemas.microsoft.com/office/drawing/2014/main" id="{8F5CEB09-F3C6-B247-82DF-CFE58C0BE6A1}"/>
              </a:ext>
            </a:extLst>
          </p:cNvPr>
          <p:cNvSpPr/>
          <p:nvPr/>
        </p:nvSpPr>
        <p:spPr>
          <a:xfrm>
            <a:off x="228600" y="1162051"/>
            <a:ext cx="1228060" cy="1833240"/>
          </a:xfrm>
          <a:prstGeom prst="rect">
            <a:avLst/>
          </a:prstGeom>
          <a:solidFill>
            <a:schemeClr val="bg2"/>
          </a:solid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73" name="Text Box 5">
            <a:extLst>
              <a:ext uri="{FF2B5EF4-FFF2-40B4-BE49-F238E27FC236}">
                <a16:creationId xmlns:a16="http://schemas.microsoft.com/office/drawing/2014/main" id="{2C568130-022C-DA4D-A602-B59E2A465CCD}"/>
              </a:ext>
            </a:extLst>
          </p:cNvPr>
          <p:cNvSpPr txBox="1">
            <a:spLocks noChangeArrowheads="1"/>
          </p:cNvSpPr>
          <p:nvPr/>
        </p:nvSpPr>
        <p:spPr bwMode="auto">
          <a:xfrm>
            <a:off x="6214223" y="3172457"/>
            <a:ext cx="2331904" cy="184666"/>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9525" algn="ctr">
                <a:solidFill>
                  <a:schemeClr val="bg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lr>
                <a:schemeClr val="tx1"/>
              </a:buClr>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chemeClr val="tx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 typeface="Wingdings" panose="05000000000000000000" pitchFamily="2" charset="2"/>
              <a:buNone/>
              <a:tabLst/>
              <a:defRPr/>
            </a:pPr>
            <a:r>
              <a:rPr kumimoji="0" lang="en-US" altLang="en-US" sz="1200" b="1" i="0" u="none" strike="noStrike" kern="1200" cap="none" spc="0" normalizeH="0" baseline="0" noProof="0" dirty="0">
                <a:ln>
                  <a:noFill/>
                </a:ln>
                <a:solidFill>
                  <a:srgbClr val="000000"/>
                </a:solidFill>
                <a:effectLst/>
                <a:uLnTx/>
                <a:uFillTx/>
                <a:latin typeface="IBM Plex Sans"/>
                <a:ea typeface="+mn-ea"/>
                <a:cs typeface="Arial" panose="020B0604020202020204" pitchFamily="34" charset="0"/>
              </a:rPr>
              <a:t>Dashboard / KPI’s / Monitoring</a:t>
            </a:r>
          </a:p>
        </p:txBody>
      </p:sp>
      <p:sp>
        <p:nvSpPr>
          <p:cNvPr id="74" name="Text Box 5">
            <a:extLst>
              <a:ext uri="{FF2B5EF4-FFF2-40B4-BE49-F238E27FC236}">
                <a16:creationId xmlns:a16="http://schemas.microsoft.com/office/drawing/2014/main" id="{B07CB75D-CA03-9E4F-8530-1DBED82EB310}"/>
              </a:ext>
            </a:extLst>
          </p:cNvPr>
          <p:cNvSpPr txBox="1">
            <a:spLocks noChangeArrowheads="1"/>
          </p:cNvSpPr>
          <p:nvPr/>
        </p:nvSpPr>
        <p:spPr bwMode="auto">
          <a:xfrm>
            <a:off x="6328619" y="2854555"/>
            <a:ext cx="2492828" cy="276999"/>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9525" algn="ctr">
                <a:solidFill>
                  <a:schemeClr val="bg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lr>
                <a:schemeClr val="tx1"/>
              </a:buClr>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chemeClr val="tx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altLang="en-US" sz="900" b="0" i="0" u="none" strike="noStrike" kern="1200" cap="none" spc="0" normalizeH="0" baseline="0" noProof="0" dirty="0">
                <a:ln>
                  <a:noFill/>
                </a:ln>
                <a:solidFill>
                  <a:srgbClr val="000000"/>
                </a:solidFill>
                <a:effectLst/>
                <a:uLnTx/>
                <a:uFillTx/>
                <a:latin typeface="IBM Plex Sans"/>
                <a:ea typeface="+mn-ea"/>
                <a:cs typeface="Arial" panose="020B0604020202020204" pitchFamily="34" charset="0"/>
              </a:rPr>
              <a:t>Real-time and historical dashboard</a:t>
            </a: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altLang="en-US" sz="900" b="0" i="0" u="none" strike="noStrike" kern="1200" cap="none" spc="0" normalizeH="0" baseline="0" noProof="0" dirty="0">
                <a:ln>
                  <a:noFill/>
                </a:ln>
                <a:solidFill>
                  <a:srgbClr val="000000"/>
                </a:solidFill>
                <a:effectLst/>
                <a:uLnTx/>
                <a:uFillTx/>
                <a:latin typeface="IBM Plex Sans"/>
                <a:ea typeface="+mn-ea"/>
                <a:cs typeface="Arial" panose="020B0604020202020204" pitchFamily="34" charset="0"/>
              </a:rPr>
              <a:t>(Senior Management / Executive View)</a:t>
            </a:r>
          </a:p>
        </p:txBody>
      </p:sp>
      <p:grpSp>
        <p:nvGrpSpPr>
          <p:cNvPr id="76" name="Group 75">
            <a:extLst>
              <a:ext uri="{FF2B5EF4-FFF2-40B4-BE49-F238E27FC236}">
                <a16:creationId xmlns:a16="http://schemas.microsoft.com/office/drawing/2014/main" id="{56BFC91E-3DBA-5A4C-BDBC-028F3F71F1AD}"/>
              </a:ext>
            </a:extLst>
          </p:cNvPr>
          <p:cNvGrpSpPr/>
          <p:nvPr/>
        </p:nvGrpSpPr>
        <p:grpSpPr>
          <a:xfrm>
            <a:off x="2079495" y="878168"/>
            <a:ext cx="410377" cy="789976"/>
            <a:chOff x="2167112" y="1600701"/>
            <a:chExt cx="397101" cy="764421"/>
          </a:xfrm>
        </p:grpSpPr>
        <p:pic>
          <p:nvPicPr>
            <p:cNvPr id="77" name="Picture 76">
              <a:extLst>
                <a:ext uri="{FF2B5EF4-FFF2-40B4-BE49-F238E27FC236}">
                  <a16:creationId xmlns:a16="http://schemas.microsoft.com/office/drawing/2014/main" id="{DDBF393C-E3C1-AA42-A508-BA294714B00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67112" y="1600701"/>
              <a:ext cx="397101" cy="764421"/>
            </a:xfrm>
            <a:prstGeom prst="rect">
              <a:avLst/>
            </a:prstGeom>
          </p:spPr>
        </p:pic>
        <p:pic>
          <p:nvPicPr>
            <p:cNvPr id="79" name="Picture 78">
              <a:extLst>
                <a:ext uri="{FF2B5EF4-FFF2-40B4-BE49-F238E27FC236}">
                  <a16:creationId xmlns:a16="http://schemas.microsoft.com/office/drawing/2014/main" id="{3DA4E5C0-06CA-D543-B568-1FEF3F939B3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18678" y="1731344"/>
              <a:ext cx="303434" cy="538311"/>
            </a:xfrm>
            <a:prstGeom prst="rect">
              <a:avLst/>
            </a:prstGeom>
          </p:spPr>
        </p:pic>
      </p:grpSp>
      <p:grpSp>
        <p:nvGrpSpPr>
          <p:cNvPr id="84" name="Group 83">
            <a:extLst>
              <a:ext uri="{FF2B5EF4-FFF2-40B4-BE49-F238E27FC236}">
                <a16:creationId xmlns:a16="http://schemas.microsoft.com/office/drawing/2014/main" id="{2FE9F79D-CE72-8A41-9EB1-6486DAADD65F}"/>
              </a:ext>
            </a:extLst>
          </p:cNvPr>
          <p:cNvGrpSpPr/>
          <p:nvPr/>
        </p:nvGrpSpPr>
        <p:grpSpPr>
          <a:xfrm>
            <a:off x="1571564" y="1868414"/>
            <a:ext cx="440706" cy="495544"/>
            <a:chOff x="2611104" y="1840919"/>
            <a:chExt cx="440706" cy="495544"/>
          </a:xfrm>
        </p:grpSpPr>
        <p:sp>
          <p:nvSpPr>
            <p:cNvPr id="88" name="Freeform 17">
              <a:extLst>
                <a:ext uri="{FF2B5EF4-FFF2-40B4-BE49-F238E27FC236}">
                  <a16:creationId xmlns:a16="http://schemas.microsoft.com/office/drawing/2014/main" id="{C31BC3EE-AF25-1E40-BD43-3A0BA70C619B}"/>
                </a:ext>
              </a:extLst>
            </p:cNvPr>
            <p:cNvSpPr>
              <a:spLocks/>
            </p:cNvSpPr>
            <p:nvPr/>
          </p:nvSpPr>
          <p:spPr bwMode="auto">
            <a:xfrm>
              <a:off x="2611104" y="1840919"/>
              <a:ext cx="440706" cy="495544"/>
            </a:xfrm>
            <a:custGeom>
              <a:avLst/>
              <a:gdLst>
                <a:gd name="T0" fmla="*/ 1778 w 1824"/>
                <a:gd name="T1" fmla="*/ 332 h 2048"/>
                <a:gd name="T2" fmla="*/ 1595 w 1824"/>
                <a:gd name="T3" fmla="*/ 229 h 2048"/>
                <a:gd name="T4" fmla="*/ 1492 w 1824"/>
                <a:gd name="T5" fmla="*/ 46 h 2048"/>
                <a:gd name="T6" fmla="*/ 1481 w 1824"/>
                <a:gd name="T7" fmla="*/ 0 h 2048"/>
                <a:gd name="T8" fmla="*/ 343 w 1824"/>
                <a:gd name="T9" fmla="*/ 0 h 2048"/>
                <a:gd name="T10" fmla="*/ 332 w 1824"/>
                <a:gd name="T11" fmla="*/ 46 h 2048"/>
                <a:gd name="T12" fmla="*/ 229 w 1824"/>
                <a:gd name="T13" fmla="*/ 229 h 2048"/>
                <a:gd name="T14" fmla="*/ 46 w 1824"/>
                <a:gd name="T15" fmla="*/ 332 h 2048"/>
                <a:gd name="T16" fmla="*/ 0 w 1824"/>
                <a:gd name="T17" fmla="*/ 343 h 2048"/>
                <a:gd name="T18" fmla="*/ 0 w 1824"/>
                <a:gd name="T19" fmla="*/ 753 h 2048"/>
                <a:gd name="T20" fmla="*/ 244 w 1824"/>
                <a:gd name="T21" fmla="*/ 1535 h 2048"/>
                <a:gd name="T22" fmla="*/ 891 w 1824"/>
                <a:gd name="T23" fmla="*/ 2040 h 2048"/>
                <a:gd name="T24" fmla="*/ 912 w 1824"/>
                <a:gd name="T25" fmla="*/ 2048 h 2048"/>
                <a:gd name="T26" fmla="*/ 933 w 1824"/>
                <a:gd name="T27" fmla="*/ 2040 h 2048"/>
                <a:gd name="T28" fmla="*/ 1580 w 1824"/>
                <a:gd name="T29" fmla="*/ 1535 h 2048"/>
                <a:gd name="T30" fmla="*/ 1824 w 1824"/>
                <a:gd name="T31" fmla="*/ 753 h 2048"/>
                <a:gd name="T32" fmla="*/ 1824 w 1824"/>
                <a:gd name="T33" fmla="*/ 343 h 2048"/>
                <a:gd name="T34" fmla="*/ 1778 w 1824"/>
                <a:gd name="T35" fmla="*/ 332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4" h="2048">
                  <a:moveTo>
                    <a:pt x="1778" y="332"/>
                  </a:moveTo>
                  <a:cubicBezTo>
                    <a:pt x="1709" y="315"/>
                    <a:pt x="1646" y="279"/>
                    <a:pt x="1595" y="229"/>
                  </a:cubicBezTo>
                  <a:cubicBezTo>
                    <a:pt x="1545" y="178"/>
                    <a:pt x="1509" y="115"/>
                    <a:pt x="1492" y="46"/>
                  </a:cubicBezTo>
                  <a:cubicBezTo>
                    <a:pt x="1481" y="0"/>
                    <a:pt x="1481" y="0"/>
                    <a:pt x="1481" y="0"/>
                  </a:cubicBezTo>
                  <a:cubicBezTo>
                    <a:pt x="343" y="0"/>
                    <a:pt x="343" y="0"/>
                    <a:pt x="343" y="0"/>
                  </a:cubicBezTo>
                  <a:cubicBezTo>
                    <a:pt x="332" y="46"/>
                    <a:pt x="332" y="46"/>
                    <a:pt x="332" y="46"/>
                  </a:cubicBezTo>
                  <a:cubicBezTo>
                    <a:pt x="315" y="115"/>
                    <a:pt x="279" y="178"/>
                    <a:pt x="229" y="229"/>
                  </a:cubicBezTo>
                  <a:cubicBezTo>
                    <a:pt x="178" y="279"/>
                    <a:pt x="115" y="315"/>
                    <a:pt x="46" y="332"/>
                  </a:cubicBezTo>
                  <a:cubicBezTo>
                    <a:pt x="0" y="343"/>
                    <a:pt x="0" y="343"/>
                    <a:pt x="0" y="343"/>
                  </a:cubicBezTo>
                  <a:cubicBezTo>
                    <a:pt x="0" y="753"/>
                    <a:pt x="0" y="753"/>
                    <a:pt x="0" y="753"/>
                  </a:cubicBezTo>
                  <a:cubicBezTo>
                    <a:pt x="0" y="1034"/>
                    <a:pt x="85" y="1304"/>
                    <a:pt x="244" y="1535"/>
                  </a:cubicBezTo>
                  <a:cubicBezTo>
                    <a:pt x="404" y="1767"/>
                    <a:pt x="628" y="1941"/>
                    <a:pt x="891" y="2040"/>
                  </a:cubicBezTo>
                  <a:cubicBezTo>
                    <a:pt x="912" y="2048"/>
                    <a:pt x="912" y="2048"/>
                    <a:pt x="912" y="2048"/>
                  </a:cubicBezTo>
                  <a:cubicBezTo>
                    <a:pt x="933" y="2040"/>
                    <a:pt x="933" y="2040"/>
                    <a:pt x="933" y="2040"/>
                  </a:cubicBezTo>
                  <a:cubicBezTo>
                    <a:pt x="1196" y="1941"/>
                    <a:pt x="1420" y="1767"/>
                    <a:pt x="1580" y="1535"/>
                  </a:cubicBezTo>
                  <a:cubicBezTo>
                    <a:pt x="1740" y="1304"/>
                    <a:pt x="1824" y="1034"/>
                    <a:pt x="1824" y="753"/>
                  </a:cubicBezTo>
                  <a:cubicBezTo>
                    <a:pt x="1824" y="343"/>
                    <a:pt x="1824" y="343"/>
                    <a:pt x="1824" y="343"/>
                  </a:cubicBezTo>
                  <a:lnTo>
                    <a:pt x="1778" y="33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IBM Plex Sans"/>
                <a:ea typeface="+mn-ea"/>
                <a:cs typeface="+mn-cs"/>
              </a:endParaRPr>
            </a:p>
          </p:txBody>
        </p:sp>
        <p:sp>
          <p:nvSpPr>
            <p:cNvPr id="94" name="Text Box 5">
              <a:extLst>
                <a:ext uri="{FF2B5EF4-FFF2-40B4-BE49-F238E27FC236}">
                  <a16:creationId xmlns:a16="http://schemas.microsoft.com/office/drawing/2014/main" id="{8A2F6128-C3FD-244A-BFFE-B9C182B7DC80}"/>
                </a:ext>
              </a:extLst>
            </p:cNvPr>
            <p:cNvSpPr txBox="1">
              <a:spLocks noChangeArrowheads="1"/>
            </p:cNvSpPr>
            <p:nvPr/>
          </p:nvSpPr>
          <p:spPr bwMode="auto">
            <a:xfrm>
              <a:off x="2656822" y="1960807"/>
              <a:ext cx="349268" cy="166199"/>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9525" algn="ctr">
                  <a:solidFill>
                    <a:schemeClr val="bg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lr>
                  <a:schemeClr val="tx1"/>
                </a:buClr>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chemeClr val="tx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20000"/>
                </a:lnSpc>
                <a:spcBef>
                  <a:spcPts val="0"/>
                </a:spcBef>
                <a:spcAft>
                  <a:spcPts val="0"/>
                </a:spcAft>
                <a:buClrTx/>
                <a:buSzTx/>
                <a:buFont typeface="Wingdings" panose="05000000000000000000" pitchFamily="2" charset="2"/>
                <a:buNone/>
                <a:tabLst/>
                <a:defRPr/>
              </a:pPr>
              <a:r>
                <a:rPr kumimoji="0" lang="en-US" altLang="en-US" sz="900" b="1" i="0" u="none" strike="noStrike" kern="1200" cap="none" spc="0" normalizeH="0" baseline="0" noProof="0" dirty="0">
                  <a:ln>
                    <a:noFill/>
                  </a:ln>
                  <a:solidFill>
                    <a:srgbClr val="FFFFFF"/>
                  </a:solidFill>
                  <a:effectLst/>
                  <a:uLnTx/>
                  <a:uFillTx/>
                  <a:latin typeface="IBM Plex Sans"/>
                  <a:ea typeface="+mn-ea"/>
                  <a:cs typeface="Arial" panose="020B0604020202020204" pitchFamily="34" charset="0"/>
                </a:rPr>
                <a:t>Edge</a:t>
              </a:r>
            </a:p>
          </p:txBody>
        </p:sp>
      </p:grpSp>
      <p:cxnSp>
        <p:nvCxnSpPr>
          <p:cNvPr id="100" name="Straight Connector 99">
            <a:extLst>
              <a:ext uri="{FF2B5EF4-FFF2-40B4-BE49-F238E27FC236}">
                <a16:creationId xmlns:a16="http://schemas.microsoft.com/office/drawing/2014/main" id="{91E02A4C-61EA-F74F-BCC8-F68224F21BF2}"/>
              </a:ext>
            </a:extLst>
          </p:cNvPr>
          <p:cNvCxnSpPr>
            <a:cxnSpLocks/>
          </p:cNvCxnSpPr>
          <p:nvPr/>
        </p:nvCxnSpPr>
        <p:spPr>
          <a:xfrm>
            <a:off x="2691584" y="1643504"/>
            <a:ext cx="1149274" cy="8805"/>
          </a:xfrm>
          <a:prstGeom prst="line">
            <a:avLst/>
          </a:prstGeom>
          <a:ln w="12700">
            <a:solidFill>
              <a:schemeClr val="accent2"/>
            </a:solidFill>
            <a:headEnd type="arrow"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72E75EC6-3389-084C-A8CC-4F4BFA0B4883}"/>
              </a:ext>
            </a:extLst>
          </p:cNvPr>
          <p:cNvCxnSpPr>
            <a:cxnSpLocks/>
          </p:cNvCxnSpPr>
          <p:nvPr/>
        </p:nvCxnSpPr>
        <p:spPr>
          <a:xfrm>
            <a:off x="5500610" y="2009375"/>
            <a:ext cx="743304" cy="20197"/>
          </a:xfrm>
          <a:prstGeom prst="line">
            <a:avLst/>
          </a:prstGeom>
          <a:ln w="12700">
            <a:solidFill>
              <a:schemeClr val="accent2"/>
            </a:solidFill>
            <a:headEnd type="arrow" w="med" len="med"/>
            <a:tailEnd type="arrow" w="med" len="med"/>
          </a:ln>
          <a:effectLst/>
        </p:spPr>
        <p:style>
          <a:lnRef idx="2">
            <a:schemeClr val="accent1"/>
          </a:lnRef>
          <a:fillRef idx="0">
            <a:schemeClr val="accent1"/>
          </a:fillRef>
          <a:effectRef idx="1">
            <a:schemeClr val="accent1"/>
          </a:effectRef>
          <a:fontRef idx="minor">
            <a:schemeClr val="tx1"/>
          </a:fontRef>
        </p:style>
      </p:cxnSp>
      <p:pic>
        <p:nvPicPr>
          <p:cNvPr id="105" name="Picture 104">
            <a:extLst>
              <a:ext uri="{FF2B5EF4-FFF2-40B4-BE49-F238E27FC236}">
                <a16:creationId xmlns:a16="http://schemas.microsoft.com/office/drawing/2014/main" id="{98C31A67-01B5-0745-AE72-CE1F82B6672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09199" y="2244240"/>
            <a:ext cx="402406" cy="720474"/>
          </a:xfrm>
          <a:prstGeom prst="rect">
            <a:avLst/>
          </a:prstGeom>
        </p:spPr>
      </p:pic>
      <p:pic>
        <p:nvPicPr>
          <p:cNvPr id="106" name="Picture 105">
            <a:extLst>
              <a:ext uri="{FF2B5EF4-FFF2-40B4-BE49-F238E27FC236}">
                <a16:creationId xmlns:a16="http://schemas.microsoft.com/office/drawing/2014/main" id="{2ED1AF18-20EA-C14D-B62A-056342393BA1}"/>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85976" y="1668143"/>
            <a:ext cx="489784" cy="489784"/>
          </a:xfrm>
          <a:prstGeom prst="rect">
            <a:avLst/>
          </a:prstGeom>
        </p:spPr>
      </p:pic>
      <p:pic>
        <p:nvPicPr>
          <p:cNvPr id="107" name="Picture 106">
            <a:extLst>
              <a:ext uri="{FF2B5EF4-FFF2-40B4-BE49-F238E27FC236}">
                <a16:creationId xmlns:a16="http://schemas.microsoft.com/office/drawing/2014/main" id="{47773BBB-6420-E74F-917E-CB772BBF3B70}"/>
              </a:ext>
            </a:extLst>
          </p:cNvPr>
          <p:cNvPicPr>
            <a:picLocks noChangeAspect="1"/>
          </p:cNvPicPr>
          <p:nvPr/>
        </p:nvPicPr>
        <p:blipFill rotWithShape="1">
          <a:blip r:embed="rId12">
            <a:extLst>
              <a:ext uri="{28A0092B-C50C-407E-A947-70E740481C1C}">
                <a14:useLocalDpi xmlns:a14="http://schemas.microsoft.com/office/drawing/2010/main" val="0"/>
              </a:ext>
            </a:extLst>
          </a:blip>
          <a:srcRect l="21261" r="21261"/>
          <a:stretch/>
        </p:blipFill>
        <p:spPr>
          <a:xfrm>
            <a:off x="950116" y="1677989"/>
            <a:ext cx="424647" cy="415743"/>
          </a:xfrm>
          <a:prstGeom prst="rect">
            <a:avLst/>
          </a:prstGeom>
        </p:spPr>
      </p:pic>
      <p:pic>
        <p:nvPicPr>
          <p:cNvPr id="108" name="Picture 107">
            <a:extLst>
              <a:ext uri="{FF2B5EF4-FFF2-40B4-BE49-F238E27FC236}">
                <a16:creationId xmlns:a16="http://schemas.microsoft.com/office/drawing/2014/main" id="{4A84F206-A2B0-FF4D-AF01-94CA47ACE03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28217" y="2600995"/>
            <a:ext cx="469258" cy="320607"/>
          </a:xfrm>
          <a:prstGeom prst="rect">
            <a:avLst/>
          </a:prstGeom>
        </p:spPr>
      </p:pic>
      <p:sp>
        <p:nvSpPr>
          <p:cNvPr id="109" name="Text Box 5">
            <a:extLst>
              <a:ext uri="{FF2B5EF4-FFF2-40B4-BE49-F238E27FC236}">
                <a16:creationId xmlns:a16="http://schemas.microsoft.com/office/drawing/2014/main" id="{F413101D-4FFF-004A-8EF1-3C9931959216}"/>
              </a:ext>
            </a:extLst>
          </p:cNvPr>
          <p:cNvSpPr txBox="1">
            <a:spLocks noChangeArrowheads="1"/>
          </p:cNvSpPr>
          <p:nvPr/>
        </p:nvSpPr>
        <p:spPr bwMode="auto">
          <a:xfrm>
            <a:off x="325624" y="1200153"/>
            <a:ext cx="988318" cy="369332"/>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9525" algn="ctr">
                <a:solidFill>
                  <a:schemeClr val="bg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lr>
                <a:schemeClr val="tx1"/>
              </a:buClr>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chemeClr val="tx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 typeface="Wingdings" panose="05000000000000000000" pitchFamily="2" charset="2"/>
              <a:buNone/>
              <a:tabLst/>
              <a:defRPr/>
            </a:pPr>
            <a:r>
              <a:rPr kumimoji="0" lang="en-US" altLang="en-US" sz="1200" b="1" i="0" u="none" strike="noStrike" kern="1200" cap="none" spc="0" normalizeH="0" baseline="0" noProof="0" dirty="0">
                <a:ln>
                  <a:noFill/>
                </a:ln>
                <a:solidFill>
                  <a:srgbClr val="000000"/>
                </a:solidFill>
                <a:effectLst/>
                <a:uLnTx/>
                <a:uFillTx/>
                <a:latin typeface="IBM Plex Sans"/>
                <a:ea typeface="+mn-ea"/>
                <a:cs typeface="Arial" panose="020B0604020202020204" pitchFamily="34" charset="0"/>
              </a:rPr>
              <a:t>Wearables Sensors</a:t>
            </a:r>
          </a:p>
        </p:txBody>
      </p:sp>
      <p:sp>
        <p:nvSpPr>
          <p:cNvPr id="110" name="Text Box 5">
            <a:extLst>
              <a:ext uri="{FF2B5EF4-FFF2-40B4-BE49-F238E27FC236}">
                <a16:creationId xmlns:a16="http://schemas.microsoft.com/office/drawing/2014/main" id="{6C416BA6-2AC2-D046-8221-C60FCDFA6517}"/>
              </a:ext>
            </a:extLst>
          </p:cNvPr>
          <p:cNvSpPr txBox="1">
            <a:spLocks noChangeArrowheads="1"/>
          </p:cNvSpPr>
          <p:nvPr/>
        </p:nvSpPr>
        <p:spPr bwMode="auto">
          <a:xfrm>
            <a:off x="1806330" y="1671059"/>
            <a:ext cx="988318" cy="276999"/>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9525" algn="ctr">
                <a:solidFill>
                  <a:schemeClr val="bg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lr>
                <a:schemeClr val="tx1"/>
              </a:buClr>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chemeClr val="tx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 typeface="Wingdings" panose="05000000000000000000" pitchFamily="2" charset="2"/>
              <a:buNone/>
              <a:tabLst/>
              <a:defRPr/>
            </a:pPr>
            <a:r>
              <a:rPr kumimoji="0" lang="en-US" altLang="en-US" sz="900" b="1" i="0" u="none" strike="noStrike" kern="1200" cap="none" spc="0" normalizeH="0" baseline="0" noProof="0" dirty="0">
                <a:ln>
                  <a:noFill/>
                </a:ln>
                <a:solidFill>
                  <a:srgbClr val="000000"/>
                </a:solidFill>
                <a:effectLst/>
                <a:uLnTx/>
                <a:uFillTx/>
                <a:latin typeface="IBM Plex Sans"/>
                <a:ea typeface="+mn-ea"/>
                <a:cs typeface="Arial" panose="020B0604020202020204" pitchFamily="34" charset="0"/>
              </a:rPr>
              <a:t>Worker</a:t>
            </a:r>
            <a:br>
              <a:rPr kumimoji="0" lang="en-US" altLang="en-US" sz="900" b="1" i="0" u="none" strike="noStrike" kern="1200" cap="none" spc="0" normalizeH="0" baseline="0" noProof="0" dirty="0">
                <a:ln>
                  <a:noFill/>
                </a:ln>
                <a:solidFill>
                  <a:srgbClr val="000000"/>
                </a:solidFill>
                <a:effectLst/>
                <a:uLnTx/>
                <a:uFillTx/>
                <a:latin typeface="IBM Plex Sans"/>
                <a:ea typeface="+mn-ea"/>
                <a:cs typeface="Arial" panose="020B0604020202020204" pitchFamily="34" charset="0"/>
              </a:rPr>
            </a:br>
            <a:r>
              <a:rPr kumimoji="0" lang="en-US" altLang="en-US" sz="900" b="1" i="0" u="none" strike="noStrike" kern="1200" cap="none" spc="0" normalizeH="0" baseline="0" noProof="0" dirty="0">
                <a:ln>
                  <a:noFill/>
                </a:ln>
                <a:solidFill>
                  <a:srgbClr val="000000"/>
                </a:solidFill>
                <a:effectLst/>
                <a:uLnTx/>
                <a:uFillTx/>
                <a:latin typeface="IBM Plex Sans"/>
                <a:ea typeface="+mn-ea"/>
                <a:cs typeface="Arial" panose="020B0604020202020204" pitchFamily="34" charset="0"/>
              </a:rPr>
              <a:t>Mobile App</a:t>
            </a:r>
          </a:p>
        </p:txBody>
      </p:sp>
      <p:grpSp>
        <p:nvGrpSpPr>
          <p:cNvPr id="117" name="Group 116">
            <a:extLst>
              <a:ext uri="{FF2B5EF4-FFF2-40B4-BE49-F238E27FC236}">
                <a16:creationId xmlns:a16="http://schemas.microsoft.com/office/drawing/2014/main" id="{B4A5A0EA-D838-714B-B439-D100FF65668E}"/>
              </a:ext>
            </a:extLst>
          </p:cNvPr>
          <p:cNvGrpSpPr/>
          <p:nvPr/>
        </p:nvGrpSpPr>
        <p:grpSpPr>
          <a:xfrm>
            <a:off x="2558935" y="880073"/>
            <a:ext cx="463666" cy="463666"/>
            <a:chOff x="2620084" y="1074976"/>
            <a:chExt cx="463666" cy="463666"/>
          </a:xfrm>
        </p:grpSpPr>
        <p:sp>
          <p:nvSpPr>
            <p:cNvPr id="118" name="Oval 117">
              <a:extLst>
                <a:ext uri="{FF2B5EF4-FFF2-40B4-BE49-F238E27FC236}">
                  <a16:creationId xmlns:a16="http://schemas.microsoft.com/office/drawing/2014/main" id="{7A144FFC-559E-034C-B6BE-240E82775C48}"/>
                </a:ext>
              </a:extLst>
            </p:cNvPr>
            <p:cNvSpPr/>
            <p:nvPr/>
          </p:nvSpPr>
          <p:spPr>
            <a:xfrm>
              <a:off x="2620084" y="1074976"/>
              <a:ext cx="463666" cy="463666"/>
            </a:xfrm>
            <a:prstGeom prst="ellipse">
              <a:avLst/>
            </a:prstGeom>
            <a:solidFill>
              <a:schemeClr val="accent2"/>
            </a:solid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err="1">
                <a:ln>
                  <a:noFill/>
                </a:ln>
                <a:solidFill>
                  <a:srgbClr val="FFFFFF"/>
                </a:solidFill>
                <a:effectLst/>
                <a:uLnTx/>
                <a:uFillTx/>
                <a:latin typeface="Arial"/>
                <a:ea typeface="+mn-ea"/>
                <a:cs typeface="Arial"/>
              </a:endParaRPr>
            </a:p>
          </p:txBody>
        </p:sp>
        <p:grpSp>
          <p:nvGrpSpPr>
            <p:cNvPr id="119" name="Group 118">
              <a:extLst>
                <a:ext uri="{FF2B5EF4-FFF2-40B4-BE49-F238E27FC236}">
                  <a16:creationId xmlns:a16="http://schemas.microsoft.com/office/drawing/2014/main" id="{F3334892-F2B9-C947-BD24-D5DB87173C4A}"/>
                </a:ext>
              </a:extLst>
            </p:cNvPr>
            <p:cNvGrpSpPr/>
            <p:nvPr/>
          </p:nvGrpSpPr>
          <p:grpSpPr>
            <a:xfrm>
              <a:off x="2713805" y="1146826"/>
              <a:ext cx="276225" cy="304726"/>
              <a:chOff x="3124200" y="1239838"/>
              <a:chExt cx="289243" cy="319087"/>
            </a:xfrm>
            <a:solidFill>
              <a:schemeClr val="bg2"/>
            </a:solidFill>
          </p:grpSpPr>
          <p:sp>
            <p:nvSpPr>
              <p:cNvPr id="121" name="Rectangle 5">
                <a:extLst>
                  <a:ext uri="{FF2B5EF4-FFF2-40B4-BE49-F238E27FC236}">
                    <a16:creationId xmlns:a16="http://schemas.microsoft.com/office/drawing/2014/main" id="{AB801DDF-9913-BA4C-9762-7893F7387FF0}"/>
                  </a:ext>
                </a:extLst>
              </p:cNvPr>
              <p:cNvSpPr>
                <a:spLocks noChangeArrowheads="1"/>
              </p:cNvSpPr>
              <p:nvPr/>
            </p:nvSpPr>
            <p:spPr bwMode="auto">
              <a:xfrm>
                <a:off x="3240088" y="1271588"/>
                <a:ext cx="42863" cy="111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IBM Plex Sans"/>
                  <a:ea typeface="+mn-ea"/>
                  <a:cs typeface="+mn-cs"/>
                </a:endParaRPr>
              </a:p>
            </p:txBody>
          </p:sp>
          <p:sp>
            <p:nvSpPr>
              <p:cNvPr id="122" name="Freeform 6">
                <a:extLst>
                  <a:ext uri="{FF2B5EF4-FFF2-40B4-BE49-F238E27FC236}">
                    <a16:creationId xmlns:a16="http://schemas.microsoft.com/office/drawing/2014/main" id="{32D2562B-F956-D149-8B21-D8123C96E6F0}"/>
                  </a:ext>
                </a:extLst>
              </p:cNvPr>
              <p:cNvSpPr>
                <a:spLocks noEditPoints="1"/>
              </p:cNvSpPr>
              <p:nvPr/>
            </p:nvSpPr>
            <p:spPr bwMode="auto">
              <a:xfrm>
                <a:off x="3124200" y="1239838"/>
                <a:ext cx="276225" cy="319087"/>
              </a:xfrm>
              <a:custGeom>
                <a:avLst/>
                <a:gdLst>
                  <a:gd name="T0" fmla="*/ 768 w 1248"/>
                  <a:gd name="T1" fmla="*/ 840 h 1440"/>
                  <a:gd name="T2" fmla="*/ 912 w 1248"/>
                  <a:gd name="T3" fmla="*/ 528 h 1440"/>
                  <a:gd name="T4" fmla="*/ 984 w 1248"/>
                  <a:gd name="T5" fmla="*/ 408 h 1440"/>
                  <a:gd name="T6" fmla="*/ 912 w 1248"/>
                  <a:gd name="T7" fmla="*/ 168 h 1440"/>
                  <a:gd name="T8" fmla="*/ 504 w 1248"/>
                  <a:gd name="T9" fmla="*/ 0 h 1440"/>
                  <a:gd name="T10" fmla="*/ 336 w 1248"/>
                  <a:gd name="T11" fmla="*/ 336 h 1440"/>
                  <a:gd name="T12" fmla="*/ 264 w 1248"/>
                  <a:gd name="T13" fmla="*/ 456 h 1440"/>
                  <a:gd name="T14" fmla="*/ 480 w 1248"/>
                  <a:gd name="T15" fmla="*/ 777 h 1440"/>
                  <a:gd name="T16" fmla="*/ 408 w 1248"/>
                  <a:gd name="T17" fmla="*/ 840 h 1440"/>
                  <a:gd name="T18" fmla="*/ 0 w 1248"/>
                  <a:gd name="T19" fmla="*/ 1416 h 1440"/>
                  <a:gd name="T20" fmla="*/ 1224 w 1248"/>
                  <a:gd name="T21" fmla="*/ 1440 h 1440"/>
                  <a:gd name="T22" fmla="*/ 1248 w 1248"/>
                  <a:gd name="T23" fmla="*/ 1248 h 1440"/>
                  <a:gd name="T24" fmla="*/ 480 w 1248"/>
                  <a:gd name="T25" fmla="*/ 888 h 1440"/>
                  <a:gd name="T26" fmla="*/ 581 w 1248"/>
                  <a:gd name="T27" fmla="*/ 1091 h 1440"/>
                  <a:gd name="T28" fmla="*/ 480 w 1248"/>
                  <a:gd name="T29" fmla="*/ 888 h 1440"/>
                  <a:gd name="T30" fmla="*/ 574 w 1248"/>
                  <a:gd name="T31" fmla="*/ 960 h 1440"/>
                  <a:gd name="T32" fmla="*/ 624 w 1248"/>
                  <a:gd name="T33" fmla="*/ 1070 h 1440"/>
                  <a:gd name="T34" fmla="*/ 768 w 1248"/>
                  <a:gd name="T35" fmla="*/ 888 h 1440"/>
                  <a:gd name="T36" fmla="*/ 667 w 1248"/>
                  <a:gd name="T37" fmla="*/ 1091 h 1440"/>
                  <a:gd name="T38" fmla="*/ 384 w 1248"/>
                  <a:gd name="T39" fmla="*/ 288 h 1440"/>
                  <a:gd name="T40" fmla="*/ 864 w 1248"/>
                  <a:gd name="T41" fmla="*/ 359 h 1440"/>
                  <a:gd name="T42" fmla="*/ 624 w 1248"/>
                  <a:gd name="T43" fmla="*/ 312 h 1440"/>
                  <a:gd name="T44" fmla="*/ 384 w 1248"/>
                  <a:gd name="T45" fmla="*/ 359 h 1440"/>
                  <a:gd name="T46" fmla="*/ 936 w 1248"/>
                  <a:gd name="T47" fmla="*/ 408 h 1440"/>
                  <a:gd name="T48" fmla="*/ 912 w 1248"/>
                  <a:gd name="T49" fmla="*/ 480 h 1440"/>
                  <a:gd name="T50" fmla="*/ 936 w 1248"/>
                  <a:gd name="T51" fmla="*/ 408 h 1440"/>
                  <a:gd name="T52" fmla="*/ 744 w 1248"/>
                  <a:gd name="T53" fmla="*/ 48 h 1440"/>
                  <a:gd name="T54" fmla="*/ 864 w 1248"/>
                  <a:gd name="T55" fmla="*/ 240 h 1440"/>
                  <a:gd name="T56" fmla="*/ 384 w 1248"/>
                  <a:gd name="T57" fmla="*/ 168 h 1440"/>
                  <a:gd name="T58" fmla="*/ 312 w 1248"/>
                  <a:gd name="T59" fmla="*/ 456 h 1440"/>
                  <a:gd name="T60" fmla="*/ 336 w 1248"/>
                  <a:gd name="T61" fmla="*/ 384 h 1440"/>
                  <a:gd name="T62" fmla="*/ 312 w 1248"/>
                  <a:gd name="T63" fmla="*/ 456 h 1440"/>
                  <a:gd name="T64" fmla="*/ 384 w 1248"/>
                  <a:gd name="T65" fmla="*/ 407 h 1440"/>
                  <a:gd name="T66" fmla="*/ 624 w 1248"/>
                  <a:gd name="T67" fmla="*/ 360 h 1440"/>
                  <a:gd name="T68" fmla="*/ 864 w 1248"/>
                  <a:gd name="T69" fmla="*/ 407 h 1440"/>
                  <a:gd name="T70" fmla="*/ 624 w 1248"/>
                  <a:gd name="T71" fmla="*/ 768 h 1440"/>
                  <a:gd name="T72" fmla="*/ 624 w 1248"/>
                  <a:gd name="T73" fmla="*/ 816 h 1440"/>
                  <a:gd name="T74" fmla="*/ 720 w 1248"/>
                  <a:gd name="T75" fmla="*/ 859 h 1440"/>
                  <a:gd name="T76" fmla="*/ 552 w 1248"/>
                  <a:gd name="T77" fmla="*/ 912 h 1440"/>
                  <a:gd name="T78" fmla="*/ 528 w 1248"/>
                  <a:gd name="T79" fmla="*/ 800 h 1440"/>
                  <a:gd name="T80" fmla="*/ 48 w 1248"/>
                  <a:gd name="T81" fmla="*/ 1248 h 1440"/>
                  <a:gd name="T82" fmla="*/ 432 w 1248"/>
                  <a:gd name="T83" fmla="*/ 888 h 1440"/>
                  <a:gd name="T84" fmla="*/ 442 w 1248"/>
                  <a:gd name="T85" fmla="*/ 1171 h 1440"/>
                  <a:gd name="T86" fmla="*/ 600 w 1248"/>
                  <a:gd name="T87" fmla="*/ 1136 h 1440"/>
                  <a:gd name="T88" fmla="*/ 264 w 1248"/>
                  <a:gd name="T89" fmla="*/ 1392 h 1440"/>
                  <a:gd name="T90" fmla="*/ 216 w 1248"/>
                  <a:gd name="T91" fmla="*/ 1200 h 1440"/>
                  <a:gd name="T92" fmla="*/ 48 w 1248"/>
                  <a:gd name="T93" fmla="*/ 1392 h 1440"/>
                  <a:gd name="T94" fmla="*/ 1200 w 1248"/>
                  <a:gd name="T95" fmla="*/ 1392 h 1440"/>
                  <a:gd name="T96" fmla="*/ 1032 w 1248"/>
                  <a:gd name="T97" fmla="*/ 1200 h 1440"/>
                  <a:gd name="T98" fmla="*/ 984 w 1248"/>
                  <a:gd name="T99" fmla="*/ 1392 h 1440"/>
                  <a:gd name="T100" fmla="*/ 648 w 1248"/>
                  <a:gd name="T101" fmla="*/ 1136 h 1440"/>
                  <a:gd name="T102" fmla="*/ 806 w 1248"/>
                  <a:gd name="T103" fmla="*/ 1171 h 1440"/>
                  <a:gd name="T104" fmla="*/ 816 w 1248"/>
                  <a:gd name="T105" fmla="*/ 888 h 1440"/>
                  <a:gd name="T106" fmla="*/ 1200 w 1248"/>
                  <a:gd name="T107" fmla="*/ 1248 h 1440"/>
                  <a:gd name="T108" fmla="*/ 1200 w 1248"/>
                  <a:gd name="T109" fmla="*/ 1392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48" h="1440">
                    <a:moveTo>
                      <a:pt x="840" y="840"/>
                    </a:moveTo>
                    <a:cubicBezTo>
                      <a:pt x="768" y="840"/>
                      <a:pt x="768" y="840"/>
                      <a:pt x="768" y="840"/>
                    </a:cubicBezTo>
                    <a:cubicBezTo>
                      <a:pt x="768" y="777"/>
                      <a:pt x="768" y="777"/>
                      <a:pt x="768" y="777"/>
                    </a:cubicBezTo>
                    <a:cubicBezTo>
                      <a:pt x="857" y="726"/>
                      <a:pt x="912" y="631"/>
                      <a:pt x="912" y="528"/>
                    </a:cubicBezTo>
                    <a:cubicBezTo>
                      <a:pt x="952" y="528"/>
                      <a:pt x="984" y="496"/>
                      <a:pt x="984" y="456"/>
                    </a:cubicBezTo>
                    <a:cubicBezTo>
                      <a:pt x="984" y="408"/>
                      <a:pt x="984" y="408"/>
                      <a:pt x="984" y="408"/>
                    </a:cubicBezTo>
                    <a:cubicBezTo>
                      <a:pt x="984" y="368"/>
                      <a:pt x="952" y="336"/>
                      <a:pt x="912" y="336"/>
                    </a:cubicBezTo>
                    <a:cubicBezTo>
                      <a:pt x="912" y="168"/>
                      <a:pt x="912" y="168"/>
                      <a:pt x="912" y="168"/>
                    </a:cubicBezTo>
                    <a:cubicBezTo>
                      <a:pt x="912" y="75"/>
                      <a:pt x="837" y="0"/>
                      <a:pt x="744" y="0"/>
                    </a:cubicBezTo>
                    <a:cubicBezTo>
                      <a:pt x="504" y="0"/>
                      <a:pt x="504" y="0"/>
                      <a:pt x="504" y="0"/>
                    </a:cubicBezTo>
                    <a:cubicBezTo>
                      <a:pt x="411" y="0"/>
                      <a:pt x="336" y="75"/>
                      <a:pt x="336" y="168"/>
                    </a:cubicBezTo>
                    <a:cubicBezTo>
                      <a:pt x="336" y="336"/>
                      <a:pt x="336" y="336"/>
                      <a:pt x="336" y="336"/>
                    </a:cubicBezTo>
                    <a:cubicBezTo>
                      <a:pt x="296" y="336"/>
                      <a:pt x="264" y="368"/>
                      <a:pt x="264" y="408"/>
                    </a:cubicBezTo>
                    <a:cubicBezTo>
                      <a:pt x="264" y="456"/>
                      <a:pt x="264" y="456"/>
                      <a:pt x="264" y="456"/>
                    </a:cubicBezTo>
                    <a:cubicBezTo>
                      <a:pt x="264" y="496"/>
                      <a:pt x="296" y="528"/>
                      <a:pt x="336" y="528"/>
                    </a:cubicBezTo>
                    <a:cubicBezTo>
                      <a:pt x="336" y="631"/>
                      <a:pt x="391" y="726"/>
                      <a:pt x="480" y="777"/>
                    </a:cubicBezTo>
                    <a:cubicBezTo>
                      <a:pt x="480" y="840"/>
                      <a:pt x="480" y="840"/>
                      <a:pt x="480" y="840"/>
                    </a:cubicBezTo>
                    <a:cubicBezTo>
                      <a:pt x="408" y="840"/>
                      <a:pt x="408" y="840"/>
                      <a:pt x="408" y="840"/>
                    </a:cubicBezTo>
                    <a:cubicBezTo>
                      <a:pt x="183" y="840"/>
                      <a:pt x="0" y="1023"/>
                      <a:pt x="0" y="1248"/>
                    </a:cubicBezTo>
                    <a:cubicBezTo>
                      <a:pt x="0" y="1416"/>
                      <a:pt x="0" y="1416"/>
                      <a:pt x="0" y="1416"/>
                    </a:cubicBezTo>
                    <a:cubicBezTo>
                      <a:pt x="0" y="1429"/>
                      <a:pt x="11" y="1440"/>
                      <a:pt x="24" y="1440"/>
                    </a:cubicBezTo>
                    <a:cubicBezTo>
                      <a:pt x="1224" y="1440"/>
                      <a:pt x="1224" y="1440"/>
                      <a:pt x="1224" y="1440"/>
                    </a:cubicBezTo>
                    <a:cubicBezTo>
                      <a:pt x="1237" y="1440"/>
                      <a:pt x="1248" y="1429"/>
                      <a:pt x="1248" y="1416"/>
                    </a:cubicBezTo>
                    <a:cubicBezTo>
                      <a:pt x="1248" y="1248"/>
                      <a:pt x="1248" y="1248"/>
                      <a:pt x="1248" y="1248"/>
                    </a:cubicBezTo>
                    <a:cubicBezTo>
                      <a:pt x="1248" y="1023"/>
                      <a:pt x="1065" y="840"/>
                      <a:pt x="840" y="840"/>
                    </a:cubicBezTo>
                    <a:close/>
                    <a:moveTo>
                      <a:pt x="480" y="888"/>
                    </a:moveTo>
                    <a:cubicBezTo>
                      <a:pt x="489" y="888"/>
                      <a:pt x="489" y="888"/>
                      <a:pt x="489" y="888"/>
                    </a:cubicBezTo>
                    <a:cubicBezTo>
                      <a:pt x="581" y="1091"/>
                      <a:pt x="581" y="1091"/>
                      <a:pt x="581" y="1091"/>
                    </a:cubicBezTo>
                    <a:cubicBezTo>
                      <a:pt x="480" y="1120"/>
                      <a:pt x="480" y="1120"/>
                      <a:pt x="480" y="1120"/>
                    </a:cubicBezTo>
                    <a:lnTo>
                      <a:pt x="480" y="888"/>
                    </a:lnTo>
                    <a:close/>
                    <a:moveTo>
                      <a:pt x="624" y="1070"/>
                    </a:moveTo>
                    <a:cubicBezTo>
                      <a:pt x="574" y="960"/>
                      <a:pt x="574" y="960"/>
                      <a:pt x="574" y="960"/>
                    </a:cubicBezTo>
                    <a:cubicBezTo>
                      <a:pt x="674" y="960"/>
                      <a:pt x="674" y="960"/>
                      <a:pt x="674" y="960"/>
                    </a:cubicBezTo>
                    <a:lnTo>
                      <a:pt x="624" y="1070"/>
                    </a:lnTo>
                    <a:close/>
                    <a:moveTo>
                      <a:pt x="759" y="888"/>
                    </a:moveTo>
                    <a:cubicBezTo>
                      <a:pt x="768" y="888"/>
                      <a:pt x="768" y="888"/>
                      <a:pt x="768" y="888"/>
                    </a:cubicBezTo>
                    <a:cubicBezTo>
                      <a:pt x="768" y="1120"/>
                      <a:pt x="768" y="1120"/>
                      <a:pt x="768" y="1120"/>
                    </a:cubicBezTo>
                    <a:cubicBezTo>
                      <a:pt x="667" y="1091"/>
                      <a:pt x="667" y="1091"/>
                      <a:pt x="667" y="1091"/>
                    </a:cubicBezTo>
                    <a:lnTo>
                      <a:pt x="759" y="888"/>
                    </a:lnTo>
                    <a:close/>
                    <a:moveTo>
                      <a:pt x="384" y="288"/>
                    </a:moveTo>
                    <a:cubicBezTo>
                      <a:pt x="864" y="288"/>
                      <a:pt x="864" y="288"/>
                      <a:pt x="864" y="288"/>
                    </a:cubicBezTo>
                    <a:cubicBezTo>
                      <a:pt x="864" y="359"/>
                      <a:pt x="864" y="359"/>
                      <a:pt x="864" y="359"/>
                    </a:cubicBezTo>
                    <a:cubicBezTo>
                      <a:pt x="811" y="356"/>
                      <a:pt x="768" y="344"/>
                      <a:pt x="729" y="332"/>
                    </a:cubicBezTo>
                    <a:cubicBezTo>
                      <a:pt x="693" y="322"/>
                      <a:pt x="659" y="312"/>
                      <a:pt x="624" y="312"/>
                    </a:cubicBezTo>
                    <a:cubicBezTo>
                      <a:pt x="589" y="312"/>
                      <a:pt x="555" y="322"/>
                      <a:pt x="519" y="332"/>
                    </a:cubicBezTo>
                    <a:cubicBezTo>
                      <a:pt x="480" y="344"/>
                      <a:pt x="437" y="356"/>
                      <a:pt x="384" y="359"/>
                    </a:cubicBezTo>
                    <a:lnTo>
                      <a:pt x="384" y="288"/>
                    </a:lnTo>
                    <a:close/>
                    <a:moveTo>
                      <a:pt x="936" y="408"/>
                    </a:moveTo>
                    <a:cubicBezTo>
                      <a:pt x="936" y="456"/>
                      <a:pt x="936" y="456"/>
                      <a:pt x="936" y="456"/>
                    </a:cubicBezTo>
                    <a:cubicBezTo>
                      <a:pt x="936" y="469"/>
                      <a:pt x="925" y="480"/>
                      <a:pt x="912" y="480"/>
                    </a:cubicBezTo>
                    <a:cubicBezTo>
                      <a:pt x="912" y="384"/>
                      <a:pt x="912" y="384"/>
                      <a:pt x="912" y="384"/>
                    </a:cubicBezTo>
                    <a:cubicBezTo>
                      <a:pt x="925" y="384"/>
                      <a:pt x="936" y="395"/>
                      <a:pt x="936" y="408"/>
                    </a:cubicBezTo>
                    <a:close/>
                    <a:moveTo>
                      <a:pt x="504" y="48"/>
                    </a:moveTo>
                    <a:cubicBezTo>
                      <a:pt x="744" y="48"/>
                      <a:pt x="744" y="48"/>
                      <a:pt x="744" y="48"/>
                    </a:cubicBezTo>
                    <a:cubicBezTo>
                      <a:pt x="810" y="48"/>
                      <a:pt x="864" y="102"/>
                      <a:pt x="864" y="168"/>
                    </a:cubicBezTo>
                    <a:cubicBezTo>
                      <a:pt x="864" y="240"/>
                      <a:pt x="864" y="240"/>
                      <a:pt x="864" y="240"/>
                    </a:cubicBezTo>
                    <a:cubicBezTo>
                      <a:pt x="384" y="240"/>
                      <a:pt x="384" y="240"/>
                      <a:pt x="384" y="240"/>
                    </a:cubicBezTo>
                    <a:cubicBezTo>
                      <a:pt x="384" y="168"/>
                      <a:pt x="384" y="168"/>
                      <a:pt x="384" y="168"/>
                    </a:cubicBezTo>
                    <a:cubicBezTo>
                      <a:pt x="384" y="102"/>
                      <a:pt x="438" y="48"/>
                      <a:pt x="504" y="48"/>
                    </a:cubicBezTo>
                    <a:close/>
                    <a:moveTo>
                      <a:pt x="312" y="456"/>
                    </a:moveTo>
                    <a:cubicBezTo>
                      <a:pt x="312" y="408"/>
                      <a:pt x="312" y="408"/>
                      <a:pt x="312" y="408"/>
                    </a:cubicBezTo>
                    <a:cubicBezTo>
                      <a:pt x="312" y="395"/>
                      <a:pt x="323" y="384"/>
                      <a:pt x="336" y="384"/>
                    </a:cubicBezTo>
                    <a:cubicBezTo>
                      <a:pt x="336" y="480"/>
                      <a:pt x="336" y="480"/>
                      <a:pt x="336" y="480"/>
                    </a:cubicBezTo>
                    <a:cubicBezTo>
                      <a:pt x="323" y="480"/>
                      <a:pt x="312" y="469"/>
                      <a:pt x="312" y="456"/>
                    </a:cubicBezTo>
                    <a:close/>
                    <a:moveTo>
                      <a:pt x="384" y="528"/>
                    </a:moveTo>
                    <a:cubicBezTo>
                      <a:pt x="384" y="407"/>
                      <a:pt x="384" y="407"/>
                      <a:pt x="384" y="407"/>
                    </a:cubicBezTo>
                    <a:cubicBezTo>
                      <a:pt x="443" y="404"/>
                      <a:pt x="490" y="391"/>
                      <a:pt x="532" y="378"/>
                    </a:cubicBezTo>
                    <a:cubicBezTo>
                      <a:pt x="567" y="369"/>
                      <a:pt x="596" y="360"/>
                      <a:pt x="624" y="360"/>
                    </a:cubicBezTo>
                    <a:cubicBezTo>
                      <a:pt x="652" y="360"/>
                      <a:pt x="681" y="369"/>
                      <a:pt x="716" y="378"/>
                    </a:cubicBezTo>
                    <a:cubicBezTo>
                      <a:pt x="758" y="391"/>
                      <a:pt x="805" y="404"/>
                      <a:pt x="864" y="407"/>
                    </a:cubicBezTo>
                    <a:cubicBezTo>
                      <a:pt x="864" y="528"/>
                      <a:pt x="864" y="528"/>
                      <a:pt x="864" y="528"/>
                    </a:cubicBezTo>
                    <a:cubicBezTo>
                      <a:pt x="864" y="661"/>
                      <a:pt x="757" y="768"/>
                      <a:pt x="624" y="768"/>
                    </a:cubicBezTo>
                    <a:cubicBezTo>
                      <a:pt x="491" y="768"/>
                      <a:pt x="384" y="661"/>
                      <a:pt x="384" y="528"/>
                    </a:cubicBezTo>
                    <a:close/>
                    <a:moveTo>
                      <a:pt x="624" y="816"/>
                    </a:moveTo>
                    <a:cubicBezTo>
                      <a:pt x="657" y="816"/>
                      <a:pt x="689" y="810"/>
                      <a:pt x="720" y="800"/>
                    </a:cubicBezTo>
                    <a:cubicBezTo>
                      <a:pt x="720" y="859"/>
                      <a:pt x="720" y="859"/>
                      <a:pt x="720" y="859"/>
                    </a:cubicBezTo>
                    <a:cubicBezTo>
                      <a:pt x="696" y="912"/>
                      <a:pt x="696" y="912"/>
                      <a:pt x="696" y="912"/>
                    </a:cubicBezTo>
                    <a:cubicBezTo>
                      <a:pt x="552" y="912"/>
                      <a:pt x="552" y="912"/>
                      <a:pt x="552" y="912"/>
                    </a:cubicBezTo>
                    <a:cubicBezTo>
                      <a:pt x="528" y="859"/>
                      <a:pt x="528" y="859"/>
                      <a:pt x="528" y="859"/>
                    </a:cubicBezTo>
                    <a:cubicBezTo>
                      <a:pt x="528" y="800"/>
                      <a:pt x="528" y="800"/>
                      <a:pt x="528" y="800"/>
                    </a:cubicBezTo>
                    <a:cubicBezTo>
                      <a:pt x="559" y="810"/>
                      <a:pt x="591" y="816"/>
                      <a:pt x="624" y="816"/>
                    </a:cubicBezTo>
                    <a:close/>
                    <a:moveTo>
                      <a:pt x="48" y="1248"/>
                    </a:moveTo>
                    <a:cubicBezTo>
                      <a:pt x="48" y="1049"/>
                      <a:pt x="209" y="888"/>
                      <a:pt x="408" y="888"/>
                    </a:cubicBezTo>
                    <a:cubicBezTo>
                      <a:pt x="432" y="888"/>
                      <a:pt x="432" y="888"/>
                      <a:pt x="432" y="888"/>
                    </a:cubicBezTo>
                    <a:cubicBezTo>
                      <a:pt x="432" y="1152"/>
                      <a:pt x="432" y="1152"/>
                      <a:pt x="432" y="1152"/>
                    </a:cubicBezTo>
                    <a:cubicBezTo>
                      <a:pt x="432" y="1160"/>
                      <a:pt x="436" y="1167"/>
                      <a:pt x="442" y="1171"/>
                    </a:cubicBezTo>
                    <a:cubicBezTo>
                      <a:pt x="448" y="1176"/>
                      <a:pt x="455" y="1177"/>
                      <a:pt x="463" y="1175"/>
                    </a:cubicBezTo>
                    <a:cubicBezTo>
                      <a:pt x="600" y="1136"/>
                      <a:pt x="600" y="1136"/>
                      <a:pt x="600" y="1136"/>
                    </a:cubicBezTo>
                    <a:cubicBezTo>
                      <a:pt x="600" y="1392"/>
                      <a:pt x="600" y="1392"/>
                      <a:pt x="600" y="1392"/>
                    </a:cubicBezTo>
                    <a:cubicBezTo>
                      <a:pt x="264" y="1392"/>
                      <a:pt x="264" y="1392"/>
                      <a:pt x="264" y="1392"/>
                    </a:cubicBezTo>
                    <a:cubicBezTo>
                      <a:pt x="264" y="1200"/>
                      <a:pt x="264" y="1200"/>
                      <a:pt x="264" y="1200"/>
                    </a:cubicBezTo>
                    <a:cubicBezTo>
                      <a:pt x="216" y="1200"/>
                      <a:pt x="216" y="1200"/>
                      <a:pt x="216" y="1200"/>
                    </a:cubicBezTo>
                    <a:cubicBezTo>
                      <a:pt x="216" y="1392"/>
                      <a:pt x="216" y="1392"/>
                      <a:pt x="216" y="1392"/>
                    </a:cubicBezTo>
                    <a:cubicBezTo>
                      <a:pt x="48" y="1392"/>
                      <a:pt x="48" y="1392"/>
                      <a:pt x="48" y="1392"/>
                    </a:cubicBezTo>
                    <a:lnTo>
                      <a:pt x="48" y="1248"/>
                    </a:lnTo>
                    <a:close/>
                    <a:moveTo>
                      <a:pt x="1200" y="1392"/>
                    </a:moveTo>
                    <a:cubicBezTo>
                      <a:pt x="1032" y="1392"/>
                      <a:pt x="1032" y="1392"/>
                      <a:pt x="1032" y="1392"/>
                    </a:cubicBezTo>
                    <a:cubicBezTo>
                      <a:pt x="1032" y="1200"/>
                      <a:pt x="1032" y="1200"/>
                      <a:pt x="1032" y="1200"/>
                    </a:cubicBezTo>
                    <a:cubicBezTo>
                      <a:pt x="984" y="1200"/>
                      <a:pt x="984" y="1200"/>
                      <a:pt x="984" y="1200"/>
                    </a:cubicBezTo>
                    <a:cubicBezTo>
                      <a:pt x="984" y="1392"/>
                      <a:pt x="984" y="1392"/>
                      <a:pt x="984" y="1392"/>
                    </a:cubicBezTo>
                    <a:cubicBezTo>
                      <a:pt x="648" y="1392"/>
                      <a:pt x="648" y="1392"/>
                      <a:pt x="648" y="1392"/>
                    </a:cubicBezTo>
                    <a:cubicBezTo>
                      <a:pt x="648" y="1136"/>
                      <a:pt x="648" y="1136"/>
                      <a:pt x="648" y="1136"/>
                    </a:cubicBezTo>
                    <a:cubicBezTo>
                      <a:pt x="785" y="1175"/>
                      <a:pt x="785" y="1175"/>
                      <a:pt x="785" y="1175"/>
                    </a:cubicBezTo>
                    <a:cubicBezTo>
                      <a:pt x="793" y="1177"/>
                      <a:pt x="800" y="1176"/>
                      <a:pt x="806" y="1171"/>
                    </a:cubicBezTo>
                    <a:cubicBezTo>
                      <a:pt x="812" y="1167"/>
                      <a:pt x="816" y="1160"/>
                      <a:pt x="816" y="1152"/>
                    </a:cubicBezTo>
                    <a:cubicBezTo>
                      <a:pt x="816" y="888"/>
                      <a:pt x="816" y="888"/>
                      <a:pt x="816" y="888"/>
                    </a:cubicBezTo>
                    <a:cubicBezTo>
                      <a:pt x="840" y="888"/>
                      <a:pt x="840" y="888"/>
                      <a:pt x="840" y="888"/>
                    </a:cubicBezTo>
                    <a:cubicBezTo>
                      <a:pt x="1039" y="888"/>
                      <a:pt x="1200" y="1049"/>
                      <a:pt x="1200" y="1248"/>
                    </a:cubicBezTo>
                    <a:lnTo>
                      <a:pt x="1200" y="1392"/>
                    </a:lnTo>
                    <a:close/>
                    <a:moveTo>
                      <a:pt x="1200" y="1392"/>
                    </a:moveTo>
                    <a:cubicBezTo>
                      <a:pt x="1200" y="1392"/>
                      <a:pt x="1200" y="1392"/>
                      <a:pt x="1200" y="139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IBM Plex Sans"/>
                  <a:ea typeface="+mn-ea"/>
                  <a:cs typeface="+mn-cs"/>
                </a:endParaRPr>
              </a:p>
            </p:txBody>
          </p:sp>
          <p:sp>
            <p:nvSpPr>
              <p:cNvPr id="123" name="Rectangle 7">
                <a:extLst>
                  <a:ext uri="{FF2B5EF4-FFF2-40B4-BE49-F238E27FC236}">
                    <a16:creationId xmlns:a16="http://schemas.microsoft.com/office/drawing/2014/main" id="{4A27A021-064B-D34D-802A-FB743C2DB36C}"/>
                  </a:ext>
                </a:extLst>
              </p:cNvPr>
              <p:cNvSpPr>
                <a:spLocks noChangeArrowheads="1"/>
              </p:cNvSpPr>
              <p:nvPr/>
            </p:nvSpPr>
            <p:spPr bwMode="auto">
              <a:xfrm>
                <a:off x="3282950" y="1516063"/>
                <a:ext cx="42863" cy="111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IBM Plex Sans"/>
                  <a:ea typeface="+mn-ea"/>
                  <a:cs typeface="+mn-cs"/>
                </a:endParaRPr>
              </a:p>
            </p:txBody>
          </p:sp>
          <p:sp>
            <p:nvSpPr>
              <p:cNvPr id="124" name="Freeform 8">
                <a:extLst>
                  <a:ext uri="{FF2B5EF4-FFF2-40B4-BE49-F238E27FC236}">
                    <a16:creationId xmlns:a16="http://schemas.microsoft.com/office/drawing/2014/main" id="{33E1BE9A-31FC-6149-B517-0C6CC7BF788F}"/>
                  </a:ext>
                </a:extLst>
              </p:cNvPr>
              <p:cNvSpPr>
                <a:spLocks noEditPoints="1"/>
              </p:cNvSpPr>
              <p:nvPr/>
            </p:nvSpPr>
            <p:spPr bwMode="auto">
              <a:xfrm>
                <a:off x="3349943" y="1242378"/>
                <a:ext cx="63500" cy="180975"/>
              </a:xfrm>
              <a:custGeom>
                <a:avLst/>
                <a:gdLst>
                  <a:gd name="T0" fmla="*/ 219 w 294"/>
                  <a:gd name="T1" fmla="*/ 557 h 817"/>
                  <a:gd name="T2" fmla="*/ 219 w 294"/>
                  <a:gd name="T3" fmla="*/ 260 h 817"/>
                  <a:gd name="T4" fmla="*/ 291 w 294"/>
                  <a:gd name="T5" fmla="*/ 127 h 817"/>
                  <a:gd name="T6" fmla="*/ 205 w 294"/>
                  <a:gd name="T7" fmla="*/ 3 h 817"/>
                  <a:gd name="T8" fmla="*/ 182 w 294"/>
                  <a:gd name="T9" fmla="*/ 5 h 817"/>
                  <a:gd name="T10" fmla="*/ 171 w 294"/>
                  <a:gd name="T11" fmla="*/ 25 h 817"/>
                  <a:gd name="T12" fmla="*/ 171 w 294"/>
                  <a:gd name="T13" fmla="*/ 111 h 817"/>
                  <a:gd name="T14" fmla="*/ 147 w 294"/>
                  <a:gd name="T15" fmla="*/ 135 h 817"/>
                  <a:gd name="T16" fmla="*/ 123 w 294"/>
                  <a:gd name="T17" fmla="*/ 111 h 817"/>
                  <a:gd name="T18" fmla="*/ 123 w 294"/>
                  <a:gd name="T19" fmla="*/ 25 h 817"/>
                  <a:gd name="T20" fmla="*/ 112 w 294"/>
                  <a:gd name="T21" fmla="*/ 5 h 817"/>
                  <a:gd name="T22" fmla="*/ 89 w 294"/>
                  <a:gd name="T23" fmla="*/ 3 h 817"/>
                  <a:gd name="T24" fmla="*/ 3 w 294"/>
                  <a:gd name="T25" fmla="*/ 127 h 817"/>
                  <a:gd name="T26" fmla="*/ 75 w 294"/>
                  <a:gd name="T27" fmla="*/ 260 h 817"/>
                  <a:gd name="T28" fmla="*/ 75 w 294"/>
                  <a:gd name="T29" fmla="*/ 557 h 817"/>
                  <a:gd name="T30" fmla="*/ 3 w 294"/>
                  <a:gd name="T31" fmla="*/ 690 h 817"/>
                  <a:gd name="T32" fmla="*/ 89 w 294"/>
                  <a:gd name="T33" fmla="*/ 814 h 817"/>
                  <a:gd name="T34" fmla="*/ 112 w 294"/>
                  <a:gd name="T35" fmla="*/ 812 h 817"/>
                  <a:gd name="T36" fmla="*/ 123 w 294"/>
                  <a:gd name="T37" fmla="*/ 792 h 817"/>
                  <a:gd name="T38" fmla="*/ 123 w 294"/>
                  <a:gd name="T39" fmla="*/ 706 h 817"/>
                  <a:gd name="T40" fmla="*/ 147 w 294"/>
                  <a:gd name="T41" fmla="*/ 682 h 817"/>
                  <a:gd name="T42" fmla="*/ 171 w 294"/>
                  <a:gd name="T43" fmla="*/ 706 h 817"/>
                  <a:gd name="T44" fmla="*/ 171 w 294"/>
                  <a:gd name="T45" fmla="*/ 792 h 817"/>
                  <a:gd name="T46" fmla="*/ 182 w 294"/>
                  <a:gd name="T47" fmla="*/ 812 h 817"/>
                  <a:gd name="T48" fmla="*/ 205 w 294"/>
                  <a:gd name="T49" fmla="*/ 814 h 817"/>
                  <a:gd name="T50" fmla="*/ 291 w 294"/>
                  <a:gd name="T51" fmla="*/ 690 h 817"/>
                  <a:gd name="T52" fmla="*/ 219 w 294"/>
                  <a:gd name="T53" fmla="*/ 557 h 817"/>
                  <a:gd name="T54" fmla="*/ 219 w 294"/>
                  <a:gd name="T55" fmla="*/ 746 h 817"/>
                  <a:gd name="T56" fmla="*/ 219 w 294"/>
                  <a:gd name="T57" fmla="*/ 706 h 817"/>
                  <a:gd name="T58" fmla="*/ 147 w 294"/>
                  <a:gd name="T59" fmla="*/ 634 h 817"/>
                  <a:gd name="T60" fmla="*/ 75 w 294"/>
                  <a:gd name="T61" fmla="*/ 706 h 817"/>
                  <a:gd name="T62" fmla="*/ 75 w 294"/>
                  <a:gd name="T63" fmla="*/ 746 h 817"/>
                  <a:gd name="T64" fmla="*/ 53 w 294"/>
                  <a:gd name="T65" fmla="*/ 661 h 817"/>
                  <a:gd name="T66" fmla="*/ 109 w 294"/>
                  <a:gd name="T67" fmla="*/ 594 h 817"/>
                  <a:gd name="T68" fmla="*/ 123 w 294"/>
                  <a:gd name="T69" fmla="*/ 572 h 817"/>
                  <a:gd name="T70" fmla="*/ 123 w 294"/>
                  <a:gd name="T71" fmla="*/ 245 h 817"/>
                  <a:gd name="T72" fmla="*/ 109 w 294"/>
                  <a:gd name="T73" fmla="*/ 223 h 817"/>
                  <a:gd name="T74" fmla="*/ 53 w 294"/>
                  <a:gd name="T75" fmla="*/ 156 h 817"/>
                  <a:gd name="T76" fmla="*/ 75 w 294"/>
                  <a:gd name="T77" fmla="*/ 71 h 817"/>
                  <a:gd name="T78" fmla="*/ 75 w 294"/>
                  <a:gd name="T79" fmla="*/ 111 h 817"/>
                  <a:gd name="T80" fmla="*/ 147 w 294"/>
                  <a:gd name="T81" fmla="*/ 183 h 817"/>
                  <a:gd name="T82" fmla="*/ 219 w 294"/>
                  <a:gd name="T83" fmla="*/ 111 h 817"/>
                  <a:gd name="T84" fmla="*/ 219 w 294"/>
                  <a:gd name="T85" fmla="*/ 71 h 817"/>
                  <a:gd name="T86" fmla="*/ 241 w 294"/>
                  <a:gd name="T87" fmla="*/ 156 h 817"/>
                  <a:gd name="T88" fmla="*/ 185 w 294"/>
                  <a:gd name="T89" fmla="*/ 223 h 817"/>
                  <a:gd name="T90" fmla="*/ 171 w 294"/>
                  <a:gd name="T91" fmla="*/ 245 h 817"/>
                  <a:gd name="T92" fmla="*/ 171 w 294"/>
                  <a:gd name="T93" fmla="*/ 572 h 817"/>
                  <a:gd name="T94" fmla="*/ 185 w 294"/>
                  <a:gd name="T95" fmla="*/ 594 h 817"/>
                  <a:gd name="T96" fmla="*/ 241 w 294"/>
                  <a:gd name="T97" fmla="*/ 661 h 817"/>
                  <a:gd name="T98" fmla="*/ 219 w 294"/>
                  <a:gd name="T99" fmla="*/ 746 h 817"/>
                  <a:gd name="T100" fmla="*/ 219 w 294"/>
                  <a:gd name="T101" fmla="*/ 746 h 817"/>
                  <a:gd name="T102" fmla="*/ 219 w 294"/>
                  <a:gd name="T103" fmla="*/ 746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4" h="817">
                    <a:moveTo>
                      <a:pt x="219" y="557"/>
                    </a:moveTo>
                    <a:cubicBezTo>
                      <a:pt x="219" y="260"/>
                      <a:pt x="219" y="260"/>
                      <a:pt x="219" y="260"/>
                    </a:cubicBezTo>
                    <a:cubicBezTo>
                      <a:pt x="266" y="233"/>
                      <a:pt x="294" y="181"/>
                      <a:pt x="291" y="127"/>
                    </a:cubicBezTo>
                    <a:cubicBezTo>
                      <a:pt x="288" y="73"/>
                      <a:pt x="254" y="25"/>
                      <a:pt x="205" y="3"/>
                    </a:cubicBezTo>
                    <a:cubicBezTo>
                      <a:pt x="197" y="0"/>
                      <a:pt x="189" y="1"/>
                      <a:pt x="182" y="5"/>
                    </a:cubicBezTo>
                    <a:cubicBezTo>
                      <a:pt x="175" y="9"/>
                      <a:pt x="171" y="17"/>
                      <a:pt x="171" y="25"/>
                    </a:cubicBezTo>
                    <a:cubicBezTo>
                      <a:pt x="171" y="111"/>
                      <a:pt x="171" y="111"/>
                      <a:pt x="171" y="111"/>
                    </a:cubicBezTo>
                    <a:cubicBezTo>
                      <a:pt x="171" y="124"/>
                      <a:pt x="160" y="135"/>
                      <a:pt x="147" y="135"/>
                    </a:cubicBezTo>
                    <a:cubicBezTo>
                      <a:pt x="134" y="135"/>
                      <a:pt x="123" y="124"/>
                      <a:pt x="123" y="111"/>
                    </a:cubicBezTo>
                    <a:cubicBezTo>
                      <a:pt x="123" y="25"/>
                      <a:pt x="123" y="25"/>
                      <a:pt x="123" y="25"/>
                    </a:cubicBezTo>
                    <a:cubicBezTo>
                      <a:pt x="123" y="17"/>
                      <a:pt x="119" y="9"/>
                      <a:pt x="112" y="5"/>
                    </a:cubicBezTo>
                    <a:cubicBezTo>
                      <a:pt x="105" y="0"/>
                      <a:pt x="97" y="0"/>
                      <a:pt x="89" y="3"/>
                    </a:cubicBezTo>
                    <a:cubicBezTo>
                      <a:pt x="40" y="25"/>
                      <a:pt x="6" y="73"/>
                      <a:pt x="3" y="127"/>
                    </a:cubicBezTo>
                    <a:cubicBezTo>
                      <a:pt x="0" y="181"/>
                      <a:pt x="28" y="233"/>
                      <a:pt x="75" y="260"/>
                    </a:cubicBezTo>
                    <a:cubicBezTo>
                      <a:pt x="75" y="557"/>
                      <a:pt x="75" y="557"/>
                      <a:pt x="75" y="557"/>
                    </a:cubicBezTo>
                    <a:cubicBezTo>
                      <a:pt x="28" y="584"/>
                      <a:pt x="0" y="636"/>
                      <a:pt x="3" y="690"/>
                    </a:cubicBezTo>
                    <a:cubicBezTo>
                      <a:pt x="6" y="744"/>
                      <a:pt x="40" y="792"/>
                      <a:pt x="89" y="814"/>
                    </a:cubicBezTo>
                    <a:cubicBezTo>
                      <a:pt x="97" y="817"/>
                      <a:pt x="105" y="817"/>
                      <a:pt x="112" y="812"/>
                    </a:cubicBezTo>
                    <a:cubicBezTo>
                      <a:pt x="119" y="808"/>
                      <a:pt x="123" y="800"/>
                      <a:pt x="123" y="792"/>
                    </a:cubicBezTo>
                    <a:cubicBezTo>
                      <a:pt x="123" y="706"/>
                      <a:pt x="123" y="706"/>
                      <a:pt x="123" y="706"/>
                    </a:cubicBezTo>
                    <a:cubicBezTo>
                      <a:pt x="123" y="693"/>
                      <a:pt x="134" y="682"/>
                      <a:pt x="147" y="682"/>
                    </a:cubicBezTo>
                    <a:cubicBezTo>
                      <a:pt x="160" y="682"/>
                      <a:pt x="171" y="693"/>
                      <a:pt x="171" y="706"/>
                    </a:cubicBezTo>
                    <a:cubicBezTo>
                      <a:pt x="171" y="792"/>
                      <a:pt x="171" y="792"/>
                      <a:pt x="171" y="792"/>
                    </a:cubicBezTo>
                    <a:cubicBezTo>
                      <a:pt x="171" y="800"/>
                      <a:pt x="175" y="808"/>
                      <a:pt x="182" y="812"/>
                    </a:cubicBezTo>
                    <a:cubicBezTo>
                      <a:pt x="189" y="817"/>
                      <a:pt x="197" y="817"/>
                      <a:pt x="205" y="814"/>
                    </a:cubicBezTo>
                    <a:cubicBezTo>
                      <a:pt x="254" y="792"/>
                      <a:pt x="288" y="744"/>
                      <a:pt x="291" y="690"/>
                    </a:cubicBezTo>
                    <a:cubicBezTo>
                      <a:pt x="294" y="636"/>
                      <a:pt x="266" y="584"/>
                      <a:pt x="219" y="557"/>
                    </a:cubicBezTo>
                    <a:close/>
                    <a:moveTo>
                      <a:pt x="219" y="746"/>
                    </a:moveTo>
                    <a:cubicBezTo>
                      <a:pt x="219" y="706"/>
                      <a:pt x="219" y="706"/>
                      <a:pt x="219" y="706"/>
                    </a:cubicBezTo>
                    <a:cubicBezTo>
                      <a:pt x="219" y="666"/>
                      <a:pt x="187" y="634"/>
                      <a:pt x="147" y="634"/>
                    </a:cubicBezTo>
                    <a:cubicBezTo>
                      <a:pt x="107" y="634"/>
                      <a:pt x="75" y="666"/>
                      <a:pt x="75" y="706"/>
                    </a:cubicBezTo>
                    <a:cubicBezTo>
                      <a:pt x="75" y="746"/>
                      <a:pt x="75" y="746"/>
                      <a:pt x="75" y="746"/>
                    </a:cubicBezTo>
                    <a:cubicBezTo>
                      <a:pt x="55" y="722"/>
                      <a:pt x="47" y="691"/>
                      <a:pt x="53" y="661"/>
                    </a:cubicBezTo>
                    <a:cubicBezTo>
                      <a:pt x="60" y="631"/>
                      <a:pt x="80" y="606"/>
                      <a:pt x="109" y="594"/>
                    </a:cubicBezTo>
                    <a:cubicBezTo>
                      <a:pt x="117" y="590"/>
                      <a:pt x="123" y="582"/>
                      <a:pt x="123" y="572"/>
                    </a:cubicBezTo>
                    <a:cubicBezTo>
                      <a:pt x="123" y="245"/>
                      <a:pt x="123" y="245"/>
                      <a:pt x="123" y="245"/>
                    </a:cubicBezTo>
                    <a:cubicBezTo>
                      <a:pt x="123" y="235"/>
                      <a:pt x="117" y="227"/>
                      <a:pt x="109" y="223"/>
                    </a:cubicBezTo>
                    <a:cubicBezTo>
                      <a:pt x="80" y="211"/>
                      <a:pt x="60" y="186"/>
                      <a:pt x="53" y="156"/>
                    </a:cubicBezTo>
                    <a:cubicBezTo>
                      <a:pt x="47" y="126"/>
                      <a:pt x="55" y="94"/>
                      <a:pt x="75" y="71"/>
                    </a:cubicBezTo>
                    <a:cubicBezTo>
                      <a:pt x="75" y="111"/>
                      <a:pt x="75" y="111"/>
                      <a:pt x="75" y="111"/>
                    </a:cubicBezTo>
                    <a:cubicBezTo>
                      <a:pt x="75" y="151"/>
                      <a:pt x="107" y="183"/>
                      <a:pt x="147" y="183"/>
                    </a:cubicBezTo>
                    <a:cubicBezTo>
                      <a:pt x="187" y="183"/>
                      <a:pt x="219" y="151"/>
                      <a:pt x="219" y="111"/>
                    </a:cubicBezTo>
                    <a:cubicBezTo>
                      <a:pt x="219" y="71"/>
                      <a:pt x="219" y="71"/>
                      <a:pt x="219" y="71"/>
                    </a:cubicBezTo>
                    <a:cubicBezTo>
                      <a:pt x="239" y="95"/>
                      <a:pt x="247" y="126"/>
                      <a:pt x="241" y="156"/>
                    </a:cubicBezTo>
                    <a:cubicBezTo>
                      <a:pt x="234" y="186"/>
                      <a:pt x="214" y="211"/>
                      <a:pt x="185" y="223"/>
                    </a:cubicBezTo>
                    <a:cubicBezTo>
                      <a:pt x="177" y="227"/>
                      <a:pt x="171" y="235"/>
                      <a:pt x="171" y="245"/>
                    </a:cubicBezTo>
                    <a:cubicBezTo>
                      <a:pt x="171" y="572"/>
                      <a:pt x="171" y="572"/>
                      <a:pt x="171" y="572"/>
                    </a:cubicBezTo>
                    <a:cubicBezTo>
                      <a:pt x="171" y="582"/>
                      <a:pt x="177" y="590"/>
                      <a:pt x="185" y="594"/>
                    </a:cubicBezTo>
                    <a:cubicBezTo>
                      <a:pt x="214" y="606"/>
                      <a:pt x="234" y="631"/>
                      <a:pt x="241" y="661"/>
                    </a:cubicBezTo>
                    <a:cubicBezTo>
                      <a:pt x="247" y="691"/>
                      <a:pt x="239" y="723"/>
                      <a:pt x="219" y="746"/>
                    </a:cubicBezTo>
                    <a:close/>
                    <a:moveTo>
                      <a:pt x="219" y="746"/>
                    </a:moveTo>
                    <a:cubicBezTo>
                      <a:pt x="219" y="746"/>
                      <a:pt x="219" y="746"/>
                      <a:pt x="219" y="7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IBM Plex Sans"/>
                  <a:ea typeface="+mn-ea"/>
                  <a:cs typeface="+mn-cs"/>
                </a:endParaRPr>
              </a:p>
            </p:txBody>
          </p:sp>
        </p:grpSp>
      </p:grpSp>
      <p:pic>
        <p:nvPicPr>
          <p:cNvPr id="125" name="Picture 124">
            <a:extLst>
              <a:ext uri="{FF2B5EF4-FFF2-40B4-BE49-F238E27FC236}">
                <a16:creationId xmlns:a16="http://schemas.microsoft.com/office/drawing/2014/main" id="{44D77516-F3AB-3942-AD94-45399AE9940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6649" y="2113971"/>
            <a:ext cx="375195" cy="369332"/>
          </a:xfrm>
          <a:prstGeom prst="rect">
            <a:avLst/>
          </a:prstGeom>
        </p:spPr>
      </p:pic>
      <p:sp>
        <p:nvSpPr>
          <p:cNvPr id="4" name="AutoShape 2">
            <a:extLst>
              <a:ext uri="{FF2B5EF4-FFF2-40B4-BE49-F238E27FC236}">
                <a16:creationId xmlns:a16="http://schemas.microsoft.com/office/drawing/2014/main" id="{581700C6-7F60-1E45-A368-8A9A951E0BDB}"/>
              </a:ext>
            </a:extLst>
          </p:cNvPr>
          <p:cNvSpPr>
            <a:spLocks noChangeAspect="1" noChangeArrowheads="1"/>
          </p:cNvSpPr>
          <p:nvPr/>
        </p:nvSpPr>
        <p:spPr bwMode="auto">
          <a:xfrm>
            <a:off x="3484169" y="2419349"/>
            <a:ext cx="1240231" cy="124023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6">
            <a:extLst>
              <a:ext uri="{FF2B5EF4-FFF2-40B4-BE49-F238E27FC236}">
                <a16:creationId xmlns:a16="http://schemas.microsoft.com/office/drawing/2014/main" id="{53BD859D-D785-3043-95EB-909960E7F4E2}"/>
              </a:ext>
            </a:extLst>
          </p:cNvPr>
          <p:cNvPicPr>
            <a:picLocks noChangeAspect="1"/>
          </p:cNvPicPr>
          <p:nvPr/>
        </p:nvPicPr>
        <p:blipFill>
          <a:blip r:embed="rId15"/>
          <a:stretch>
            <a:fillRect/>
          </a:stretch>
        </p:blipFill>
        <p:spPr>
          <a:xfrm>
            <a:off x="6558294" y="1823282"/>
            <a:ext cx="1825567" cy="995229"/>
          </a:xfrm>
          <a:prstGeom prst="rect">
            <a:avLst/>
          </a:prstGeom>
        </p:spPr>
      </p:pic>
      <p:grpSp>
        <p:nvGrpSpPr>
          <p:cNvPr id="102" name="Group 101">
            <a:extLst>
              <a:ext uri="{FF2B5EF4-FFF2-40B4-BE49-F238E27FC236}">
                <a16:creationId xmlns:a16="http://schemas.microsoft.com/office/drawing/2014/main" id="{113128BE-366E-2A44-A60B-F01EC9F3382D}"/>
              </a:ext>
            </a:extLst>
          </p:cNvPr>
          <p:cNvGrpSpPr/>
          <p:nvPr/>
        </p:nvGrpSpPr>
        <p:grpSpPr>
          <a:xfrm>
            <a:off x="6386429" y="652647"/>
            <a:ext cx="463666" cy="463666"/>
            <a:chOff x="8546127" y="1074976"/>
            <a:chExt cx="463666" cy="463666"/>
          </a:xfrm>
        </p:grpSpPr>
        <p:sp>
          <p:nvSpPr>
            <p:cNvPr id="103" name="Oval 102">
              <a:extLst>
                <a:ext uri="{FF2B5EF4-FFF2-40B4-BE49-F238E27FC236}">
                  <a16:creationId xmlns:a16="http://schemas.microsoft.com/office/drawing/2014/main" id="{8BF8A5E1-18CB-1543-ACA6-2639BA90BDE4}"/>
                </a:ext>
              </a:extLst>
            </p:cNvPr>
            <p:cNvSpPr/>
            <p:nvPr/>
          </p:nvSpPr>
          <p:spPr>
            <a:xfrm>
              <a:off x="8546127" y="1074976"/>
              <a:ext cx="463666" cy="463666"/>
            </a:xfrm>
            <a:prstGeom prst="ellipse">
              <a:avLst/>
            </a:prstGeom>
            <a:solidFill>
              <a:schemeClr val="accent2"/>
            </a:solid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04" name="Freeform 42">
              <a:extLst>
                <a:ext uri="{FF2B5EF4-FFF2-40B4-BE49-F238E27FC236}">
                  <a16:creationId xmlns:a16="http://schemas.microsoft.com/office/drawing/2014/main" id="{C5569810-C75F-B541-8492-AC531D4DE42E}"/>
                </a:ext>
              </a:extLst>
            </p:cNvPr>
            <p:cNvSpPr>
              <a:spLocks noEditPoints="1"/>
            </p:cNvSpPr>
            <p:nvPr/>
          </p:nvSpPr>
          <p:spPr bwMode="auto">
            <a:xfrm>
              <a:off x="8658699" y="1151169"/>
              <a:ext cx="238523" cy="277413"/>
            </a:xfrm>
            <a:custGeom>
              <a:avLst/>
              <a:gdLst>
                <a:gd name="T0" fmla="*/ 1039 w 1411"/>
                <a:gd name="T1" fmla="*/ 978 h 1639"/>
                <a:gd name="T2" fmla="*/ 1123 w 1411"/>
                <a:gd name="T3" fmla="*/ 564 h 1639"/>
                <a:gd name="T4" fmla="*/ 770 w 1411"/>
                <a:gd name="T5" fmla="*/ 0 h 1639"/>
                <a:gd name="T6" fmla="*/ 291 w 1411"/>
                <a:gd name="T7" fmla="*/ 352 h 1639"/>
                <a:gd name="T8" fmla="*/ 460 w 1411"/>
                <a:gd name="T9" fmla="*/ 899 h 1639"/>
                <a:gd name="T10" fmla="*/ 0 w 1411"/>
                <a:gd name="T11" fmla="*/ 1299 h 1639"/>
                <a:gd name="T12" fmla="*/ 32 w 1411"/>
                <a:gd name="T13" fmla="*/ 1639 h 1639"/>
                <a:gd name="T14" fmla="*/ 1411 w 1411"/>
                <a:gd name="T15" fmla="*/ 1607 h 1639"/>
                <a:gd name="T16" fmla="*/ 634 w 1411"/>
                <a:gd name="T17" fmla="*/ 1428 h 1639"/>
                <a:gd name="T18" fmla="*/ 810 w 1411"/>
                <a:gd name="T19" fmla="*/ 1575 h 1639"/>
                <a:gd name="T20" fmla="*/ 634 w 1411"/>
                <a:gd name="T21" fmla="*/ 1428 h 1639"/>
                <a:gd name="T22" fmla="*/ 632 w 1411"/>
                <a:gd name="T23" fmla="*/ 1364 h 1639"/>
                <a:gd name="T24" fmla="*/ 705 w 1411"/>
                <a:gd name="T25" fmla="*/ 1238 h 1639"/>
                <a:gd name="T26" fmla="*/ 779 w 1411"/>
                <a:gd name="T27" fmla="*/ 1364 h 1639"/>
                <a:gd name="T28" fmla="*/ 594 w 1411"/>
                <a:gd name="T29" fmla="*/ 964 h 1639"/>
                <a:gd name="T30" fmla="*/ 816 w 1411"/>
                <a:gd name="T31" fmla="*/ 965 h 1639"/>
                <a:gd name="T32" fmla="*/ 751 w 1411"/>
                <a:gd name="T33" fmla="*/ 1190 h 1639"/>
                <a:gd name="T34" fmla="*/ 988 w 1411"/>
                <a:gd name="T35" fmla="*/ 1018 h 1639"/>
                <a:gd name="T36" fmla="*/ 751 w 1411"/>
                <a:gd name="T37" fmla="*/ 1190 h 1639"/>
                <a:gd name="T38" fmla="*/ 770 w 1411"/>
                <a:gd name="T39" fmla="*/ 64 h 1639"/>
                <a:gd name="T40" fmla="*/ 1059 w 1411"/>
                <a:gd name="T41" fmla="*/ 379 h 1639"/>
                <a:gd name="T42" fmla="*/ 975 w 1411"/>
                <a:gd name="T43" fmla="*/ 279 h 1639"/>
                <a:gd name="T44" fmla="*/ 705 w 1411"/>
                <a:gd name="T45" fmla="*/ 384 h 1639"/>
                <a:gd name="T46" fmla="*/ 435 w 1411"/>
                <a:gd name="T47" fmla="*/ 279 h 1639"/>
                <a:gd name="T48" fmla="*/ 355 w 1411"/>
                <a:gd name="T49" fmla="*/ 376 h 1639"/>
                <a:gd name="T50" fmla="*/ 642 w 1411"/>
                <a:gd name="T51" fmla="*/ 64 h 1639"/>
                <a:gd name="T52" fmla="*/ 355 w 1411"/>
                <a:gd name="T53" fmla="*/ 490 h 1639"/>
                <a:gd name="T54" fmla="*/ 705 w 1411"/>
                <a:gd name="T55" fmla="*/ 448 h 1639"/>
                <a:gd name="T56" fmla="*/ 1059 w 1411"/>
                <a:gd name="T57" fmla="*/ 491 h 1639"/>
                <a:gd name="T58" fmla="*/ 706 w 1411"/>
                <a:gd name="T59" fmla="*/ 916 h 1639"/>
                <a:gd name="T60" fmla="*/ 506 w 1411"/>
                <a:gd name="T61" fmla="*/ 944 h 1639"/>
                <a:gd name="T62" fmla="*/ 528 w 1411"/>
                <a:gd name="T63" fmla="*/ 1255 h 1639"/>
                <a:gd name="T64" fmla="*/ 506 w 1411"/>
                <a:gd name="T65" fmla="*/ 944 h 1639"/>
                <a:gd name="T66" fmla="*/ 364 w 1411"/>
                <a:gd name="T67" fmla="*/ 1043 h 1639"/>
                <a:gd name="T68" fmla="*/ 502 w 1411"/>
                <a:gd name="T69" fmla="*/ 1329 h 1639"/>
                <a:gd name="T70" fmla="*/ 550 w 1411"/>
                <a:gd name="T71" fmla="*/ 1316 h 1639"/>
                <a:gd name="T72" fmla="*/ 534 w 1411"/>
                <a:gd name="T73" fmla="*/ 1575 h 1639"/>
                <a:gd name="T74" fmla="*/ 64 w 1411"/>
                <a:gd name="T75" fmla="*/ 1299 h 1639"/>
                <a:gd name="T76" fmla="*/ 875 w 1411"/>
                <a:gd name="T77" fmla="*/ 1575 h 1639"/>
                <a:gd name="T78" fmla="*/ 863 w 1411"/>
                <a:gd name="T79" fmla="*/ 1317 h 1639"/>
                <a:gd name="T80" fmla="*/ 909 w 1411"/>
                <a:gd name="T81" fmla="*/ 1329 h 1639"/>
                <a:gd name="T82" fmla="*/ 1047 w 1411"/>
                <a:gd name="T83" fmla="*/ 1043 h 1639"/>
                <a:gd name="T84" fmla="*/ 1347 w 1411"/>
                <a:gd name="T85" fmla="*/ 1575 h 1639"/>
                <a:gd name="T86" fmla="*/ 1347 w 1411"/>
                <a:gd name="T87" fmla="*/ 1575 h 1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11" h="1639">
                  <a:moveTo>
                    <a:pt x="1411" y="1299"/>
                  </a:moveTo>
                  <a:cubicBezTo>
                    <a:pt x="1411" y="1123"/>
                    <a:pt x="1211" y="985"/>
                    <a:pt x="1039" y="978"/>
                  </a:cubicBezTo>
                  <a:cubicBezTo>
                    <a:pt x="951" y="900"/>
                    <a:pt x="951" y="900"/>
                    <a:pt x="951" y="900"/>
                  </a:cubicBezTo>
                  <a:cubicBezTo>
                    <a:pt x="1058" y="822"/>
                    <a:pt x="1123" y="697"/>
                    <a:pt x="1123" y="564"/>
                  </a:cubicBezTo>
                  <a:cubicBezTo>
                    <a:pt x="1123" y="352"/>
                    <a:pt x="1123" y="352"/>
                    <a:pt x="1123" y="352"/>
                  </a:cubicBezTo>
                  <a:cubicBezTo>
                    <a:pt x="1123" y="158"/>
                    <a:pt x="964" y="0"/>
                    <a:pt x="770" y="0"/>
                  </a:cubicBezTo>
                  <a:cubicBezTo>
                    <a:pt x="642" y="0"/>
                    <a:pt x="642" y="0"/>
                    <a:pt x="642" y="0"/>
                  </a:cubicBezTo>
                  <a:cubicBezTo>
                    <a:pt x="447" y="0"/>
                    <a:pt x="291" y="158"/>
                    <a:pt x="291" y="352"/>
                  </a:cubicBezTo>
                  <a:cubicBezTo>
                    <a:pt x="291" y="564"/>
                    <a:pt x="291" y="564"/>
                    <a:pt x="291" y="564"/>
                  </a:cubicBezTo>
                  <a:cubicBezTo>
                    <a:pt x="291" y="696"/>
                    <a:pt x="355" y="821"/>
                    <a:pt x="460" y="899"/>
                  </a:cubicBezTo>
                  <a:cubicBezTo>
                    <a:pt x="372" y="978"/>
                    <a:pt x="372" y="978"/>
                    <a:pt x="372" y="978"/>
                  </a:cubicBezTo>
                  <a:cubicBezTo>
                    <a:pt x="200" y="985"/>
                    <a:pt x="0" y="1123"/>
                    <a:pt x="0" y="1299"/>
                  </a:cubicBezTo>
                  <a:cubicBezTo>
                    <a:pt x="0" y="1607"/>
                    <a:pt x="0" y="1607"/>
                    <a:pt x="0" y="1607"/>
                  </a:cubicBezTo>
                  <a:cubicBezTo>
                    <a:pt x="0" y="1624"/>
                    <a:pt x="14" y="1639"/>
                    <a:pt x="32" y="1639"/>
                  </a:cubicBezTo>
                  <a:cubicBezTo>
                    <a:pt x="1379" y="1639"/>
                    <a:pt x="1379" y="1639"/>
                    <a:pt x="1379" y="1639"/>
                  </a:cubicBezTo>
                  <a:cubicBezTo>
                    <a:pt x="1397" y="1639"/>
                    <a:pt x="1411" y="1624"/>
                    <a:pt x="1411" y="1607"/>
                  </a:cubicBezTo>
                  <a:lnTo>
                    <a:pt x="1411" y="1299"/>
                  </a:lnTo>
                  <a:close/>
                  <a:moveTo>
                    <a:pt x="634" y="1428"/>
                  </a:moveTo>
                  <a:cubicBezTo>
                    <a:pt x="776" y="1428"/>
                    <a:pt x="776" y="1428"/>
                    <a:pt x="776" y="1428"/>
                  </a:cubicBezTo>
                  <a:cubicBezTo>
                    <a:pt x="810" y="1575"/>
                    <a:pt x="810" y="1575"/>
                    <a:pt x="810" y="1575"/>
                  </a:cubicBezTo>
                  <a:cubicBezTo>
                    <a:pt x="600" y="1575"/>
                    <a:pt x="600" y="1575"/>
                    <a:pt x="600" y="1575"/>
                  </a:cubicBezTo>
                  <a:lnTo>
                    <a:pt x="634" y="1428"/>
                  </a:lnTo>
                  <a:close/>
                  <a:moveTo>
                    <a:pt x="779" y="1364"/>
                  </a:moveTo>
                  <a:cubicBezTo>
                    <a:pt x="632" y="1364"/>
                    <a:pt x="632" y="1364"/>
                    <a:pt x="632" y="1364"/>
                  </a:cubicBezTo>
                  <a:cubicBezTo>
                    <a:pt x="608" y="1287"/>
                    <a:pt x="608" y="1287"/>
                    <a:pt x="608" y="1287"/>
                  </a:cubicBezTo>
                  <a:cubicBezTo>
                    <a:pt x="705" y="1238"/>
                    <a:pt x="705" y="1238"/>
                    <a:pt x="705" y="1238"/>
                  </a:cubicBezTo>
                  <a:cubicBezTo>
                    <a:pt x="805" y="1288"/>
                    <a:pt x="805" y="1288"/>
                    <a:pt x="805" y="1288"/>
                  </a:cubicBezTo>
                  <a:lnTo>
                    <a:pt x="779" y="1364"/>
                  </a:lnTo>
                  <a:close/>
                  <a:moveTo>
                    <a:pt x="705" y="1142"/>
                  </a:moveTo>
                  <a:cubicBezTo>
                    <a:pt x="594" y="964"/>
                    <a:pt x="594" y="964"/>
                    <a:pt x="594" y="964"/>
                  </a:cubicBezTo>
                  <a:cubicBezTo>
                    <a:pt x="630" y="974"/>
                    <a:pt x="668" y="980"/>
                    <a:pt x="706" y="980"/>
                  </a:cubicBezTo>
                  <a:cubicBezTo>
                    <a:pt x="743" y="980"/>
                    <a:pt x="780" y="974"/>
                    <a:pt x="816" y="965"/>
                  </a:cubicBezTo>
                  <a:lnTo>
                    <a:pt x="705" y="1142"/>
                  </a:lnTo>
                  <a:close/>
                  <a:moveTo>
                    <a:pt x="751" y="1190"/>
                  </a:moveTo>
                  <a:cubicBezTo>
                    <a:pt x="905" y="944"/>
                    <a:pt x="905" y="944"/>
                    <a:pt x="905" y="944"/>
                  </a:cubicBezTo>
                  <a:cubicBezTo>
                    <a:pt x="988" y="1018"/>
                    <a:pt x="988" y="1018"/>
                    <a:pt x="988" y="1018"/>
                  </a:cubicBezTo>
                  <a:cubicBezTo>
                    <a:pt x="882" y="1255"/>
                    <a:pt x="882" y="1255"/>
                    <a:pt x="882" y="1255"/>
                  </a:cubicBezTo>
                  <a:lnTo>
                    <a:pt x="751" y="1190"/>
                  </a:lnTo>
                  <a:close/>
                  <a:moveTo>
                    <a:pt x="642" y="64"/>
                  </a:moveTo>
                  <a:cubicBezTo>
                    <a:pt x="770" y="64"/>
                    <a:pt x="770" y="64"/>
                    <a:pt x="770" y="64"/>
                  </a:cubicBezTo>
                  <a:cubicBezTo>
                    <a:pt x="929" y="64"/>
                    <a:pt x="1059" y="194"/>
                    <a:pt x="1059" y="352"/>
                  </a:cubicBezTo>
                  <a:cubicBezTo>
                    <a:pt x="1059" y="379"/>
                    <a:pt x="1059" y="379"/>
                    <a:pt x="1059" y="379"/>
                  </a:cubicBezTo>
                  <a:cubicBezTo>
                    <a:pt x="999" y="292"/>
                    <a:pt x="999" y="292"/>
                    <a:pt x="999" y="292"/>
                  </a:cubicBezTo>
                  <a:cubicBezTo>
                    <a:pt x="993" y="284"/>
                    <a:pt x="985" y="279"/>
                    <a:pt x="975" y="279"/>
                  </a:cubicBezTo>
                  <a:cubicBezTo>
                    <a:pt x="966" y="278"/>
                    <a:pt x="956" y="281"/>
                    <a:pt x="950" y="288"/>
                  </a:cubicBezTo>
                  <a:cubicBezTo>
                    <a:pt x="885" y="355"/>
                    <a:pt x="809" y="384"/>
                    <a:pt x="705" y="384"/>
                  </a:cubicBezTo>
                  <a:cubicBezTo>
                    <a:pt x="602" y="384"/>
                    <a:pt x="526" y="355"/>
                    <a:pt x="461" y="288"/>
                  </a:cubicBezTo>
                  <a:cubicBezTo>
                    <a:pt x="454" y="281"/>
                    <a:pt x="445" y="278"/>
                    <a:pt x="435" y="279"/>
                  </a:cubicBezTo>
                  <a:cubicBezTo>
                    <a:pt x="426" y="280"/>
                    <a:pt x="417" y="285"/>
                    <a:pt x="412" y="293"/>
                  </a:cubicBezTo>
                  <a:cubicBezTo>
                    <a:pt x="355" y="376"/>
                    <a:pt x="355" y="376"/>
                    <a:pt x="355" y="376"/>
                  </a:cubicBezTo>
                  <a:cubicBezTo>
                    <a:pt x="355" y="352"/>
                    <a:pt x="355" y="352"/>
                    <a:pt x="355" y="352"/>
                  </a:cubicBezTo>
                  <a:cubicBezTo>
                    <a:pt x="355" y="194"/>
                    <a:pt x="483" y="64"/>
                    <a:pt x="642" y="64"/>
                  </a:cubicBezTo>
                  <a:close/>
                  <a:moveTo>
                    <a:pt x="355" y="564"/>
                  </a:moveTo>
                  <a:cubicBezTo>
                    <a:pt x="355" y="490"/>
                    <a:pt x="355" y="490"/>
                    <a:pt x="355" y="490"/>
                  </a:cubicBezTo>
                  <a:cubicBezTo>
                    <a:pt x="444" y="359"/>
                    <a:pt x="444" y="359"/>
                    <a:pt x="444" y="359"/>
                  </a:cubicBezTo>
                  <a:cubicBezTo>
                    <a:pt x="515" y="420"/>
                    <a:pt x="599" y="448"/>
                    <a:pt x="705" y="448"/>
                  </a:cubicBezTo>
                  <a:cubicBezTo>
                    <a:pt x="812" y="448"/>
                    <a:pt x="896" y="420"/>
                    <a:pt x="967" y="359"/>
                  </a:cubicBezTo>
                  <a:cubicBezTo>
                    <a:pt x="1059" y="491"/>
                    <a:pt x="1059" y="491"/>
                    <a:pt x="1059" y="491"/>
                  </a:cubicBezTo>
                  <a:cubicBezTo>
                    <a:pt x="1059" y="564"/>
                    <a:pt x="1059" y="564"/>
                    <a:pt x="1059" y="564"/>
                  </a:cubicBezTo>
                  <a:cubicBezTo>
                    <a:pt x="1059" y="755"/>
                    <a:pt x="902" y="916"/>
                    <a:pt x="706" y="916"/>
                  </a:cubicBezTo>
                  <a:cubicBezTo>
                    <a:pt x="510" y="916"/>
                    <a:pt x="355" y="756"/>
                    <a:pt x="355" y="564"/>
                  </a:cubicBezTo>
                  <a:close/>
                  <a:moveTo>
                    <a:pt x="506" y="944"/>
                  </a:moveTo>
                  <a:cubicBezTo>
                    <a:pt x="660" y="1190"/>
                    <a:pt x="660" y="1190"/>
                    <a:pt x="660" y="1190"/>
                  </a:cubicBezTo>
                  <a:cubicBezTo>
                    <a:pt x="528" y="1255"/>
                    <a:pt x="528" y="1255"/>
                    <a:pt x="528" y="1255"/>
                  </a:cubicBezTo>
                  <a:cubicBezTo>
                    <a:pt x="423" y="1018"/>
                    <a:pt x="423" y="1018"/>
                    <a:pt x="423" y="1018"/>
                  </a:cubicBezTo>
                  <a:lnTo>
                    <a:pt x="506" y="944"/>
                  </a:lnTo>
                  <a:close/>
                  <a:moveTo>
                    <a:pt x="64" y="1299"/>
                  </a:moveTo>
                  <a:cubicBezTo>
                    <a:pt x="64" y="1167"/>
                    <a:pt x="224" y="1053"/>
                    <a:pt x="364" y="1043"/>
                  </a:cubicBezTo>
                  <a:cubicBezTo>
                    <a:pt x="484" y="1312"/>
                    <a:pt x="484" y="1312"/>
                    <a:pt x="484" y="1312"/>
                  </a:cubicBezTo>
                  <a:cubicBezTo>
                    <a:pt x="487" y="1320"/>
                    <a:pt x="494" y="1326"/>
                    <a:pt x="502" y="1329"/>
                  </a:cubicBezTo>
                  <a:cubicBezTo>
                    <a:pt x="510" y="1332"/>
                    <a:pt x="519" y="1331"/>
                    <a:pt x="527" y="1327"/>
                  </a:cubicBezTo>
                  <a:cubicBezTo>
                    <a:pt x="550" y="1316"/>
                    <a:pt x="550" y="1316"/>
                    <a:pt x="550" y="1316"/>
                  </a:cubicBezTo>
                  <a:cubicBezTo>
                    <a:pt x="576" y="1397"/>
                    <a:pt x="576" y="1397"/>
                    <a:pt x="576" y="1397"/>
                  </a:cubicBezTo>
                  <a:cubicBezTo>
                    <a:pt x="534" y="1575"/>
                    <a:pt x="534" y="1575"/>
                    <a:pt x="534" y="1575"/>
                  </a:cubicBezTo>
                  <a:cubicBezTo>
                    <a:pt x="64" y="1575"/>
                    <a:pt x="64" y="1575"/>
                    <a:pt x="64" y="1575"/>
                  </a:cubicBezTo>
                  <a:lnTo>
                    <a:pt x="64" y="1299"/>
                  </a:lnTo>
                  <a:close/>
                  <a:moveTo>
                    <a:pt x="1347" y="1575"/>
                  </a:moveTo>
                  <a:cubicBezTo>
                    <a:pt x="875" y="1575"/>
                    <a:pt x="875" y="1575"/>
                    <a:pt x="875" y="1575"/>
                  </a:cubicBezTo>
                  <a:cubicBezTo>
                    <a:pt x="835" y="1397"/>
                    <a:pt x="835" y="1397"/>
                    <a:pt x="835" y="1397"/>
                  </a:cubicBezTo>
                  <a:cubicBezTo>
                    <a:pt x="863" y="1317"/>
                    <a:pt x="863" y="1317"/>
                    <a:pt x="863" y="1317"/>
                  </a:cubicBezTo>
                  <a:cubicBezTo>
                    <a:pt x="884" y="1327"/>
                    <a:pt x="884" y="1327"/>
                    <a:pt x="884" y="1327"/>
                  </a:cubicBezTo>
                  <a:cubicBezTo>
                    <a:pt x="891" y="1331"/>
                    <a:pt x="900" y="1332"/>
                    <a:pt x="909" y="1329"/>
                  </a:cubicBezTo>
                  <a:cubicBezTo>
                    <a:pt x="917" y="1326"/>
                    <a:pt x="924" y="1320"/>
                    <a:pt x="927" y="1312"/>
                  </a:cubicBezTo>
                  <a:cubicBezTo>
                    <a:pt x="1047" y="1043"/>
                    <a:pt x="1047" y="1043"/>
                    <a:pt x="1047" y="1043"/>
                  </a:cubicBezTo>
                  <a:cubicBezTo>
                    <a:pt x="1187" y="1053"/>
                    <a:pt x="1347" y="1167"/>
                    <a:pt x="1347" y="1299"/>
                  </a:cubicBezTo>
                  <a:lnTo>
                    <a:pt x="1347" y="1575"/>
                  </a:lnTo>
                  <a:close/>
                  <a:moveTo>
                    <a:pt x="1347" y="1575"/>
                  </a:moveTo>
                  <a:cubicBezTo>
                    <a:pt x="1347" y="1575"/>
                    <a:pt x="1347" y="1575"/>
                    <a:pt x="1347" y="1575"/>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IBM Plex Sans"/>
                <a:ea typeface="+mn-ea"/>
                <a:cs typeface="+mn-cs"/>
              </a:endParaRPr>
            </a:p>
          </p:txBody>
        </p:sp>
      </p:grpSp>
      <p:sp>
        <p:nvSpPr>
          <p:cNvPr id="128" name="Text Box 5">
            <a:extLst>
              <a:ext uri="{FF2B5EF4-FFF2-40B4-BE49-F238E27FC236}">
                <a16:creationId xmlns:a16="http://schemas.microsoft.com/office/drawing/2014/main" id="{0379D4A7-2B3C-1D4B-8797-AFCDE5A64BF3}"/>
              </a:ext>
            </a:extLst>
          </p:cNvPr>
          <p:cNvSpPr txBox="1">
            <a:spLocks noChangeArrowheads="1"/>
          </p:cNvSpPr>
          <p:nvPr/>
        </p:nvSpPr>
        <p:spPr bwMode="auto">
          <a:xfrm>
            <a:off x="1844578" y="659080"/>
            <a:ext cx="988318" cy="184666"/>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9525" algn="ctr">
                <a:solidFill>
                  <a:schemeClr val="bg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lr>
                <a:schemeClr val="tx1"/>
              </a:buClr>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chemeClr val="tx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 typeface="Wingdings" panose="05000000000000000000" pitchFamily="2" charset="2"/>
              <a:buNone/>
              <a:tabLst/>
              <a:defRPr/>
            </a:pPr>
            <a:r>
              <a:rPr kumimoji="0" lang="en-US" altLang="en-US" sz="1200" b="1" i="0" u="none" strike="noStrike" kern="1200" cap="none" spc="0" normalizeH="0" baseline="0" noProof="0" dirty="0">
                <a:ln>
                  <a:noFill/>
                </a:ln>
                <a:solidFill>
                  <a:srgbClr val="000000"/>
                </a:solidFill>
                <a:effectLst/>
                <a:uLnTx/>
                <a:uFillTx/>
                <a:latin typeface="IBM Plex Sans"/>
                <a:ea typeface="+mn-ea"/>
                <a:cs typeface="Arial" panose="020B0604020202020204" pitchFamily="34" charset="0"/>
              </a:rPr>
              <a:t>Gateway</a:t>
            </a:r>
          </a:p>
        </p:txBody>
      </p:sp>
      <p:pic>
        <p:nvPicPr>
          <p:cNvPr id="129" name="Picture 128">
            <a:extLst>
              <a:ext uri="{FF2B5EF4-FFF2-40B4-BE49-F238E27FC236}">
                <a16:creationId xmlns:a16="http://schemas.microsoft.com/office/drawing/2014/main" id="{A0F006DE-7334-334F-809F-1CA74D153FEF}"/>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094318" y="2147969"/>
            <a:ext cx="428913" cy="577013"/>
          </a:xfrm>
          <a:prstGeom prst="rect">
            <a:avLst/>
          </a:prstGeom>
        </p:spPr>
      </p:pic>
      <p:sp>
        <p:nvSpPr>
          <p:cNvPr id="130" name="Text Box 5">
            <a:extLst>
              <a:ext uri="{FF2B5EF4-FFF2-40B4-BE49-F238E27FC236}">
                <a16:creationId xmlns:a16="http://schemas.microsoft.com/office/drawing/2014/main" id="{775D4642-BCC2-1144-AD71-662C3874A512}"/>
              </a:ext>
            </a:extLst>
          </p:cNvPr>
          <p:cNvSpPr txBox="1">
            <a:spLocks noChangeArrowheads="1"/>
          </p:cNvSpPr>
          <p:nvPr/>
        </p:nvSpPr>
        <p:spPr bwMode="auto">
          <a:xfrm>
            <a:off x="1842968" y="3017775"/>
            <a:ext cx="856160" cy="276999"/>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9525" algn="ctr">
                <a:solidFill>
                  <a:schemeClr val="bg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lr>
                <a:schemeClr val="tx1"/>
              </a:buClr>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chemeClr val="tx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 typeface="Wingdings" panose="05000000000000000000" pitchFamily="2" charset="2"/>
              <a:buNone/>
              <a:tabLst/>
              <a:defRPr/>
            </a:pPr>
            <a:r>
              <a:rPr kumimoji="0" lang="en-US" altLang="en-US" sz="900" b="1" i="0" u="none" strike="noStrike" kern="1200" cap="none" spc="0" normalizeH="0" baseline="0" noProof="0" dirty="0">
                <a:ln>
                  <a:noFill/>
                </a:ln>
                <a:solidFill>
                  <a:srgbClr val="000000"/>
                </a:solidFill>
                <a:effectLst/>
                <a:uLnTx/>
                <a:uFillTx/>
                <a:latin typeface="IBM Plex Sans"/>
                <a:ea typeface="+mn-ea"/>
                <a:cs typeface="Arial" panose="020B0604020202020204" pitchFamily="34" charset="0"/>
              </a:rPr>
              <a:t>Partner Gateways</a:t>
            </a:r>
          </a:p>
        </p:txBody>
      </p:sp>
      <p:cxnSp>
        <p:nvCxnSpPr>
          <p:cNvPr id="131" name="Straight Connector 130">
            <a:extLst>
              <a:ext uri="{FF2B5EF4-FFF2-40B4-BE49-F238E27FC236}">
                <a16:creationId xmlns:a16="http://schemas.microsoft.com/office/drawing/2014/main" id="{0BC453C5-787B-F848-B674-B32D210502CD}"/>
              </a:ext>
            </a:extLst>
          </p:cNvPr>
          <p:cNvCxnSpPr>
            <a:cxnSpLocks/>
          </p:cNvCxnSpPr>
          <p:nvPr/>
        </p:nvCxnSpPr>
        <p:spPr>
          <a:xfrm>
            <a:off x="1448969" y="2525940"/>
            <a:ext cx="441138" cy="0"/>
          </a:xfrm>
          <a:prstGeom prst="line">
            <a:avLst/>
          </a:prstGeom>
          <a:ln w="12700">
            <a:solidFill>
              <a:schemeClr val="accent2"/>
            </a:solidFill>
            <a:headEnd type="arrow"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135" name="Oval 134">
            <a:extLst>
              <a:ext uri="{FF2B5EF4-FFF2-40B4-BE49-F238E27FC236}">
                <a16:creationId xmlns:a16="http://schemas.microsoft.com/office/drawing/2014/main" id="{2B6804B0-E8B3-2F48-AA61-62FFF3C8F826}"/>
              </a:ext>
            </a:extLst>
          </p:cNvPr>
          <p:cNvSpPr/>
          <p:nvPr/>
        </p:nvSpPr>
        <p:spPr>
          <a:xfrm>
            <a:off x="3734068" y="1469524"/>
            <a:ext cx="1480902" cy="1328015"/>
          </a:xfrm>
          <a:prstGeom prst="ellipse">
            <a:avLst/>
          </a:prstGeom>
          <a:solidFill>
            <a:schemeClr val="accent1"/>
          </a:solidFill>
        </p:spPr>
        <p:txBody>
          <a:bodyPr wrap="square" lIns="0" tIns="0" rIns="0" bIns="0" rtlCol="0" anchor="ctr">
            <a:noAutofit/>
          </a:bodyPr>
          <a:lstStyle/>
          <a:p>
            <a:pPr algn="ctr" defTabSz="685783">
              <a:defRPr/>
            </a:pPr>
            <a:endParaRPr lang="en-US" sz="1200" dirty="0" err="1">
              <a:solidFill>
                <a:srgbClr val="FFFFFF"/>
              </a:solidFill>
              <a:latin typeface="Arial"/>
              <a:cs typeface="Arial"/>
            </a:endParaRPr>
          </a:p>
        </p:txBody>
      </p:sp>
      <p:grpSp>
        <p:nvGrpSpPr>
          <p:cNvPr id="142" name="Group 141">
            <a:extLst>
              <a:ext uri="{FF2B5EF4-FFF2-40B4-BE49-F238E27FC236}">
                <a16:creationId xmlns:a16="http://schemas.microsoft.com/office/drawing/2014/main" id="{BB1077C5-C2BF-4041-991D-D3AC5E7BE1BC}"/>
              </a:ext>
            </a:extLst>
          </p:cNvPr>
          <p:cNvGrpSpPr/>
          <p:nvPr/>
        </p:nvGrpSpPr>
        <p:grpSpPr>
          <a:xfrm>
            <a:off x="3812529" y="1526107"/>
            <a:ext cx="1287532" cy="1096975"/>
            <a:chOff x="915655" y="2026385"/>
            <a:chExt cx="1178300" cy="948506"/>
          </a:xfrm>
        </p:grpSpPr>
        <p:sp>
          <p:nvSpPr>
            <p:cNvPr id="143" name="Rectangle 142">
              <a:extLst>
                <a:ext uri="{FF2B5EF4-FFF2-40B4-BE49-F238E27FC236}">
                  <a16:creationId xmlns:a16="http://schemas.microsoft.com/office/drawing/2014/main" id="{109E9E45-9816-134D-AE96-33EA1D864CE2}"/>
                </a:ext>
              </a:extLst>
            </p:cNvPr>
            <p:cNvSpPr/>
            <p:nvPr/>
          </p:nvSpPr>
          <p:spPr>
            <a:xfrm>
              <a:off x="915655" y="2575710"/>
              <a:ext cx="1178300" cy="399181"/>
            </a:xfrm>
            <a:prstGeom prst="rect">
              <a:avLst/>
            </a:prstGeom>
          </p:spPr>
          <p:txBody>
            <a:bodyPr wrap="none">
              <a:spAutoFit/>
            </a:bodyPr>
            <a:lstStyle/>
            <a:p>
              <a:pPr algn="ctr" defTabSz="309548" hangingPunct="0">
                <a:defRPr/>
              </a:pPr>
              <a:r>
                <a:rPr lang="en-US" sz="1200" kern="0" dirty="0">
                  <a:latin typeface="IBM Plex Sans" panose="020B0503050203000203" pitchFamily="34" charset="77"/>
                  <a:sym typeface="Helvetica"/>
                </a:rPr>
                <a:t>Maximo </a:t>
              </a:r>
            </a:p>
            <a:p>
              <a:pPr algn="ctr" defTabSz="309548" hangingPunct="0">
                <a:defRPr/>
              </a:pPr>
              <a:r>
                <a:rPr lang="en-US" sz="1200" kern="0" dirty="0">
                  <a:latin typeface="IBM Plex Sans" panose="020B0503050203000203" pitchFamily="34" charset="77"/>
                  <a:sym typeface="Helvetica"/>
                </a:rPr>
                <a:t>Worker Insights</a:t>
              </a:r>
            </a:p>
          </p:txBody>
        </p:sp>
        <p:grpSp>
          <p:nvGrpSpPr>
            <p:cNvPr id="145" name="Group 144">
              <a:extLst>
                <a:ext uri="{FF2B5EF4-FFF2-40B4-BE49-F238E27FC236}">
                  <a16:creationId xmlns:a16="http://schemas.microsoft.com/office/drawing/2014/main" id="{16AEF4CF-BBDB-F945-8D94-45EEA96F90B7}"/>
                </a:ext>
              </a:extLst>
            </p:cNvPr>
            <p:cNvGrpSpPr/>
            <p:nvPr/>
          </p:nvGrpSpPr>
          <p:grpSpPr>
            <a:xfrm>
              <a:off x="1296531" y="2026385"/>
              <a:ext cx="266911" cy="503441"/>
              <a:chOff x="3416300" y="3170238"/>
              <a:chExt cx="390525" cy="736600"/>
            </a:xfrm>
          </p:grpSpPr>
          <p:sp>
            <p:nvSpPr>
              <p:cNvPr id="155" name="Freeform 35">
                <a:extLst>
                  <a:ext uri="{FF2B5EF4-FFF2-40B4-BE49-F238E27FC236}">
                    <a16:creationId xmlns:a16="http://schemas.microsoft.com/office/drawing/2014/main" id="{71D7D926-93B9-CC46-8FC9-76AB679912AA}"/>
                  </a:ext>
                </a:extLst>
              </p:cNvPr>
              <p:cNvSpPr>
                <a:spLocks noEditPoints="1"/>
              </p:cNvSpPr>
              <p:nvPr/>
            </p:nvSpPr>
            <p:spPr bwMode="auto">
              <a:xfrm>
                <a:off x="3416300" y="3424238"/>
                <a:ext cx="390525" cy="482600"/>
              </a:xfrm>
              <a:custGeom>
                <a:avLst/>
                <a:gdLst>
                  <a:gd name="T0" fmla="*/ 0 w 1497"/>
                  <a:gd name="T1" fmla="*/ 1590 h 1850"/>
                  <a:gd name="T2" fmla="*/ 227 w 1497"/>
                  <a:gd name="T3" fmla="*/ 1223 h 1850"/>
                  <a:gd name="T4" fmla="*/ 244 w 1497"/>
                  <a:gd name="T5" fmla="*/ 1215 h 1850"/>
                  <a:gd name="T6" fmla="*/ 502 w 1497"/>
                  <a:gd name="T7" fmla="*/ 1182 h 1850"/>
                  <a:gd name="T8" fmla="*/ 472 w 1497"/>
                  <a:gd name="T9" fmla="*/ 1053 h 1850"/>
                  <a:gd name="T10" fmla="*/ 356 w 1497"/>
                  <a:gd name="T11" fmla="*/ 875 h 1850"/>
                  <a:gd name="T12" fmla="*/ 257 w 1497"/>
                  <a:gd name="T13" fmla="*/ 633 h 1850"/>
                  <a:gd name="T14" fmla="*/ 246 w 1497"/>
                  <a:gd name="T15" fmla="*/ 479 h 1850"/>
                  <a:gd name="T16" fmla="*/ 285 w 1497"/>
                  <a:gd name="T17" fmla="*/ 452 h 1850"/>
                  <a:gd name="T18" fmla="*/ 376 w 1497"/>
                  <a:gd name="T19" fmla="*/ 228 h 1850"/>
                  <a:gd name="T20" fmla="*/ 575 w 1497"/>
                  <a:gd name="T21" fmla="*/ 95 h 1850"/>
                  <a:gd name="T22" fmla="*/ 922 w 1497"/>
                  <a:gd name="T23" fmla="*/ 95 h 1850"/>
                  <a:gd name="T24" fmla="*/ 1121 w 1497"/>
                  <a:gd name="T25" fmla="*/ 228 h 1850"/>
                  <a:gd name="T26" fmla="*/ 1212 w 1497"/>
                  <a:gd name="T27" fmla="*/ 452 h 1850"/>
                  <a:gd name="T28" fmla="*/ 1248 w 1497"/>
                  <a:gd name="T29" fmla="*/ 630 h 1850"/>
                  <a:gd name="T30" fmla="*/ 1282 w 1497"/>
                  <a:gd name="T31" fmla="*/ 732 h 1850"/>
                  <a:gd name="T32" fmla="*/ 1126 w 1497"/>
                  <a:gd name="T33" fmla="*/ 878 h 1850"/>
                  <a:gd name="T34" fmla="*/ 997 w 1497"/>
                  <a:gd name="T35" fmla="*/ 1182 h 1850"/>
                  <a:gd name="T36" fmla="*/ 1253 w 1497"/>
                  <a:gd name="T37" fmla="*/ 1215 h 1850"/>
                  <a:gd name="T38" fmla="*/ 1273 w 1497"/>
                  <a:gd name="T39" fmla="*/ 1223 h 1850"/>
                  <a:gd name="T40" fmla="*/ 1497 w 1497"/>
                  <a:gd name="T41" fmla="*/ 1590 h 1850"/>
                  <a:gd name="T42" fmla="*/ 33 w 1497"/>
                  <a:gd name="T43" fmla="*/ 1850 h 1850"/>
                  <a:gd name="T44" fmla="*/ 1435 w 1497"/>
                  <a:gd name="T45" fmla="*/ 1590 h 1850"/>
                  <a:gd name="T46" fmla="*/ 1282 w 1497"/>
                  <a:gd name="T47" fmla="*/ 1787 h 1850"/>
                  <a:gd name="T48" fmla="*/ 1139 w 1497"/>
                  <a:gd name="T49" fmla="*/ 1487 h 1850"/>
                  <a:gd name="T50" fmla="*/ 1139 w 1497"/>
                  <a:gd name="T51" fmla="*/ 1699 h 1850"/>
                  <a:gd name="T52" fmla="*/ 1220 w 1497"/>
                  <a:gd name="T53" fmla="*/ 1268 h 1850"/>
                  <a:gd name="T54" fmla="*/ 1139 w 1497"/>
                  <a:gd name="T55" fmla="*/ 1250 h 1850"/>
                  <a:gd name="T56" fmla="*/ 782 w 1497"/>
                  <a:gd name="T57" fmla="*/ 1787 h 1850"/>
                  <a:gd name="T58" fmla="*/ 1075 w 1497"/>
                  <a:gd name="T59" fmla="*/ 1696 h 1850"/>
                  <a:gd name="T60" fmla="*/ 1075 w 1497"/>
                  <a:gd name="T61" fmla="*/ 1248 h 1850"/>
                  <a:gd name="T62" fmla="*/ 422 w 1497"/>
                  <a:gd name="T63" fmla="*/ 1787 h 1850"/>
                  <a:gd name="T64" fmla="*/ 522 w 1497"/>
                  <a:gd name="T65" fmla="*/ 1248 h 1850"/>
                  <a:gd name="T66" fmla="*/ 356 w 1497"/>
                  <a:gd name="T67" fmla="*/ 1251 h 1850"/>
                  <a:gd name="T68" fmla="*/ 279 w 1497"/>
                  <a:gd name="T69" fmla="*/ 1787 h 1850"/>
                  <a:gd name="T70" fmla="*/ 359 w 1497"/>
                  <a:gd name="T71" fmla="*/ 1723 h 1850"/>
                  <a:gd name="T72" fmla="*/ 360 w 1497"/>
                  <a:gd name="T73" fmla="*/ 1250 h 1850"/>
                  <a:gd name="T74" fmla="*/ 64 w 1497"/>
                  <a:gd name="T75" fmla="*/ 1590 h 1850"/>
                  <a:gd name="T76" fmla="*/ 215 w 1497"/>
                  <a:gd name="T77" fmla="*/ 1304 h 1850"/>
                  <a:gd name="T78" fmla="*/ 748 w 1497"/>
                  <a:gd name="T79" fmla="*/ 1397 h 1850"/>
                  <a:gd name="T80" fmla="*/ 927 w 1497"/>
                  <a:gd name="T81" fmla="*/ 1131 h 1850"/>
                  <a:gd name="T82" fmla="*/ 567 w 1497"/>
                  <a:gd name="T83" fmla="*/ 1128 h 1850"/>
                  <a:gd name="T84" fmla="*/ 430 w 1497"/>
                  <a:gd name="T85" fmla="*/ 836 h 1850"/>
                  <a:gd name="T86" fmla="*/ 748 w 1497"/>
                  <a:gd name="T87" fmla="*/ 1112 h 1850"/>
                  <a:gd name="T88" fmla="*/ 1075 w 1497"/>
                  <a:gd name="T89" fmla="*/ 770 h 1850"/>
                  <a:gd name="T90" fmla="*/ 422 w 1497"/>
                  <a:gd name="T91" fmla="*/ 770 h 1850"/>
                  <a:gd name="T92" fmla="*/ 1136 w 1497"/>
                  <a:gd name="T93" fmla="*/ 809 h 1850"/>
                  <a:gd name="T94" fmla="*/ 1143 w 1497"/>
                  <a:gd name="T95" fmla="*/ 657 h 1850"/>
                  <a:gd name="T96" fmla="*/ 356 w 1497"/>
                  <a:gd name="T97" fmla="*/ 657 h 1850"/>
                  <a:gd name="T98" fmla="*/ 360 w 1497"/>
                  <a:gd name="T99" fmla="*/ 809 h 1850"/>
                  <a:gd name="T100" fmla="*/ 318 w 1497"/>
                  <a:gd name="T101" fmla="*/ 510 h 1850"/>
                  <a:gd name="T102" fmla="*/ 318 w 1497"/>
                  <a:gd name="T103" fmla="*/ 591 h 1850"/>
                  <a:gd name="T104" fmla="*/ 1220 w 1497"/>
                  <a:gd name="T105" fmla="*/ 552 h 1850"/>
                  <a:gd name="T106" fmla="*/ 570 w 1497"/>
                  <a:gd name="T107" fmla="*/ 167 h 1850"/>
                  <a:gd name="T108" fmla="*/ 1145 w 1497"/>
                  <a:gd name="T109" fmla="*/ 447 h 1850"/>
                  <a:gd name="T110" fmla="*/ 924 w 1497"/>
                  <a:gd name="T111" fmla="*/ 165 h 1850"/>
                  <a:gd name="T112" fmla="*/ 860 w 1497"/>
                  <a:gd name="T113" fmla="*/ 334 h 1850"/>
                  <a:gd name="T114" fmla="*/ 679 w 1497"/>
                  <a:gd name="T115" fmla="*/ 63 h 1850"/>
                  <a:gd name="T116" fmla="*/ 606 w 1497"/>
                  <a:gd name="T117" fmla="*/ 365 h 1850"/>
                  <a:gd name="T118" fmla="*/ 570 w 1497"/>
                  <a:gd name="T119" fmla="*/ 167 h 1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97" h="1850">
                    <a:moveTo>
                      <a:pt x="33" y="1850"/>
                    </a:moveTo>
                    <a:cubicBezTo>
                      <a:pt x="13" y="1850"/>
                      <a:pt x="0" y="1837"/>
                      <a:pt x="0" y="1819"/>
                    </a:cubicBezTo>
                    <a:cubicBezTo>
                      <a:pt x="0" y="1590"/>
                      <a:pt x="0" y="1590"/>
                      <a:pt x="0" y="1590"/>
                    </a:cubicBezTo>
                    <a:cubicBezTo>
                      <a:pt x="0" y="1514"/>
                      <a:pt x="23" y="1437"/>
                      <a:pt x="66" y="1369"/>
                    </a:cubicBezTo>
                    <a:cubicBezTo>
                      <a:pt x="109" y="1303"/>
                      <a:pt x="162" y="1254"/>
                      <a:pt x="226" y="1223"/>
                    </a:cubicBezTo>
                    <a:cubicBezTo>
                      <a:pt x="227" y="1223"/>
                      <a:pt x="227" y="1223"/>
                      <a:pt x="227" y="1223"/>
                    </a:cubicBezTo>
                    <a:cubicBezTo>
                      <a:pt x="227" y="1222"/>
                      <a:pt x="227" y="1222"/>
                      <a:pt x="227" y="1222"/>
                    </a:cubicBezTo>
                    <a:cubicBezTo>
                      <a:pt x="232" y="1217"/>
                      <a:pt x="237" y="1215"/>
                      <a:pt x="243" y="1215"/>
                    </a:cubicBezTo>
                    <a:cubicBezTo>
                      <a:pt x="244" y="1215"/>
                      <a:pt x="244" y="1215"/>
                      <a:pt x="244" y="1215"/>
                    </a:cubicBezTo>
                    <a:cubicBezTo>
                      <a:pt x="245" y="1215"/>
                      <a:pt x="245" y="1215"/>
                      <a:pt x="245" y="1215"/>
                    </a:cubicBezTo>
                    <a:cubicBezTo>
                      <a:pt x="293" y="1193"/>
                      <a:pt x="341" y="1182"/>
                      <a:pt x="391" y="1182"/>
                    </a:cubicBezTo>
                    <a:cubicBezTo>
                      <a:pt x="502" y="1182"/>
                      <a:pt x="502" y="1182"/>
                      <a:pt x="502" y="1182"/>
                    </a:cubicBezTo>
                    <a:cubicBezTo>
                      <a:pt x="502" y="1081"/>
                      <a:pt x="502" y="1081"/>
                      <a:pt x="502" y="1081"/>
                    </a:cubicBezTo>
                    <a:cubicBezTo>
                      <a:pt x="501" y="1080"/>
                      <a:pt x="501" y="1080"/>
                      <a:pt x="501" y="1080"/>
                    </a:cubicBezTo>
                    <a:cubicBezTo>
                      <a:pt x="490" y="1072"/>
                      <a:pt x="483" y="1064"/>
                      <a:pt x="472" y="1053"/>
                    </a:cubicBezTo>
                    <a:cubicBezTo>
                      <a:pt x="427" y="1005"/>
                      <a:pt x="392" y="943"/>
                      <a:pt x="373" y="878"/>
                    </a:cubicBezTo>
                    <a:cubicBezTo>
                      <a:pt x="372" y="875"/>
                      <a:pt x="372" y="875"/>
                      <a:pt x="372" y="875"/>
                    </a:cubicBezTo>
                    <a:cubicBezTo>
                      <a:pt x="356" y="875"/>
                      <a:pt x="356" y="875"/>
                      <a:pt x="356" y="875"/>
                    </a:cubicBezTo>
                    <a:cubicBezTo>
                      <a:pt x="278" y="875"/>
                      <a:pt x="215" y="811"/>
                      <a:pt x="215" y="732"/>
                    </a:cubicBezTo>
                    <a:cubicBezTo>
                      <a:pt x="215" y="699"/>
                      <a:pt x="229" y="664"/>
                      <a:pt x="254" y="636"/>
                    </a:cubicBezTo>
                    <a:cubicBezTo>
                      <a:pt x="257" y="633"/>
                      <a:pt x="257" y="633"/>
                      <a:pt x="257" y="633"/>
                    </a:cubicBezTo>
                    <a:cubicBezTo>
                      <a:pt x="254" y="630"/>
                      <a:pt x="254" y="630"/>
                      <a:pt x="254" y="630"/>
                    </a:cubicBezTo>
                    <a:cubicBezTo>
                      <a:pt x="229" y="611"/>
                      <a:pt x="215" y="582"/>
                      <a:pt x="215" y="552"/>
                    </a:cubicBezTo>
                    <a:cubicBezTo>
                      <a:pt x="215" y="522"/>
                      <a:pt x="226" y="496"/>
                      <a:pt x="246" y="479"/>
                    </a:cubicBezTo>
                    <a:cubicBezTo>
                      <a:pt x="246" y="478"/>
                      <a:pt x="246" y="478"/>
                      <a:pt x="246" y="478"/>
                    </a:cubicBezTo>
                    <a:cubicBezTo>
                      <a:pt x="246" y="478"/>
                      <a:pt x="246" y="478"/>
                      <a:pt x="246" y="478"/>
                    </a:cubicBezTo>
                    <a:cubicBezTo>
                      <a:pt x="257" y="464"/>
                      <a:pt x="273" y="457"/>
                      <a:pt x="285" y="452"/>
                    </a:cubicBezTo>
                    <a:cubicBezTo>
                      <a:pt x="287" y="451"/>
                      <a:pt x="287" y="451"/>
                      <a:pt x="287" y="451"/>
                    </a:cubicBezTo>
                    <a:cubicBezTo>
                      <a:pt x="287" y="449"/>
                      <a:pt x="287" y="449"/>
                      <a:pt x="287" y="449"/>
                    </a:cubicBezTo>
                    <a:cubicBezTo>
                      <a:pt x="294" y="368"/>
                      <a:pt x="325" y="291"/>
                      <a:pt x="376" y="228"/>
                    </a:cubicBezTo>
                    <a:cubicBezTo>
                      <a:pt x="427" y="164"/>
                      <a:pt x="495" y="119"/>
                      <a:pt x="572" y="98"/>
                    </a:cubicBezTo>
                    <a:cubicBezTo>
                      <a:pt x="574" y="97"/>
                      <a:pt x="574" y="97"/>
                      <a:pt x="574" y="97"/>
                    </a:cubicBezTo>
                    <a:cubicBezTo>
                      <a:pt x="575" y="95"/>
                      <a:pt x="575" y="95"/>
                      <a:pt x="575" y="95"/>
                    </a:cubicBezTo>
                    <a:cubicBezTo>
                      <a:pt x="585" y="48"/>
                      <a:pt x="624" y="0"/>
                      <a:pt x="679" y="0"/>
                    </a:cubicBezTo>
                    <a:cubicBezTo>
                      <a:pt x="821" y="0"/>
                      <a:pt x="821" y="0"/>
                      <a:pt x="821" y="0"/>
                    </a:cubicBezTo>
                    <a:cubicBezTo>
                      <a:pt x="876" y="0"/>
                      <a:pt x="914" y="49"/>
                      <a:pt x="922" y="95"/>
                    </a:cubicBezTo>
                    <a:cubicBezTo>
                      <a:pt x="922" y="97"/>
                      <a:pt x="922" y="97"/>
                      <a:pt x="922" y="97"/>
                    </a:cubicBezTo>
                    <a:cubicBezTo>
                      <a:pt x="925" y="98"/>
                      <a:pt x="925" y="98"/>
                      <a:pt x="925" y="98"/>
                    </a:cubicBezTo>
                    <a:cubicBezTo>
                      <a:pt x="1001" y="119"/>
                      <a:pt x="1069" y="164"/>
                      <a:pt x="1121" y="228"/>
                    </a:cubicBezTo>
                    <a:cubicBezTo>
                      <a:pt x="1172" y="291"/>
                      <a:pt x="1203" y="368"/>
                      <a:pt x="1209" y="449"/>
                    </a:cubicBezTo>
                    <a:cubicBezTo>
                      <a:pt x="1210" y="451"/>
                      <a:pt x="1210" y="451"/>
                      <a:pt x="1210" y="451"/>
                    </a:cubicBezTo>
                    <a:cubicBezTo>
                      <a:pt x="1212" y="452"/>
                      <a:pt x="1212" y="452"/>
                      <a:pt x="1212" y="452"/>
                    </a:cubicBezTo>
                    <a:cubicBezTo>
                      <a:pt x="1254" y="465"/>
                      <a:pt x="1282" y="505"/>
                      <a:pt x="1282" y="552"/>
                    </a:cubicBezTo>
                    <a:cubicBezTo>
                      <a:pt x="1282" y="581"/>
                      <a:pt x="1272" y="607"/>
                      <a:pt x="1254" y="625"/>
                    </a:cubicBezTo>
                    <a:cubicBezTo>
                      <a:pt x="1252" y="627"/>
                      <a:pt x="1249" y="630"/>
                      <a:pt x="1248" y="630"/>
                    </a:cubicBezTo>
                    <a:cubicBezTo>
                      <a:pt x="1240" y="630"/>
                      <a:pt x="1240" y="630"/>
                      <a:pt x="1240" y="630"/>
                    </a:cubicBezTo>
                    <a:cubicBezTo>
                      <a:pt x="1245" y="636"/>
                      <a:pt x="1245" y="636"/>
                      <a:pt x="1245" y="636"/>
                    </a:cubicBezTo>
                    <a:cubicBezTo>
                      <a:pt x="1269" y="662"/>
                      <a:pt x="1282" y="697"/>
                      <a:pt x="1282" y="732"/>
                    </a:cubicBezTo>
                    <a:cubicBezTo>
                      <a:pt x="1282" y="811"/>
                      <a:pt x="1220" y="875"/>
                      <a:pt x="1143" y="875"/>
                    </a:cubicBezTo>
                    <a:cubicBezTo>
                      <a:pt x="1127" y="875"/>
                      <a:pt x="1127" y="875"/>
                      <a:pt x="1127" y="875"/>
                    </a:cubicBezTo>
                    <a:cubicBezTo>
                      <a:pt x="1126" y="878"/>
                      <a:pt x="1126" y="878"/>
                      <a:pt x="1126" y="878"/>
                    </a:cubicBezTo>
                    <a:cubicBezTo>
                      <a:pt x="1102" y="958"/>
                      <a:pt x="1057" y="1028"/>
                      <a:pt x="998" y="1080"/>
                    </a:cubicBezTo>
                    <a:cubicBezTo>
                      <a:pt x="997" y="1081"/>
                      <a:pt x="997" y="1081"/>
                      <a:pt x="997" y="1081"/>
                    </a:cubicBezTo>
                    <a:cubicBezTo>
                      <a:pt x="997" y="1182"/>
                      <a:pt x="997" y="1182"/>
                      <a:pt x="997" y="1182"/>
                    </a:cubicBezTo>
                    <a:cubicBezTo>
                      <a:pt x="1109" y="1182"/>
                      <a:pt x="1109" y="1182"/>
                      <a:pt x="1109" y="1182"/>
                    </a:cubicBezTo>
                    <a:cubicBezTo>
                      <a:pt x="1159" y="1182"/>
                      <a:pt x="1207" y="1193"/>
                      <a:pt x="1252" y="1215"/>
                    </a:cubicBezTo>
                    <a:cubicBezTo>
                      <a:pt x="1253" y="1215"/>
                      <a:pt x="1253" y="1215"/>
                      <a:pt x="1253" y="1215"/>
                    </a:cubicBezTo>
                    <a:cubicBezTo>
                      <a:pt x="1254" y="1215"/>
                      <a:pt x="1254" y="1215"/>
                      <a:pt x="1254" y="1215"/>
                    </a:cubicBezTo>
                    <a:cubicBezTo>
                      <a:pt x="1261" y="1215"/>
                      <a:pt x="1268" y="1218"/>
                      <a:pt x="1272" y="1222"/>
                    </a:cubicBezTo>
                    <a:cubicBezTo>
                      <a:pt x="1273" y="1223"/>
                      <a:pt x="1273" y="1223"/>
                      <a:pt x="1273" y="1223"/>
                    </a:cubicBezTo>
                    <a:cubicBezTo>
                      <a:pt x="1273" y="1223"/>
                      <a:pt x="1273" y="1223"/>
                      <a:pt x="1273" y="1223"/>
                    </a:cubicBezTo>
                    <a:cubicBezTo>
                      <a:pt x="1336" y="1255"/>
                      <a:pt x="1393" y="1307"/>
                      <a:pt x="1433" y="1369"/>
                    </a:cubicBezTo>
                    <a:cubicBezTo>
                      <a:pt x="1475" y="1436"/>
                      <a:pt x="1497" y="1510"/>
                      <a:pt x="1497" y="1590"/>
                    </a:cubicBezTo>
                    <a:cubicBezTo>
                      <a:pt x="1497" y="1819"/>
                      <a:pt x="1497" y="1819"/>
                      <a:pt x="1497" y="1819"/>
                    </a:cubicBezTo>
                    <a:cubicBezTo>
                      <a:pt x="1497" y="1839"/>
                      <a:pt x="1481" y="1850"/>
                      <a:pt x="1466" y="1850"/>
                    </a:cubicBezTo>
                    <a:lnTo>
                      <a:pt x="33" y="1850"/>
                    </a:lnTo>
                    <a:close/>
                    <a:moveTo>
                      <a:pt x="1282" y="1787"/>
                    </a:moveTo>
                    <a:cubicBezTo>
                      <a:pt x="1435" y="1787"/>
                      <a:pt x="1435" y="1787"/>
                      <a:pt x="1435" y="1787"/>
                    </a:cubicBezTo>
                    <a:cubicBezTo>
                      <a:pt x="1435" y="1590"/>
                      <a:pt x="1435" y="1590"/>
                      <a:pt x="1435" y="1590"/>
                    </a:cubicBezTo>
                    <a:cubicBezTo>
                      <a:pt x="1435" y="1480"/>
                      <a:pt x="1379" y="1373"/>
                      <a:pt x="1288" y="1309"/>
                    </a:cubicBezTo>
                    <a:cubicBezTo>
                      <a:pt x="1282" y="1304"/>
                      <a:pt x="1282" y="1304"/>
                      <a:pt x="1282" y="1304"/>
                    </a:cubicBezTo>
                    <a:lnTo>
                      <a:pt x="1282" y="1787"/>
                    </a:lnTo>
                    <a:close/>
                    <a:moveTo>
                      <a:pt x="1139" y="1481"/>
                    </a:moveTo>
                    <a:cubicBezTo>
                      <a:pt x="1139" y="1483"/>
                      <a:pt x="1139" y="1484"/>
                      <a:pt x="1139" y="1486"/>
                    </a:cubicBezTo>
                    <a:cubicBezTo>
                      <a:pt x="1139" y="1487"/>
                      <a:pt x="1139" y="1487"/>
                      <a:pt x="1139" y="1487"/>
                    </a:cubicBezTo>
                    <a:cubicBezTo>
                      <a:pt x="1139" y="1694"/>
                      <a:pt x="1139" y="1694"/>
                      <a:pt x="1139" y="1694"/>
                    </a:cubicBezTo>
                    <a:cubicBezTo>
                      <a:pt x="1139" y="1694"/>
                      <a:pt x="1139" y="1694"/>
                      <a:pt x="1139" y="1694"/>
                    </a:cubicBezTo>
                    <a:cubicBezTo>
                      <a:pt x="1139" y="1696"/>
                      <a:pt x="1139" y="1697"/>
                      <a:pt x="1139" y="1699"/>
                    </a:cubicBezTo>
                    <a:cubicBezTo>
                      <a:pt x="1139" y="1787"/>
                      <a:pt x="1139" y="1787"/>
                      <a:pt x="1139" y="1787"/>
                    </a:cubicBezTo>
                    <a:cubicBezTo>
                      <a:pt x="1220" y="1787"/>
                      <a:pt x="1220" y="1787"/>
                      <a:pt x="1220" y="1787"/>
                    </a:cubicBezTo>
                    <a:cubicBezTo>
                      <a:pt x="1220" y="1268"/>
                      <a:pt x="1220" y="1268"/>
                      <a:pt x="1220" y="1268"/>
                    </a:cubicBezTo>
                    <a:cubicBezTo>
                      <a:pt x="1217" y="1267"/>
                      <a:pt x="1217" y="1267"/>
                      <a:pt x="1217" y="1267"/>
                    </a:cubicBezTo>
                    <a:cubicBezTo>
                      <a:pt x="1193" y="1259"/>
                      <a:pt x="1168" y="1253"/>
                      <a:pt x="1144" y="1251"/>
                    </a:cubicBezTo>
                    <a:cubicBezTo>
                      <a:pt x="1139" y="1250"/>
                      <a:pt x="1139" y="1250"/>
                      <a:pt x="1139" y="1250"/>
                    </a:cubicBezTo>
                    <a:lnTo>
                      <a:pt x="1139" y="1481"/>
                    </a:lnTo>
                    <a:close/>
                    <a:moveTo>
                      <a:pt x="782" y="1457"/>
                    </a:moveTo>
                    <a:cubicBezTo>
                      <a:pt x="782" y="1787"/>
                      <a:pt x="782" y="1787"/>
                      <a:pt x="782" y="1787"/>
                    </a:cubicBezTo>
                    <a:cubicBezTo>
                      <a:pt x="1075" y="1787"/>
                      <a:pt x="1075" y="1787"/>
                      <a:pt x="1075" y="1787"/>
                    </a:cubicBezTo>
                    <a:cubicBezTo>
                      <a:pt x="1075" y="1699"/>
                      <a:pt x="1075" y="1699"/>
                      <a:pt x="1075" y="1699"/>
                    </a:cubicBezTo>
                    <a:cubicBezTo>
                      <a:pt x="1075" y="1698"/>
                      <a:pt x="1075" y="1697"/>
                      <a:pt x="1075" y="1696"/>
                    </a:cubicBezTo>
                    <a:cubicBezTo>
                      <a:pt x="1075" y="1484"/>
                      <a:pt x="1075" y="1484"/>
                      <a:pt x="1075" y="1484"/>
                    </a:cubicBezTo>
                    <a:cubicBezTo>
                      <a:pt x="1075" y="1483"/>
                      <a:pt x="1075" y="1482"/>
                      <a:pt x="1075" y="1481"/>
                    </a:cubicBezTo>
                    <a:cubicBezTo>
                      <a:pt x="1075" y="1248"/>
                      <a:pt x="1075" y="1248"/>
                      <a:pt x="1075" y="1248"/>
                    </a:cubicBezTo>
                    <a:cubicBezTo>
                      <a:pt x="978" y="1248"/>
                      <a:pt x="978" y="1248"/>
                      <a:pt x="978" y="1248"/>
                    </a:cubicBezTo>
                    <a:lnTo>
                      <a:pt x="782" y="1457"/>
                    </a:lnTo>
                    <a:close/>
                    <a:moveTo>
                      <a:pt x="422" y="1787"/>
                    </a:moveTo>
                    <a:cubicBezTo>
                      <a:pt x="717" y="1787"/>
                      <a:pt x="717" y="1787"/>
                      <a:pt x="717" y="1787"/>
                    </a:cubicBezTo>
                    <a:cubicBezTo>
                      <a:pt x="717" y="1457"/>
                      <a:pt x="717" y="1457"/>
                      <a:pt x="717" y="1457"/>
                    </a:cubicBezTo>
                    <a:cubicBezTo>
                      <a:pt x="522" y="1248"/>
                      <a:pt x="522" y="1248"/>
                      <a:pt x="522" y="1248"/>
                    </a:cubicBezTo>
                    <a:cubicBezTo>
                      <a:pt x="422" y="1248"/>
                      <a:pt x="422" y="1248"/>
                      <a:pt x="422" y="1248"/>
                    </a:cubicBezTo>
                    <a:lnTo>
                      <a:pt x="422" y="1787"/>
                    </a:lnTo>
                    <a:close/>
                    <a:moveTo>
                      <a:pt x="356" y="1251"/>
                    </a:moveTo>
                    <a:cubicBezTo>
                      <a:pt x="331" y="1253"/>
                      <a:pt x="306" y="1259"/>
                      <a:pt x="282" y="1267"/>
                    </a:cubicBezTo>
                    <a:cubicBezTo>
                      <a:pt x="279" y="1268"/>
                      <a:pt x="279" y="1268"/>
                      <a:pt x="279" y="1268"/>
                    </a:cubicBezTo>
                    <a:cubicBezTo>
                      <a:pt x="279" y="1787"/>
                      <a:pt x="279" y="1787"/>
                      <a:pt x="279" y="1787"/>
                    </a:cubicBezTo>
                    <a:cubicBezTo>
                      <a:pt x="360" y="1787"/>
                      <a:pt x="360" y="1787"/>
                      <a:pt x="360" y="1787"/>
                    </a:cubicBezTo>
                    <a:cubicBezTo>
                      <a:pt x="360" y="1723"/>
                      <a:pt x="360" y="1723"/>
                      <a:pt x="360" y="1723"/>
                    </a:cubicBezTo>
                    <a:cubicBezTo>
                      <a:pt x="359" y="1723"/>
                      <a:pt x="359" y="1723"/>
                      <a:pt x="359" y="1723"/>
                    </a:cubicBezTo>
                    <a:cubicBezTo>
                      <a:pt x="359" y="1465"/>
                      <a:pt x="359" y="1465"/>
                      <a:pt x="359" y="1465"/>
                    </a:cubicBezTo>
                    <a:cubicBezTo>
                      <a:pt x="360" y="1465"/>
                      <a:pt x="360" y="1465"/>
                      <a:pt x="360" y="1465"/>
                    </a:cubicBezTo>
                    <a:cubicBezTo>
                      <a:pt x="360" y="1250"/>
                      <a:pt x="360" y="1250"/>
                      <a:pt x="360" y="1250"/>
                    </a:cubicBezTo>
                    <a:lnTo>
                      <a:pt x="356" y="1251"/>
                    </a:lnTo>
                    <a:close/>
                    <a:moveTo>
                      <a:pt x="208" y="1309"/>
                    </a:moveTo>
                    <a:cubicBezTo>
                      <a:pt x="120" y="1373"/>
                      <a:pt x="64" y="1481"/>
                      <a:pt x="64" y="1590"/>
                    </a:cubicBezTo>
                    <a:cubicBezTo>
                      <a:pt x="64" y="1787"/>
                      <a:pt x="64" y="1787"/>
                      <a:pt x="64" y="1787"/>
                    </a:cubicBezTo>
                    <a:cubicBezTo>
                      <a:pt x="215" y="1787"/>
                      <a:pt x="215" y="1787"/>
                      <a:pt x="215" y="1787"/>
                    </a:cubicBezTo>
                    <a:cubicBezTo>
                      <a:pt x="215" y="1304"/>
                      <a:pt x="215" y="1304"/>
                      <a:pt x="215" y="1304"/>
                    </a:cubicBezTo>
                    <a:lnTo>
                      <a:pt x="208" y="1309"/>
                    </a:lnTo>
                    <a:close/>
                    <a:moveTo>
                      <a:pt x="567" y="1202"/>
                    </a:moveTo>
                    <a:cubicBezTo>
                      <a:pt x="748" y="1397"/>
                      <a:pt x="748" y="1397"/>
                      <a:pt x="748" y="1397"/>
                    </a:cubicBezTo>
                    <a:cubicBezTo>
                      <a:pt x="932" y="1202"/>
                      <a:pt x="932" y="1202"/>
                      <a:pt x="932" y="1202"/>
                    </a:cubicBezTo>
                    <a:cubicBezTo>
                      <a:pt x="932" y="1128"/>
                      <a:pt x="932" y="1128"/>
                      <a:pt x="932" y="1128"/>
                    </a:cubicBezTo>
                    <a:cubicBezTo>
                      <a:pt x="927" y="1131"/>
                      <a:pt x="927" y="1131"/>
                      <a:pt x="927" y="1131"/>
                    </a:cubicBezTo>
                    <a:cubicBezTo>
                      <a:pt x="872" y="1160"/>
                      <a:pt x="814" y="1174"/>
                      <a:pt x="748" y="1174"/>
                    </a:cubicBezTo>
                    <a:cubicBezTo>
                      <a:pt x="684" y="1174"/>
                      <a:pt x="624" y="1160"/>
                      <a:pt x="573" y="1131"/>
                    </a:cubicBezTo>
                    <a:cubicBezTo>
                      <a:pt x="567" y="1128"/>
                      <a:pt x="567" y="1128"/>
                      <a:pt x="567" y="1128"/>
                    </a:cubicBezTo>
                    <a:lnTo>
                      <a:pt x="567" y="1202"/>
                    </a:lnTo>
                    <a:close/>
                    <a:moveTo>
                      <a:pt x="422" y="770"/>
                    </a:moveTo>
                    <a:cubicBezTo>
                      <a:pt x="422" y="792"/>
                      <a:pt x="425" y="814"/>
                      <a:pt x="430" y="836"/>
                    </a:cubicBezTo>
                    <a:cubicBezTo>
                      <a:pt x="440" y="898"/>
                      <a:pt x="470" y="957"/>
                      <a:pt x="520" y="1010"/>
                    </a:cubicBezTo>
                    <a:cubicBezTo>
                      <a:pt x="530" y="1020"/>
                      <a:pt x="541" y="1032"/>
                      <a:pt x="555" y="1043"/>
                    </a:cubicBezTo>
                    <a:cubicBezTo>
                      <a:pt x="613" y="1087"/>
                      <a:pt x="681" y="1112"/>
                      <a:pt x="748" y="1112"/>
                    </a:cubicBezTo>
                    <a:cubicBezTo>
                      <a:pt x="818" y="1112"/>
                      <a:pt x="887" y="1087"/>
                      <a:pt x="942" y="1043"/>
                    </a:cubicBezTo>
                    <a:cubicBezTo>
                      <a:pt x="1009" y="988"/>
                      <a:pt x="1053" y="917"/>
                      <a:pt x="1069" y="836"/>
                    </a:cubicBezTo>
                    <a:cubicBezTo>
                      <a:pt x="1075" y="814"/>
                      <a:pt x="1075" y="791"/>
                      <a:pt x="1075" y="770"/>
                    </a:cubicBezTo>
                    <a:cubicBezTo>
                      <a:pt x="1075" y="657"/>
                      <a:pt x="1075" y="657"/>
                      <a:pt x="1075" y="657"/>
                    </a:cubicBezTo>
                    <a:cubicBezTo>
                      <a:pt x="422" y="657"/>
                      <a:pt x="422" y="657"/>
                      <a:pt x="422" y="657"/>
                    </a:cubicBezTo>
                    <a:lnTo>
                      <a:pt x="422" y="770"/>
                    </a:lnTo>
                    <a:close/>
                    <a:moveTo>
                      <a:pt x="1139" y="770"/>
                    </a:moveTo>
                    <a:cubicBezTo>
                      <a:pt x="1139" y="780"/>
                      <a:pt x="1139" y="794"/>
                      <a:pt x="1137" y="804"/>
                    </a:cubicBezTo>
                    <a:cubicBezTo>
                      <a:pt x="1136" y="809"/>
                      <a:pt x="1136" y="809"/>
                      <a:pt x="1136" y="809"/>
                    </a:cubicBezTo>
                    <a:cubicBezTo>
                      <a:pt x="1143" y="809"/>
                      <a:pt x="1143" y="809"/>
                      <a:pt x="1143" y="809"/>
                    </a:cubicBezTo>
                    <a:cubicBezTo>
                      <a:pt x="1186" y="809"/>
                      <a:pt x="1220" y="774"/>
                      <a:pt x="1220" y="732"/>
                    </a:cubicBezTo>
                    <a:cubicBezTo>
                      <a:pt x="1220" y="690"/>
                      <a:pt x="1186" y="657"/>
                      <a:pt x="1143" y="657"/>
                    </a:cubicBezTo>
                    <a:cubicBezTo>
                      <a:pt x="1139" y="657"/>
                      <a:pt x="1139" y="657"/>
                      <a:pt x="1139" y="657"/>
                    </a:cubicBezTo>
                    <a:lnTo>
                      <a:pt x="1139" y="770"/>
                    </a:lnTo>
                    <a:close/>
                    <a:moveTo>
                      <a:pt x="356" y="657"/>
                    </a:moveTo>
                    <a:cubicBezTo>
                      <a:pt x="314" y="657"/>
                      <a:pt x="279" y="690"/>
                      <a:pt x="279" y="732"/>
                    </a:cubicBezTo>
                    <a:cubicBezTo>
                      <a:pt x="279" y="774"/>
                      <a:pt x="314" y="809"/>
                      <a:pt x="356" y="809"/>
                    </a:cubicBezTo>
                    <a:cubicBezTo>
                      <a:pt x="360" y="809"/>
                      <a:pt x="360" y="809"/>
                      <a:pt x="360" y="809"/>
                    </a:cubicBezTo>
                    <a:cubicBezTo>
                      <a:pt x="360" y="657"/>
                      <a:pt x="360" y="657"/>
                      <a:pt x="360" y="657"/>
                    </a:cubicBezTo>
                    <a:lnTo>
                      <a:pt x="356" y="657"/>
                    </a:lnTo>
                    <a:close/>
                    <a:moveTo>
                      <a:pt x="318" y="510"/>
                    </a:moveTo>
                    <a:cubicBezTo>
                      <a:pt x="309" y="510"/>
                      <a:pt x="297" y="516"/>
                      <a:pt x="291" y="522"/>
                    </a:cubicBezTo>
                    <a:cubicBezTo>
                      <a:pt x="283" y="530"/>
                      <a:pt x="279" y="539"/>
                      <a:pt x="279" y="552"/>
                    </a:cubicBezTo>
                    <a:cubicBezTo>
                      <a:pt x="279" y="573"/>
                      <a:pt x="297" y="591"/>
                      <a:pt x="318" y="591"/>
                    </a:cubicBezTo>
                    <a:cubicBezTo>
                      <a:pt x="1178" y="591"/>
                      <a:pt x="1178" y="591"/>
                      <a:pt x="1178" y="591"/>
                    </a:cubicBezTo>
                    <a:cubicBezTo>
                      <a:pt x="1191" y="591"/>
                      <a:pt x="1200" y="588"/>
                      <a:pt x="1208" y="579"/>
                    </a:cubicBezTo>
                    <a:cubicBezTo>
                      <a:pt x="1214" y="573"/>
                      <a:pt x="1220" y="561"/>
                      <a:pt x="1220" y="552"/>
                    </a:cubicBezTo>
                    <a:cubicBezTo>
                      <a:pt x="1220" y="528"/>
                      <a:pt x="1202" y="510"/>
                      <a:pt x="1178" y="510"/>
                    </a:cubicBezTo>
                    <a:lnTo>
                      <a:pt x="318" y="510"/>
                    </a:lnTo>
                    <a:close/>
                    <a:moveTo>
                      <a:pt x="570" y="167"/>
                    </a:moveTo>
                    <a:cubicBezTo>
                      <a:pt x="454" y="208"/>
                      <a:pt x="368" y="316"/>
                      <a:pt x="352" y="442"/>
                    </a:cubicBezTo>
                    <a:cubicBezTo>
                      <a:pt x="351" y="447"/>
                      <a:pt x="351" y="447"/>
                      <a:pt x="351" y="447"/>
                    </a:cubicBezTo>
                    <a:cubicBezTo>
                      <a:pt x="1145" y="447"/>
                      <a:pt x="1145" y="447"/>
                      <a:pt x="1145" y="447"/>
                    </a:cubicBezTo>
                    <a:cubicBezTo>
                      <a:pt x="1145" y="442"/>
                      <a:pt x="1145" y="442"/>
                      <a:pt x="1145" y="442"/>
                    </a:cubicBezTo>
                    <a:cubicBezTo>
                      <a:pt x="1131" y="316"/>
                      <a:pt x="1047" y="208"/>
                      <a:pt x="930" y="167"/>
                    </a:cubicBezTo>
                    <a:cubicBezTo>
                      <a:pt x="924" y="165"/>
                      <a:pt x="924" y="165"/>
                      <a:pt x="924" y="165"/>
                    </a:cubicBezTo>
                    <a:cubicBezTo>
                      <a:pt x="924" y="334"/>
                      <a:pt x="924" y="334"/>
                      <a:pt x="924" y="334"/>
                    </a:cubicBezTo>
                    <a:cubicBezTo>
                      <a:pt x="924" y="351"/>
                      <a:pt x="910" y="365"/>
                      <a:pt x="894" y="365"/>
                    </a:cubicBezTo>
                    <a:cubicBezTo>
                      <a:pt x="875" y="365"/>
                      <a:pt x="860" y="351"/>
                      <a:pt x="860" y="334"/>
                    </a:cubicBezTo>
                    <a:cubicBezTo>
                      <a:pt x="860" y="116"/>
                      <a:pt x="860" y="116"/>
                      <a:pt x="860" y="116"/>
                    </a:cubicBezTo>
                    <a:cubicBezTo>
                      <a:pt x="860" y="93"/>
                      <a:pt x="841" y="63"/>
                      <a:pt x="821" y="63"/>
                    </a:cubicBezTo>
                    <a:cubicBezTo>
                      <a:pt x="679" y="63"/>
                      <a:pt x="679" y="63"/>
                      <a:pt x="679" y="63"/>
                    </a:cubicBezTo>
                    <a:cubicBezTo>
                      <a:pt x="657" y="63"/>
                      <a:pt x="637" y="93"/>
                      <a:pt x="637" y="116"/>
                    </a:cubicBezTo>
                    <a:cubicBezTo>
                      <a:pt x="637" y="334"/>
                      <a:pt x="637" y="334"/>
                      <a:pt x="637" y="334"/>
                    </a:cubicBezTo>
                    <a:cubicBezTo>
                      <a:pt x="637" y="351"/>
                      <a:pt x="622" y="365"/>
                      <a:pt x="606" y="365"/>
                    </a:cubicBezTo>
                    <a:cubicBezTo>
                      <a:pt x="589" y="365"/>
                      <a:pt x="575" y="351"/>
                      <a:pt x="575" y="334"/>
                    </a:cubicBezTo>
                    <a:cubicBezTo>
                      <a:pt x="575" y="165"/>
                      <a:pt x="575" y="165"/>
                      <a:pt x="575" y="165"/>
                    </a:cubicBezTo>
                    <a:lnTo>
                      <a:pt x="570" y="167"/>
                    </a:lnTo>
                    <a:close/>
                  </a:path>
                </a:pathLst>
              </a:custGeom>
              <a:solidFill>
                <a:srgbClr val="006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83">
                  <a:defRPr/>
                </a:pPr>
                <a:endParaRPr lang="en-CA">
                  <a:solidFill>
                    <a:srgbClr val="000000"/>
                  </a:solidFill>
                  <a:latin typeface="IBM Plex Sans"/>
                </a:endParaRPr>
              </a:p>
            </p:txBody>
          </p:sp>
          <p:sp>
            <p:nvSpPr>
              <p:cNvPr id="156" name="Freeform 36">
                <a:extLst>
                  <a:ext uri="{FF2B5EF4-FFF2-40B4-BE49-F238E27FC236}">
                    <a16:creationId xmlns:a16="http://schemas.microsoft.com/office/drawing/2014/main" id="{71C44184-B393-6048-B758-1B20D2228CFF}"/>
                  </a:ext>
                </a:extLst>
              </p:cNvPr>
              <p:cNvSpPr>
                <a:spLocks/>
              </p:cNvSpPr>
              <p:nvPr/>
            </p:nvSpPr>
            <p:spPr bwMode="auto">
              <a:xfrm>
                <a:off x="3554413" y="3324226"/>
                <a:ext cx="114300" cy="36513"/>
              </a:xfrm>
              <a:custGeom>
                <a:avLst/>
                <a:gdLst>
                  <a:gd name="T0" fmla="*/ 0 w 437"/>
                  <a:gd name="T1" fmla="*/ 86 h 143"/>
                  <a:gd name="T2" fmla="*/ 217 w 437"/>
                  <a:gd name="T3" fmla="*/ 0 h 143"/>
                  <a:gd name="T4" fmla="*/ 437 w 437"/>
                  <a:gd name="T5" fmla="*/ 86 h 143"/>
                  <a:gd name="T6" fmla="*/ 378 w 437"/>
                  <a:gd name="T7" fmla="*/ 143 h 143"/>
                  <a:gd name="T8" fmla="*/ 217 w 437"/>
                  <a:gd name="T9" fmla="*/ 85 h 143"/>
                  <a:gd name="T10" fmla="*/ 56 w 437"/>
                  <a:gd name="T11" fmla="*/ 143 h 143"/>
                  <a:gd name="T12" fmla="*/ 0 w 437"/>
                  <a:gd name="T13" fmla="*/ 86 h 143"/>
                </a:gdLst>
                <a:ahLst/>
                <a:cxnLst>
                  <a:cxn ang="0">
                    <a:pos x="T0" y="T1"/>
                  </a:cxn>
                  <a:cxn ang="0">
                    <a:pos x="T2" y="T3"/>
                  </a:cxn>
                  <a:cxn ang="0">
                    <a:pos x="T4" y="T5"/>
                  </a:cxn>
                  <a:cxn ang="0">
                    <a:pos x="T6" y="T7"/>
                  </a:cxn>
                  <a:cxn ang="0">
                    <a:pos x="T8" y="T9"/>
                  </a:cxn>
                  <a:cxn ang="0">
                    <a:pos x="T10" y="T11"/>
                  </a:cxn>
                  <a:cxn ang="0">
                    <a:pos x="T12" y="T13"/>
                  </a:cxn>
                </a:cxnLst>
                <a:rect l="0" t="0" r="r" b="b"/>
                <a:pathLst>
                  <a:path w="437" h="143">
                    <a:moveTo>
                      <a:pt x="0" y="86"/>
                    </a:moveTo>
                    <a:cubicBezTo>
                      <a:pt x="61" y="31"/>
                      <a:pt x="138" y="0"/>
                      <a:pt x="217" y="0"/>
                    </a:cubicBezTo>
                    <a:cubicBezTo>
                      <a:pt x="299" y="0"/>
                      <a:pt x="375" y="30"/>
                      <a:pt x="437" y="86"/>
                    </a:cubicBezTo>
                    <a:cubicBezTo>
                      <a:pt x="378" y="143"/>
                      <a:pt x="378" y="143"/>
                      <a:pt x="378" y="143"/>
                    </a:cubicBezTo>
                    <a:cubicBezTo>
                      <a:pt x="334" y="106"/>
                      <a:pt x="277" y="85"/>
                      <a:pt x="217" y="85"/>
                    </a:cubicBezTo>
                    <a:cubicBezTo>
                      <a:pt x="160" y="85"/>
                      <a:pt x="103" y="106"/>
                      <a:pt x="56" y="143"/>
                    </a:cubicBezTo>
                    <a:lnTo>
                      <a:pt x="0" y="86"/>
                    </a:lnTo>
                    <a:close/>
                  </a:path>
                </a:pathLst>
              </a:custGeom>
              <a:solidFill>
                <a:srgbClr val="006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83">
                  <a:defRPr/>
                </a:pPr>
                <a:endParaRPr lang="en-CA">
                  <a:solidFill>
                    <a:srgbClr val="000000"/>
                  </a:solidFill>
                  <a:latin typeface="IBM Plex Sans"/>
                </a:endParaRPr>
              </a:p>
            </p:txBody>
          </p:sp>
          <p:sp>
            <p:nvSpPr>
              <p:cNvPr id="157" name="Freeform 37">
                <a:extLst>
                  <a:ext uri="{FF2B5EF4-FFF2-40B4-BE49-F238E27FC236}">
                    <a16:creationId xmlns:a16="http://schemas.microsoft.com/office/drawing/2014/main" id="{3B41B95D-83BD-544E-959F-9B2A151FB90E}"/>
                  </a:ext>
                </a:extLst>
              </p:cNvPr>
              <p:cNvSpPr>
                <a:spLocks/>
              </p:cNvSpPr>
              <p:nvPr/>
            </p:nvSpPr>
            <p:spPr bwMode="auto">
              <a:xfrm>
                <a:off x="3500438" y="3246438"/>
                <a:ext cx="222250" cy="60325"/>
              </a:xfrm>
              <a:custGeom>
                <a:avLst/>
                <a:gdLst>
                  <a:gd name="T0" fmla="*/ 0 w 851"/>
                  <a:gd name="T1" fmla="*/ 168 h 228"/>
                  <a:gd name="T2" fmla="*/ 425 w 851"/>
                  <a:gd name="T3" fmla="*/ 0 h 228"/>
                  <a:gd name="T4" fmla="*/ 851 w 851"/>
                  <a:gd name="T5" fmla="*/ 168 h 228"/>
                  <a:gd name="T6" fmla="*/ 792 w 851"/>
                  <a:gd name="T7" fmla="*/ 228 h 228"/>
                  <a:gd name="T8" fmla="*/ 426 w 851"/>
                  <a:gd name="T9" fmla="*/ 82 h 228"/>
                  <a:gd name="T10" fmla="*/ 59 w 851"/>
                  <a:gd name="T11" fmla="*/ 228 h 228"/>
                  <a:gd name="T12" fmla="*/ 0 w 851"/>
                  <a:gd name="T13" fmla="*/ 168 h 228"/>
                </a:gdLst>
                <a:ahLst/>
                <a:cxnLst>
                  <a:cxn ang="0">
                    <a:pos x="T0" y="T1"/>
                  </a:cxn>
                  <a:cxn ang="0">
                    <a:pos x="T2" y="T3"/>
                  </a:cxn>
                  <a:cxn ang="0">
                    <a:pos x="T4" y="T5"/>
                  </a:cxn>
                  <a:cxn ang="0">
                    <a:pos x="T6" y="T7"/>
                  </a:cxn>
                  <a:cxn ang="0">
                    <a:pos x="T8" y="T9"/>
                  </a:cxn>
                  <a:cxn ang="0">
                    <a:pos x="T10" y="T11"/>
                  </a:cxn>
                  <a:cxn ang="0">
                    <a:pos x="T12" y="T13"/>
                  </a:cxn>
                </a:cxnLst>
                <a:rect l="0" t="0" r="r" b="b"/>
                <a:pathLst>
                  <a:path w="851" h="228">
                    <a:moveTo>
                      <a:pt x="0" y="168"/>
                    </a:moveTo>
                    <a:cubicBezTo>
                      <a:pt x="118" y="59"/>
                      <a:pt x="265" y="0"/>
                      <a:pt x="425" y="0"/>
                    </a:cubicBezTo>
                    <a:cubicBezTo>
                      <a:pt x="586" y="0"/>
                      <a:pt x="737" y="60"/>
                      <a:pt x="851" y="168"/>
                    </a:cubicBezTo>
                    <a:cubicBezTo>
                      <a:pt x="792" y="228"/>
                      <a:pt x="792" y="228"/>
                      <a:pt x="792" y="228"/>
                    </a:cubicBezTo>
                    <a:cubicBezTo>
                      <a:pt x="692" y="134"/>
                      <a:pt x="563" y="82"/>
                      <a:pt x="426" y="82"/>
                    </a:cubicBezTo>
                    <a:cubicBezTo>
                      <a:pt x="290" y="82"/>
                      <a:pt x="160" y="134"/>
                      <a:pt x="59" y="228"/>
                    </a:cubicBezTo>
                    <a:lnTo>
                      <a:pt x="0" y="168"/>
                    </a:lnTo>
                    <a:close/>
                  </a:path>
                </a:pathLst>
              </a:custGeom>
              <a:solidFill>
                <a:srgbClr val="006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83">
                  <a:defRPr/>
                </a:pPr>
                <a:endParaRPr lang="en-CA">
                  <a:solidFill>
                    <a:srgbClr val="000000"/>
                  </a:solidFill>
                  <a:latin typeface="IBM Plex Sans"/>
                </a:endParaRPr>
              </a:p>
            </p:txBody>
          </p:sp>
          <p:sp>
            <p:nvSpPr>
              <p:cNvPr id="158" name="Freeform 38">
                <a:extLst>
                  <a:ext uri="{FF2B5EF4-FFF2-40B4-BE49-F238E27FC236}">
                    <a16:creationId xmlns:a16="http://schemas.microsoft.com/office/drawing/2014/main" id="{5EBE892A-9015-3D4E-9DF6-4299A2954EA3}"/>
                  </a:ext>
                </a:extLst>
              </p:cNvPr>
              <p:cNvSpPr>
                <a:spLocks/>
              </p:cNvSpPr>
              <p:nvPr/>
            </p:nvSpPr>
            <p:spPr bwMode="auto">
              <a:xfrm>
                <a:off x="3448050" y="3170238"/>
                <a:ext cx="327025" cy="82550"/>
              </a:xfrm>
              <a:custGeom>
                <a:avLst/>
                <a:gdLst>
                  <a:gd name="T0" fmla="*/ 0 w 1255"/>
                  <a:gd name="T1" fmla="*/ 256 h 316"/>
                  <a:gd name="T2" fmla="*/ 627 w 1255"/>
                  <a:gd name="T3" fmla="*/ 0 h 316"/>
                  <a:gd name="T4" fmla="*/ 1255 w 1255"/>
                  <a:gd name="T5" fmla="*/ 256 h 316"/>
                  <a:gd name="T6" fmla="*/ 1199 w 1255"/>
                  <a:gd name="T7" fmla="*/ 316 h 316"/>
                  <a:gd name="T8" fmla="*/ 627 w 1255"/>
                  <a:gd name="T9" fmla="*/ 85 h 316"/>
                  <a:gd name="T10" fmla="*/ 58 w 1255"/>
                  <a:gd name="T11" fmla="*/ 316 h 316"/>
                  <a:gd name="T12" fmla="*/ 0 w 1255"/>
                  <a:gd name="T13" fmla="*/ 256 h 316"/>
                </a:gdLst>
                <a:ahLst/>
                <a:cxnLst>
                  <a:cxn ang="0">
                    <a:pos x="T0" y="T1"/>
                  </a:cxn>
                  <a:cxn ang="0">
                    <a:pos x="T2" y="T3"/>
                  </a:cxn>
                  <a:cxn ang="0">
                    <a:pos x="T4" y="T5"/>
                  </a:cxn>
                  <a:cxn ang="0">
                    <a:pos x="T6" y="T7"/>
                  </a:cxn>
                  <a:cxn ang="0">
                    <a:pos x="T8" y="T9"/>
                  </a:cxn>
                  <a:cxn ang="0">
                    <a:pos x="T10" y="T11"/>
                  </a:cxn>
                  <a:cxn ang="0">
                    <a:pos x="T12" y="T13"/>
                  </a:cxn>
                </a:cxnLst>
                <a:rect l="0" t="0" r="r" b="b"/>
                <a:pathLst>
                  <a:path w="1255" h="316">
                    <a:moveTo>
                      <a:pt x="0" y="256"/>
                    </a:moveTo>
                    <a:cubicBezTo>
                      <a:pt x="171" y="91"/>
                      <a:pt x="394" y="0"/>
                      <a:pt x="627" y="0"/>
                    </a:cubicBezTo>
                    <a:cubicBezTo>
                      <a:pt x="864" y="0"/>
                      <a:pt x="1086" y="91"/>
                      <a:pt x="1255" y="256"/>
                    </a:cubicBezTo>
                    <a:cubicBezTo>
                      <a:pt x="1199" y="316"/>
                      <a:pt x="1199" y="316"/>
                      <a:pt x="1199" y="316"/>
                    </a:cubicBezTo>
                    <a:cubicBezTo>
                      <a:pt x="1043" y="167"/>
                      <a:pt x="841" y="85"/>
                      <a:pt x="627" y="85"/>
                    </a:cubicBezTo>
                    <a:cubicBezTo>
                      <a:pt x="413" y="85"/>
                      <a:pt x="211" y="167"/>
                      <a:pt x="58" y="316"/>
                    </a:cubicBezTo>
                    <a:lnTo>
                      <a:pt x="0" y="256"/>
                    </a:lnTo>
                    <a:close/>
                  </a:path>
                </a:pathLst>
              </a:custGeom>
              <a:solidFill>
                <a:srgbClr val="006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83">
                  <a:defRPr/>
                </a:pPr>
                <a:endParaRPr lang="en-CA">
                  <a:solidFill>
                    <a:srgbClr val="000000"/>
                  </a:solidFill>
                  <a:latin typeface="IBM Plex Sans"/>
                </a:endParaRPr>
              </a:p>
            </p:txBody>
          </p:sp>
        </p:grpSp>
        <p:grpSp>
          <p:nvGrpSpPr>
            <p:cNvPr id="146" name="Group 145">
              <a:extLst>
                <a:ext uri="{FF2B5EF4-FFF2-40B4-BE49-F238E27FC236}">
                  <a16:creationId xmlns:a16="http://schemas.microsoft.com/office/drawing/2014/main" id="{2A3823C5-D023-0A41-B098-631A073B771E}"/>
                </a:ext>
              </a:extLst>
            </p:cNvPr>
            <p:cNvGrpSpPr/>
            <p:nvPr/>
          </p:nvGrpSpPr>
          <p:grpSpPr>
            <a:xfrm>
              <a:off x="1548159" y="2285425"/>
              <a:ext cx="266911" cy="352565"/>
              <a:chOff x="876544" y="1727713"/>
              <a:chExt cx="1211016" cy="1381646"/>
            </a:xfrm>
          </p:grpSpPr>
          <p:grpSp>
            <p:nvGrpSpPr>
              <p:cNvPr id="147" name="Группа 27">
                <a:extLst>
                  <a:ext uri="{FF2B5EF4-FFF2-40B4-BE49-F238E27FC236}">
                    <a16:creationId xmlns:a16="http://schemas.microsoft.com/office/drawing/2014/main" id="{4D60768D-31A2-B84B-ADF4-A3345DC898A6}"/>
                  </a:ext>
                </a:extLst>
              </p:cNvPr>
              <p:cNvGrpSpPr/>
              <p:nvPr/>
            </p:nvGrpSpPr>
            <p:grpSpPr>
              <a:xfrm>
                <a:off x="876544" y="1727713"/>
                <a:ext cx="1211016" cy="1381646"/>
                <a:chOff x="311150" y="2111375"/>
                <a:chExt cx="539750" cy="674688"/>
              </a:xfrm>
            </p:grpSpPr>
            <p:sp>
              <p:nvSpPr>
                <p:cNvPr id="152" name="Freeform 5">
                  <a:extLst>
                    <a:ext uri="{FF2B5EF4-FFF2-40B4-BE49-F238E27FC236}">
                      <a16:creationId xmlns:a16="http://schemas.microsoft.com/office/drawing/2014/main" id="{DACF9D7B-8441-9D4A-BF99-A9B22F8833D0}"/>
                    </a:ext>
                  </a:extLst>
                </p:cNvPr>
                <p:cNvSpPr>
                  <a:spLocks noEditPoints="1"/>
                </p:cNvSpPr>
                <p:nvPr/>
              </p:nvSpPr>
              <p:spPr bwMode="auto">
                <a:xfrm>
                  <a:off x="733425" y="2373313"/>
                  <a:ext cx="117475" cy="412750"/>
                </a:xfrm>
                <a:custGeom>
                  <a:avLst/>
                  <a:gdLst>
                    <a:gd name="T0" fmla="*/ 90 w 693"/>
                    <a:gd name="T1" fmla="*/ 0 h 2448"/>
                    <a:gd name="T2" fmla="*/ 0 w 693"/>
                    <a:gd name="T3" fmla="*/ 98 h 2448"/>
                    <a:gd name="T4" fmla="*/ 409 w 693"/>
                    <a:gd name="T5" fmla="*/ 473 h 2448"/>
                    <a:gd name="T6" fmla="*/ 560 w 693"/>
                    <a:gd name="T7" fmla="*/ 817 h 2448"/>
                    <a:gd name="T8" fmla="*/ 560 w 693"/>
                    <a:gd name="T9" fmla="*/ 2448 h 2448"/>
                    <a:gd name="T10" fmla="*/ 693 w 693"/>
                    <a:gd name="T11" fmla="*/ 2448 h 2448"/>
                    <a:gd name="T12" fmla="*/ 693 w 693"/>
                    <a:gd name="T13" fmla="*/ 817 h 2448"/>
                    <a:gd name="T14" fmla="*/ 499 w 693"/>
                    <a:gd name="T15" fmla="*/ 374 h 2448"/>
                    <a:gd name="T16" fmla="*/ 90 w 693"/>
                    <a:gd name="T17" fmla="*/ 0 h 2448"/>
                    <a:gd name="T18" fmla="*/ 90 w 693"/>
                    <a:gd name="T19" fmla="*/ 0 h 2448"/>
                    <a:gd name="T20" fmla="*/ 90 w 693"/>
                    <a:gd name="T21" fmla="*/ 0 h 2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3" h="2448">
                      <a:moveTo>
                        <a:pt x="90" y="0"/>
                      </a:moveTo>
                      <a:cubicBezTo>
                        <a:pt x="0" y="98"/>
                        <a:pt x="0" y="98"/>
                        <a:pt x="0" y="98"/>
                      </a:cubicBezTo>
                      <a:cubicBezTo>
                        <a:pt x="409" y="473"/>
                        <a:pt x="409" y="473"/>
                        <a:pt x="409" y="473"/>
                      </a:cubicBezTo>
                      <a:cubicBezTo>
                        <a:pt x="505" y="561"/>
                        <a:pt x="560" y="686"/>
                        <a:pt x="560" y="817"/>
                      </a:cubicBezTo>
                      <a:cubicBezTo>
                        <a:pt x="560" y="2448"/>
                        <a:pt x="560" y="2448"/>
                        <a:pt x="560" y="2448"/>
                      </a:cubicBezTo>
                      <a:cubicBezTo>
                        <a:pt x="693" y="2448"/>
                        <a:pt x="693" y="2448"/>
                        <a:pt x="693" y="2448"/>
                      </a:cubicBezTo>
                      <a:cubicBezTo>
                        <a:pt x="693" y="817"/>
                        <a:pt x="693" y="817"/>
                        <a:pt x="693" y="817"/>
                      </a:cubicBezTo>
                      <a:cubicBezTo>
                        <a:pt x="693" y="648"/>
                        <a:pt x="622" y="488"/>
                        <a:pt x="499" y="374"/>
                      </a:cubicBezTo>
                      <a:lnTo>
                        <a:pt x="90" y="0"/>
                      </a:lnTo>
                      <a:close/>
                      <a:moveTo>
                        <a:pt x="90" y="0"/>
                      </a:moveTo>
                      <a:cubicBezTo>
                        <a:pt x="90" y="0"/>
                        <a:pt x="90" y="0"/>
                        <a:pt x="90" y="0"/>
                      </a:cubicBezTo>
                    </a:path>
                  </a:pathLst>
                </a:custGeom>
                <a:solidFill>
                  <a:srgbClr val="0064FF"/>
                </a:solidFill>
                <a:ln w="0">
                  <a:noFill/>
                  <a:round/>
                  <a:headEnd/>
                  <a:tailEnd/>
                </a:ln>
              </p:spPr>
              <p:txBody>
                <a:bodyPr vert="horz" wrap="square" lIns="91440" tIns="45720" rIns="91440" bIns="45720" numCol="1" anchor="t" anchorCtr="0" compatLnSpc="1">
                  <a:prstTxWarp prst="textNoShape">
                    <a:avLst/>
                  </a:prstTxWarp>
                </a:bodyPr>
                <a:lstStyle/>
                <a:p>
                  <a:pPr defTabSz="457189">
                    <a:defRPr/>
                  </a:pPr>
                  <a:endParaRPr lang="en-US" sz="1800">
                    <a:solidFill>
                      <a:srgbClr val="000000"/>
                    </a:solidFill>
                    <a:latin typeface="IBM Plex Sans"/>
                  </a:endParaRPr>
                </a:p>
              </p:txBody>
            </p:sp>
            <p:sp>
              <p:nvSpPr>
                <p:cNvPr id="153" name="Freeform 6">
                  <a:extLst>
                    <a:ext uri="{FF2B5EF4-FFF2-40B4-BE49-F238E27FC236}">
                      <a16:creationId xmlns:a16="http://schemas.microsoft.com/office/drawing/2014/main" id="{A57916DD-0032-9D4C-AEB1-71E8412F6973}"/>
                    </a:ext>
                  </a:extLst>
                </p:cNvPr>
                <p:cNvSpPr>
                  <a:spLocks noEditPoints="1"/>
                </p:cNvSpPr>
                <p:nvPr/>
              </p:nvSpPr>
              <p:spPr bwMode="auto">
                <a:xfrm>
                  <a:off x="311150" y="2111375"/>
                  <a:ext cx="479425" cy="674688"/>
                </a:xfrm>
                <a:custGeom>
                  <a:avLst/>
                  <a:gdLst>
                    <a:gd name="T0" fmla="*/ 2065 w 2845"/>
                    <a:gd name="T1" fmla="*/ 0 h 3998"/>
                    <a:gd name="T2" fmla="*/ 333 w 2845"/>
                    <a:gd name="T3" fmla="*/ 0 h 3998"/>
                    <a:gd name="T4" fmla="*/ 0 w 2845"/>
                    <a:gd name="T5" fmla="*/ 333 h 3998"/>
                    <a:gd name="T6" fmla="*/ 0 w 2845"/>
                    <a:gd name="T7" fmla="*/ 3664 h 3998"/>
                    <a:gd name="T8" fmla="*/ 333 w 2845"/>
                    <a:gd name="T9" fmla="*/ 3998 h 3998"/>
                    <a:gd name="T10" fmla="*/ 1999 w 2845"/>
                    <a:gd name="T11" fmla="*/ 3998 h 3998"/>
                    <a:gd name="T12" fmla="*/ 1999 w 2845"/>
                    <a:gd name="T13" fmla="*/ 3878 h 3998"/>
                    <a:gd name="T14" fmla="*/ 2254 w 2845"/>
                    <a:gd name="T15" fmla="*/ 3035 h 3998"/>
                    <a:gd name="T16" fmla="*/ 2246 w 2845"/>
                    <a:gd name="T17" fmla="*/ 2951 h 3998"/>
                    <a:gd name="T18" fmla="*/ 1779 w 2845"/>
                    <a:gd name="T19" fmla="*/ 2485 h 3998"/>
                    <a:gd name="T20" fmla="*/ 1716 w 2845"/>
                    <a:gd name="T21" fmla="*/ 2321 h 3998"/>
                    <a:gd name="T22" fmla="*/ 1795 w 2845"/>
                    <a:gd name="T23" fmla="*/ 2165 h 3998"/>
                    <a:gd name="T24" fmla="*/ 2093 w 2845"/>
                    <a:gd name="T25" fmla="*/ 2188 h 3998"/>
                    <a:gd name="T26" fmla="*/ 2751 w 2845"/>
                    <a:gd name="T27" fmla="*/ 2846 h 3998"/>
                    <a:gd name="T28" fmla="*/ 2845 w 2845"/>
                    <a:gd name="T29" fmla="*/ 2751 h 3998"/>
                    <a:gd name="T30" fmla="*/ 2398 w 2845"/>
                    <a:gd name="T31" fmla="*/ 2304 h 3998"/>
                    <a:gd name="T32" fmla="*/ 2398 w 2845"/>
                    <a:gd name="T33" fmla="*/ 333 h 3998"/>
                    <a:gd name="T34" fmla="*/ 2065 w 2845"/>
                    <a:gd name="T35" fmla="*/ 0 h 3998"/>
                    <a:gd name="T36" fmla="*/ 2265 w 2845"/>
                    <a:gd name="T37" fmla="*/ 2171 h 3998"/>
                    <a:gd name="T38" fmla="*/ 2188 w 2845"/>
                    <a:gd name="T39" fmla="*/ 2093 h 3998"/>
                    <a:gd name="T40" fmla="*/ 1710 w 2845"/>
                    <a:gd name="T41" fmla="*/ 2062 h 3998"/>
                    <a:gd name="T42" fmla="*/ 1583 w 2845"/>
                    <a:gd name="T43" fmla="*/ 2315 h 3998"/>
                    <a:gd name="T44" fmla="*/ 1685 w 2845"/>
                    <a:gd name="T45" fmla="*/ 2579 h 3998"/>
                    <a:gd name="T46" fmla="*/ 2113 w 2845"/>
                    <a:gd name="T47" fmla="*/ 3007 h 3998"/>
                    <a:gd name="T48" fmla="*/ 1866 w 2845"/>
                    <a:gd name="T49" fmla="*/ 3864 h 3998"/>
                    <a:gd name="T50" fmla="*/ 333 w 2845"/>
                    <a:gd name="T51" fmla="*/ 3864 h 3998"/>
                    <a:gd name="T52" fmla="*/ 133 w 2845"/>
                    <a:gd name="T53" fmla="*/ 3664 h 3998"/>
                    <a:gd name="T54" fmla="*/ 133 w 2845"/>
                    <a:gd name="T55" fmla="*/ 3465 h 3998"/>
                    <a:gd name="T56" fmla="*/ 1799 w 2845"/>
                    <a:gd name="T57" fmla="*/ 3465 h 3998"/>
                    <a:gd name="T58" fmla="*/ 1799 w 2845"/>
                    <a:gd name="T59" fmla="*/ 3331 h 3998"/>
                    <a:gd name="T60" fmla="*/ 133 w 2845"/>
                    <a:gd name="T61" fmla="*/ 3331 h 3998"/>
                    <a:gd name="T62" fmla="*/ 133 w 2845"/>
                    <a:gd name="T63" fmla="*/ 533 h 3998"/>
                    <a:gd name="T64" fmla="*/ 2265 w 2845"/>
                    <a:gd name="T65" fmla="*/ 533 h 3998"/>
                    <a:gd name="T66" fmla="*/ 2265 w 2845"/>
                    <a:gd name="T67" fmla="*/ 2171 h 3998"/>
                    <a:gd name="T68" fmla="*/ 2265 w 2845"/>
                    <a:gd name="T69" fmla="*/ 400 h 3998"/>
                    <a:gd name="T70" fmla="*/ 133 w 2845"/>
                    <a:gd name="T71" fmla="*/ 400 h 3998"/>
                    <a:gd name="T72" fmla="*/ 133 w 2845"/>
                    <a:gd name="T73" fmla="*/ 333 h 3998"/>
                    <a:gd name="T74" fmla="*/ 333 w 2845"/>
                    <a:gd name="T75" fmla="*/ 133 h 3998"/>
                    <a:gd name="T76" fmla="*/ 2065 w 2845"/>
                    <a:gd name="T77" fmla="*/ 133 h 3998"/>
                    <a:gd name="T78" fmla="*/ 2265 w 2845"/>
                    <a:gd name="T79" fmla="*/ 333 h 3998"/>
                    <a:gd name="T80" fmla="*/ 2265 w 2845"/>
                    <a:gd name="T81" fmla="*/ 400 h 3998"/>
                    <a:gd name="T82" fmla="*/ 2265 w 2845"/>
                    <a:gd name="T83" fmla="*/ 400 h 3998"/>
                    <a:gd name="T84" fmla="*/ 2265 w 2845"/>
                    <a:gd name="T85" fmla="*/ 400 h 3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45" h="3998">
                      <a:moveTo>
                        <a:pt x="2065" y="0"/>
                      </a:moveTo>
                      <a:cubicBezTo>
                        <a:pt x="333" y="0"/>
                        <a:pt x="333" y="0"/>
                        <a:pt x="333" y="0"/>
                      </a:cubicBezTo>
                      <a:cubicBezTo>
                        <a:pt x="149" y="0"/>
                        <a:pt x="0" y="149"/>
                        <a:pt x="0" y="333"/>
                      </a:cubicBezTo>
                      <a:cubicBezTo>
                        <a:pt x="0" y="3664"/>
                        <a:pt x="0" y="3664"/>
                        <a:pt x="0" y="3664"/>
                      </a:cubicBezTo>
                      <a:cubicBezTo>
                        <a:pt x="0" y="3848"/>
                        <a:pt x="149" y="3997"/>
                        <a:pt x="333" y="3998"/>
                      </a:cubicBezTo>
                      <a:cubicBezTo>
                        <a:pt x="1999" y="3998"/>
                        <a:pt x="1999" y="3998"/>
                        <a:pt x="1999" y="3998"/>
                      </a:cubicBezTo>
                      <a:cubicBezTo>
                        <a:pt x="1999" y="3878"/>
                        <a:pt x="1999" y="3878"/>
                        <a:pt x="1999" y="3878"/>
                      </a:cubicBezTo>
                      <a:cubicBezTo>
                        <a:pt x="1998" y="3578"/>
                        <a:pt x="2087" y="3285"/>
                        <a:pt x="2254" y="3035"/>
                      </a:cubicBezTo>
                      <a:cubicBezTo>
                        <a:pt x="2272" y="3009"/>
                        <a:pt x="2268" y="2973"/>
                        <a:pt x="2246" y="2951"/>
                      </a:cubicBezTo>
                      <a:cubicBezTo>
                        <a:pt x="1779" y="2485"/>
                        <a:pt x="1779" y="2485"/>
                        <a:pt x="1779" y="2485"/>
                      </a:cubicBezTo>
                      <a:cubicBezTo>
                        <a:pt x="1736" y="2441"/>
                        <a:pt x="1713" y="2382"/>
                        <a:pt x="1716" y="2321"/>
                      </a:cubicBezTo>
                      <a:cubicBezTo>
                        <a:pt x="1719" y="2260"/>
                        <a:pt x="1748" y="2203"/>
                        <a:pt x="1795" y="2165"/>
                      </a:cubicBezTo>
                      <a:cubicBezTo>
                        <a:pt x="1886" y="2095"/>
                        <a:pt x="2014" y="2105"/>
                        <a:pt x="2093" y="2188"/>
                      </a:cubicBezTo>
                      <a:cubicBezTo>
                        <a:pt x="2751" y="2846"/>
                        <a:pt x="2751" y="2846"/>
                        <a:pt x="2751" y="2846"/>
                      </a:cubicBezTo>
                      <a:cubicBezTo>
                        <a:pt x="2845" y="2751"/>
                        <a:pt x="2845" y="2751"/>
                        <a:pt x="2845" y="2751"/>
                      </a:cubicBezTo>
                      <a:cubicBezTo>
                        <a:pt x="2398" y="2304"/>
                        <a:pt x="2398" y="2304"/>
                        <a:pt x="2398" y="2304"/>
                      </a:cubicBezTo>
                      <a:cubicBezTo>
                        <a:pt x="2398" y="333"/>
                        <a:pt x="2398" y="333"/>
                        <a:pt x="2398" y="333"/>
                      </a:cubicBezTo>
                      <a:cubicBezTo>
                        <a:pt x="2398" y="149"/>
                        <a:pt x="2249" y="0"/>
                        <a:pt x="2065" y="0"/>
                      </a:cubicBezTo>
                      <a:close/>
                      <a:moveTo>
                        <a:pt x="2265" y="2171"/>
                      </a:moveTo>
                      <a:cubicBezTo>
                        <a:pt x="2188" y="2093"/>
                        <a:pt x="2188" y="2093"/>
                        <a:pt x="2188" y="2093"/>
                      </a:cubicBezTo>
                      <a:cubicBezTo>
                        <a:pt x="2060" y="1963"/>
                        <a:pt x="1854" y="1949"/>
                        <a:pt x="1710" y="2062"/>
                      </a:cubicBezTo>
                      <a:cubicBezTo>
                        <a:pt x="1634" y="2124"/>
                        <a:pt x="1588" y="2216"/>
                        <a:pt x="1583" y="2315"/>
                      </a:cubicBezTo>
                      <a:cubicBezTo>
                        <a:pt x="1578" y="2413"/>
                        <a:pt x="1615" y="2509"/>
                        <a:pt x="1685" y="2579"/>
                      </a:cubicBezTo>
                      <a:cubicBezTo>
                        <a:pt x="2113" y="3007"/>
                        <a:pt x="2113" y="3007"/>
                        <a:pt x="2113" y="3007"/>
                      </a:cubicBezTo>
                      <a:cubicBezTo>
                        <a:pt x="1954" y="3265"/>
                        <a:pt x="1868" y="3561"/>
                        <a:pt x="1866" y="3864"/>
                      </a:cubicBezTo>
                      <a:cubicBezTo>
                        <a:pt x="333" y="3864"/>
                        <a:pt x="333" y="3864"/>
                        <a:pt x="333" y="3864"/>
                      </a:cubicBezTo>
                      <a:cubicBezTo>
                        <a:pt x="223" y="3864"/>
                        <a:pt x="133" y="3775"/>
                        <a:pt x="133" y="3664"/>
                      </a:cubicBezTo>
                      <a:cubicBezTo>
                        <a:pt x="133" y="3465"/>
                        <a:pt x="133" y="3465"/>
                        <a:pt x="133" y="3465"/>
                      </a:cubicBezTo>
                      <a:cubicBezTo>
                        <a:pt x="1799" y="3465"/>
                        <a:pt x="1799" y="3465"/>
                        <a:pt x="1799" y="3465"/>
                      </a:cubicBezTo>
                      <a:cubicBezTo>
                        <a:pt x="1799" y="3331"/>
                        <a:pt x="1799" y="3331"/>
                        <a:pt x="1799" y="3331"/>
                      </a:cubicBezTo>
                      <a:cubicBezTo>
                        <a:pt x="133" y="3331"/>
                        <a:pt x="133" y="3331"/>
                        <a:pt x="133" y="3331"/>
                      </a:cubicBezTo>
                      <a:cubicBezTo>
                        <a:pt x="133" y="533"/>
                        <a:pt x="133" y="533"/>
                        <a:pt x="133" y="533"/>
                      </a:cubicBezTo>
                      <a:cubicBezTo>
                        <a:pt x="2265" y="533"/>
                        <a:pt x="2265" y="533"/>
                        <a:pt x="2265" y="533"/>
                      </a:cubicBezTo>
                      <a:lnTo>
                        <a:pt x="2265" y="2171"/>
                      </a:lnTo>
                      <a:close/>
                      <a:moveTo>
                        <a:pt x="2265" y="400"/>
                      </a:moveTo>
                      <a:cubicBezTo>
                        <a:pt x="133" y="400"/>
                        <a:pt x="133" y="400"/>
                        <a:pt x="133" y="400"/>
                      </a:cubicBezTo>
                      <a:cubicBezTo>
                        <a:pt x="133" y="333"/>
                        <a:pt x="133" y="333"/>
                        <a:pt x="133" y="333"/>
                      </a:cubicBezTo>
                      <a:cubicBezTo>
                        <a:pt x="133" y="223"/>
                        <a:pt x="223" y="133"/>
                        <a:pt x="333" y="133"/>
                      </a:cubicBezTo>
                      <a:cubicBezTo>
                        <a:pt x="2065" y="133"/>
                        <a:pt x="2065" y="133"/>
                        <a:pt x="2065" y="133"/>
                      </a:cubicBezTo>
                      <a:cubicBezTo>
                        <a:pt x="2176" y="133"/>
                        <a:pt x="2265" y="223"/>
                        <a:pt x="2265" y="333"/>
                      </a:cubicBezTo>
                      <a:lnTo>
                        <a:pt x="2265" y="400"/>
                      </a:lnTo>
                      <a:close/>
                      <a:moveTo>
                        <a:pt x="2265" y="400"/>
                      </a:moveTo>
                      <a:cubicBezTo>
                        <a:pt x="2265" y="400"/>
                        <a:pt x="2265" y="400"/>
                        <a:pt x="2265" y="400"/>
                      </a:cubicBezTo>
                    </a:path>
                  </a:pathLst>
                </a:custGeom>
                <a:solidFill>
                  <a:srgbClr val="0064FF"/>
                </a:solidFill>
                <a:ln w="0">
                  <a:noFill/>
                  <a:round/>
                  <a:headEnd/>
                  <a:tailEnd/>
                </a:ln>
              </p:spPr>
              <p:txBody>
                <a:bodyPr vert="horz" wrap="square" lIns="91440" tIns="45720" rIns="91440" bIns="45720" numCol="1" anchor="t" anchorCtr="0" compatLnSpc="1">
                  <a:prstTxWarp prst="textNoShape">
                    <a:avLst/>
                  </a:prstTxWarp>
                </a:bodyPr>
                <a:lstStyle/>
                <a:p>
                  <a:pPr defTabSz="457189">
                    <a:defRPr/>
                  </a:pPr>
                  <a:endParaRPr lang="en-US" sz="1800" dirty="0">
                    <a:solidFill>
                      <a:srgbClr val="000000"/>
                    </a:solidFill>
                    <a:latin typeface="IBM Plex Sans"/>
                  </a:endParaRPr>
                </a:p>
              </p:txBody>
            </p:sp>
            <p:sp>
              <p:nvSpPr>
                <p:cNvPr id="154" name="Rectangle 17">
                  <a:extLst>
                    <a:ext uri="{FF2B5EF4-FFF2-40B4-BE49-F238E27FC236}">
                      <a16:creationId xmlns:a16="http://schemas.microsoft.com/office/drawing/2014/main" id="{56AB04A2-554B-9842-AB1F-32D0EBADC86A}"/>
                    </a:ext>
                  </a:extLst>
                </p:cNvPr>
                <p:cNvSpPr>
                  <a:spLocks noChangeArrowheads="1"/>
                </p:cNvSpPr>
                <p:nvPr/>
              </p:nvSpPr>
              <p:spPr bwMode="auto">
                <a:xfrm>
                  <a:off x="501650" y="2717800"/>
                  <a:ext cx="23813" cy="23813"/>
                </a:xfrm>
                <a:prstGeom prst="rect">
                  <a:avLst/>
                </a:prstGeom>
                <a:solidFill>
                  <a:srgbClr val="0064FF"/>
                </a:solidFill>
                <a:ln w="0">
                  <a:noFill/>
                  <a:miter lim="800000"/>
                  <a:headEnd/>
                  <a:tailEnd/>
                </a:ln>
              </p:spPr>
              <p:txBody>
                <a:bodyPr vert="horz" wrap="square" lIns="91440" tIns="45720" rIns="91440" bIns="45720" numCol="1" anchor="t" anchorCtr="0" compatLnSpc="1">
                  <a:prstTxWarp prst="textNoShape">
                    <a:avLst/>
                  </a:prstTxWarp>
                </a:bodyPr>
                <a:lstStyle/>
                <a:p>
                  <a:pPr defTabSz="457189">
                    <a:defRPr/>
                  </a:pPr>
                  <a:endParaRPr lang="en-US" sz="1800">
                    <a:solidFill>
                      <a:srgbClr val="000000"/>
                    </a:solidFill>
                    <a:latin typeface="IBM Plex Sans"/>
                  </a:endParaRPr>
                </a:p>
              </p:txBody>
            </p:sp>
          </p:grpSp>
          <p:grpSp>
            <p:nvGrpSpPr>
              <p:cNvPr id="148" name="Group 147">
                <a:extLst>
                  <a:ext uri="{FF2B5EF4-FFF2-40B4-BE49-F238E27FC236}">
                    <a16:creationId xmlns:a16="http://schemas.microsoft.com/office/drawing/2014/main" id="{DB5427A8-9FFC-3943-A39A-BF5E047E92F4}"/>
                  </a:ext>
                </a:extLst>
              </p:cNvPr>
              <p:cNvGrpSpPr/>
              <p:nvPr/>
            </p:nvGrpSpPr>
            <p:grpSpPr>
              <a:xfrm>
                <a:off x="960024" y="1936686"/>
                <a:ext cx="698159" cy="733065"/>
                <a:chOff x="-3849687" y="4343400"/>
                <a:chExt cx="1379537" cy="1382712"/>
              </a:xfrm>
              <a:solidFill>
                <a:schemeClr val="accent2"/>
              </a:solidFill>
            </p:grpSpPr>
            <p:sp>
              <p:nvSpPr>
                <p:cNvPr id="149" name="Freeform 9">
                  <a:extLst>
                    <a:ext uri="{FF2B5EF4-FFF2-40B4-BE49-F238E27FC236}">
                      <a16:creationId xmlns:a16="http://schemas.microsoft.com/office/drawing/2014/main" id="{8B988BA8-780E-074C-9478-BE8097A5A39D}"/>
                    </a:ext>
                  </a:extLst>
                </p:cNvPr>
                <p:cNvSpPr>
                  <a:spLocks noEditPoints="1"/>
                </p:cNvSpPr>
                <p:nvPr/>
              </p:nvSpPr>
              <p:spPr bwMode="auto">
                <a:xfrm>
                  <a:off x="-3849687" y="4343400"/>
                  <a:ext cx="1379537" cy="1382712"/>
                </a:xfrm>
                <a:custGeom>
                  <a:avLst/>
                  <a:gdLst>
                    <a:gd name="T0" fmla="*/ 1329 w 1482"/>
                    <a:gd name="T1" fmla="*/ 1295 h 1482"/>
                    <a:gd name="T2" fmla="*/ 918 w 1482"/>
                    <a:gd name="T3" fmla="*/ 885 h 1482"/>
                    <a:gd name="T4" fmla="*/ 919 w 1482"/>
                    <a:gd name="T5" fmla="*/ 597 h 1482"/>
                    <a:gd name="T6" fmla="*/ 1304 w 1482"/>
                    <a:gd name="T7" fmla="*/ 355 h 1482"/>
                    <a:gd name="T8" fmla="*/ 1304 w 1482"/>
                    <a:gd name="T9" fmla="*/ 0 h 1482"/>
                    <a:gd name="T10" fmla="*/ 1163 w 1482"/>
                    <a:gd name="T11" fmla="*/ 285 h 1482"/>
                    <a:gd name="T12" fmla="*/ 741 w 1482"/>
                    <a:gd name="T13" fmla="*/ 512 h 1482"/>
                    <a:gd name="T14" fmla="*/ 469 w 1482"/>
                    <a:gd name="T15" fmla="*/ 435 h 1482"/>
                    <a:gd name="T16" fmla="*/ 382 w 1482"/>
                    <a:gd name="T17" fmla="*/ 282 h 1482"/>
                    <a:gd name="T18" fmla="*/ 382 w 1482"/>
                    <a:gd name="T19" fmla="*/ 483 h 1482"/>
                    <a:gd name="T20" fmla="*/ 563 w 1482"/>
                    <a:gd name="T21" fmla="*/ 597 h 1482"/>
                    <a:gd name="T22" fmla="*/ 529 w 1482"/>
                    <a:gd name="T23" fmla="*/ 828 h 1482"/>
                    <a:gd name="T24" fmla="*/ 126 w 1482"/>
                    <a:gd name="T25" fmla="*/ 947 h 1482"/>
                    <a:gd name="T26" fmla="*/ 126 w 1482"/>
                    <a:gd name="T27" fmla="*/ 1200 h 1482"/>
                    <a:gd name="T28" fmla="*/ 247 w 1482"/>
                    <a:gd name="T29" fmla="*/ 1036 h 1482"/>
                    <a:gd name="T30" fmla="*/ 741 w 1482"/>
                    <a:gd name="T31" fmla="*/ 970 h 1482"/>
                    <a:gd name="T32" fmla="*/ 799 w 1482"/>
                    <a:gd name="T33" fmla="*/ 1111 h 1482"/>
                    <a:gd name="T34" fmla="*/ 843 w 1482"/>
                    <a:gd name="T35" fmla="*/ 1302 h 1482"/>
                    <a:gd name="T36" fmla="*/ 845 w 1482"/>
                    <a:gd name="T37" fmla="*/ 1101 h 1482"/>
                    <a:gd name="T38" fmla="*/ 885 w 1482"/>
                    <a:gd name="T39" fmla="*/ 918 h 1482"/>
                    <a:gd name="T40" fmla="*/ 1295 w 1482"/>
                    <a:gd name="T41" fmla="*/ 1329 h 1482"/>
                    <a:gd name="T42" fmla="*/ 1381 w 1482"/>
                    <a:gd name="T43" fmla="*/ 1482 h 1482"/>
                    <a:gd name="T44" fmla="*/ 1381 w 1482"/>
                    <a:gd name="T45" fmla="*/ 1280 h 1482"/>
                    <a:gd name="T46" fmla="*/ 48 w 1482"/>
                    <a:gd name="T47" fmla="*/ 1074 h 1482"/>
                    <a:gd name="T48" fmla="*/ 205 w 1482"/>
                    <a:gd name="T49" fmla="*/ 1074 h 1482"/>
                    <a:gd name="T50" fmla="*/ 896 w 1482"/>
                    <a:gd name="T51" fmla="*/ 1202 h 1482"/>
                    <a:gd name="T52" fmla="*/ 790 w 1482"/>
                    <a:gd name="T53" fmla="*/ 1202 h 1482"/>
                    <a:gd name="T54" fmla="*/ 896 w 1482"/>
                    <a:gd name="T55" fmla="*/ 1202 h 1482"/>
                    <a:gd name="T56" fmla="*/ 1434 w 1482"/>
                    <a:gd name="T57" fmla="*/ 178 h 1482"/>
                    <a:gd name="T58" fmla="*/ 1174 w 1482"/>
                    <a:gd name="T59" fmla="*/ 178 h 1482"/>
                    <a:gd name="T60" fmla="*/ 330 w 1482"/>
                    <a:gd name="T61" fmla="*/ 382 h 1482"/>
                    <a:gd name="T62" fmla="*/ 435 w 1482"/>
                    <a:gd name="T63" fmla="*/ 382 h 1482"/>
                    <a:gd name="T64" fmla="*/ 330 w 1482"/>
                    <a:gd name="T65" fmla="*/ 382 h 1482"/>
                    <a:gd name="T66" fmla="*/ 560 w 1482"/>
                    <a:gd name="T67" fmla="*/ 741 h 1482"/>
                    <a:gd name="T68" fmla="*/ 922 w 1482"/>
                    <a:gd name="T69" fmla="*/ 741 h 1482"/>
                    <a:gd name="T70" fmla="*/ 1381 w 1482"/>
                    <a:gd name="T71" fmla="*/ 1434 h 1482"/>
                    <a:gd name="T72" fmla="*/ 1381 w 1482"/>
                    <a:gd name="T73" fmla="*/ 1328 h 1482"/>
                    <a:gd name="T74" fmla="*/ 1381 w 1482"/>
                    <a:gd name="T75" fmla="*/ 1434 h 1482"/>
                    <a:gd name="T76" fmla="*/ 1381 w 1482"/>
                    <a:gd name="T77" fmla="*/ 1434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2" h="1482">
                      <a:moveTo>
                        <a:pt x="1381" y="1280"/>
                      </a:moveTo>
                      <a:cubicBezTo>
                        <a:pt x="1362" y="1280"/>
                        <a:pt x="1344" y="1285"/>
                        <a:pt x="1329" y="1295"/>
                      </a:cubicBezTo>
                      <a:cubicBezTo>
                        <a:pt x="921" y="887"/>
                        <a:pt x="921" y="887"/>
                        <a:pt x="921" y="887"/>
                      </a:cubicBezTo>
                      <a:cubicBezTo>
                        <a:pt x="920" y="886"/>
                        <a:pt x="919" y="885"/>
                        <a:pt x="918" y="885"/>
                      </a:cubicBezTo>
                      <a:cubicBezTo>
                        <a:pt x="950" y="845"/>
                        <a:pt x="970" y="795"/>
                        <a:pt x="970" y="741"/>
                      </a:cubicBezTo>
                      <a:cubicBezTo>
                        <a:pt x="970" y="686"/>
                        <a:pt x="950" y="636"/>
                        <a:pt x="919" y="597"/>
                      </a:cubicBezTo>
                      <a:cubicBezTo>
                        <a:pt x="1197" y="319"/>
                        <a:pt x="1197" y="319"/>
                        <a:pt x="1197" y="319"/>
                      </a:cubicBezTo>
                      <a:cubicBezTo>
                        <a:pt x="1226" y="342"/>
                        <a:pt x="1264" y="355"/>
                        <a:pt x="1304" y="355"/>
                      </a:cubicBezTo>
                      <a:cubicBezTo>
                        <a:pt x="1402" y="355"/>
                        <a:pt x="1482" y="276"/>
                        <a:pt x="1482" y="178"/>
                      </a:cubicBezTo>
                      <a:cubicBezTo>
                        <a:pt x="1482" y="80"/>
                        <a:pt x="1402" y="0"/>
                        <a:pt x="1304" y="0"/>
                      </a:cubicBezTo>
                      <a:cubicBezTo>
                        <a:pt x="1206" y="0"/>
                        <a:pt x="1126" y="80"/>
                        <a:pt x="1126" y="178"/>
                      </a:cubicBezTo>
                      <a:cubicBezTo>
                        <a:pt x="1126" y="218"/>
                        <a:pt x="1140" y="255"/>
                        <a:pt x="1163" y="285"/>
                      </a:cubicBezTo>
                      <a:cubicBezTo>
                        <a:pt x="885" y="563"/>
                        <a:pt x="885" y="563"/>
                        <a:pt x="885" y="563"/>
                      </a:cubicBezTo>
                      <a:cubicBezTo>
                        <a:pt x="845" y="531"/>
                        <a:pt x="795" y="512"/>
                        <a:pt x="741" y="512"/>
                      </a:cubicBezTo>
                      <a:cubicBezTo>
                        <a:pt x="686" y="512"/>
                        <a:pt x="636" y="531"/>
                        <a:pt x="597" y="563"/>
                      </a:cubicBezTo>
                      <a:cubicBezTo>
                        <a:pt x="469" y="435"/>
                        <a:pt x="469" y="435"/>
                        <a:pt x="469" y="435"/>
                      </a:cubicBezTo>
                      <a:cubicBezTo>
                        <a:pt x="478" y="419"/>
                        <a:pt x="483" y="402"/>
                        <a:pt x="483" y="382"/>
                      </a:cubicBezTo>
                      <a:cubicBezTo>
                        <a:pt x="483" y="327"/>
                        <a:pt x="438" y="282"/>
                        <a:pt x="382" y="282"/>
                      </a:cubicBezTo>
                      <a:cubicBezTo>
                        <a:pt x="327" y="282"/>
                        <a:pt x="282" y="327"/>
                        <a:pt x="282" y="382"/>
                      </a:cubicBezTo>
                      <a:cubicBezTo>
                        <a:pt x="282" y="438"/>
                        <a:pt x="327" y="483"/>
                        <a:pt x="382" y="483"/>
                      </a:cubicBezTo>
                      <a:cubicBezTo>
                        <a:pt x="402" y="483"/>
                        <a:pt x="419" y="478"/>
                        <a:pt x="435" y="469"/>
                      </a:cubicBezTo>
                      <a:cubicBezTo>
                        <a:pt x="563" y="597"/>
                        <a:pt x="563" y="597"/>
                        <a:pt x="563" y="597"/>
                      </a:cubicBezTo>
                      <a:cubicBezTo>
                        <a:pt x="531" y="636"/>
                        <a:pt x="512" y="686"/>
                        <a:pt x="512" y="741"/>
                      </a:cubicBezTo>
                      <a:cubicBezTo>
                        <a:pt x="512" y="772"/>
                        <a:pt x="518" y="801"/>
                        <a:pt x="529" y="828"/>
                      </a:cubicBezTo>
                      <a:cubicBezTo>
                        <a:pt x="224" y="993"/>
                        <a:pt x="224" y="993"/>
                        <a:pt x="224" y="993"/>
                      </a:cubicBezTo>
                      <a:cubicBezTo>
                        <a:pt x="201" y="965"/>
                        <a:pt x="166" y="947"/>
                        <a:pt x="126" y="947"/>
                      </a:cubicBezTo>
                      <a:cubicBezTo>
                        <a:pt x="57" y="947"/>
                        <a:pt x="0" y="1004"/>
                        <a:pt x="0" y="1074"/>
                      </a:cubicBezTo>
                      <a:cubicBezTo>
                        <a:pt x="0" y="1143"/>
                        <a:pt x="57" y="1200"/>
                        <a:pt x="126" y="1200"/>
                      </a:cubicBezTo>
                      <a:cubicBezTo>
                        <a:pt x="196" y="1200"/>
                        <a:pt x="253" y="1143"/>
                        <a:pt x="253" y="1074"/>
                      </a:cubicBezTo>
                      <a:cubicBezTo>
                        <a:pt x="253" y="1060"/>
                        <a:pt x="251" y="1048"/>
                        <a:pt x="247" y="1036"/>
                      </a:cubicBezTo>
                      <a:cubicBezTo>
                        <a:pt x="552" y="870"/>
                        <a:pt x="552" y="870"/>
                        <a:pt x="552" y="870"/>
                      </a:cubicBezTo>
                      <a:cubicBezTo>
                        <a:pt x="594" y="930"/>
                        <a:pt x="663" y="970"/>
                        <a:pt x="741" y="970"/>
                      </a:cubicBezTo>
                      <a:cubicBezTo>
                        <a:pt x="750" y="970"/>
                        <a:pt x="758" y="969"/>
                        <a:pt x="767" y="968"/>
                      </a:cubicBezTo>
                      <a:cubicBezTo>
                        <a:pt x="799" y="1111"/>
                        <a:pt x="799" y="1111"/>
                        <a:pt x="799" y="1111"/>
                      </a:cubicBezTo>
                      <a:cubicBezTo>
                        <a:pt x="765" y="1128"/>
                        <a:pt x="742" y="1162"/>
                        <a:pt x="742" y="1202"/>
                      </a:cubicBezTo>
                      <a:cubicBezTo>
                        <a:pt x="742" y="1257"/>
                        <a:pt x="788" y="1302"/>
                        <a:pt x="843" y="1302"/>
                      </a:cubicBezTo>
                      <a:cubicBezTo>
                        <a:pt x="899" y="1302"/>
                        <a:pt x="944" y="1257"/>
                        <a:pt x="944" y="1202"/>
                      </a:cubicBezTo>
                      <a:cubicBezTo>
                        <a:pt x="944" y="1147"/>
                        <a:pt x="900" y="1102"/>
                        <a:pt x="845" y="1101"/>
                      </a:cubicBezTo>
                      <a:cubicBezTo>
                        <a:pt x="814" y="958"/>
                        <a:pt x="814" y="958"/>
                        <a:pt x="814" y="958"/>
                      </a:cubicBezTo>
                      <a:cubicBezTo>
                        <a:pt x="840" y="949"/>
                        <a:pt x="864" y="935"/>
                        <a:pt x="885" y="918"/>
                      </a:cubicBezTo>
                      <a:cubicBezTo>
                        <a:pt x="885" y="919"/>
                        <a:pt x="886" y="920"/>
                        <a:pt x="887" y="921"/>
                      </a:cubicBezTo>
                      <a:cubicBezTo>
                        <a:pt x="1295" y="1329"/>
                        <a:pt x="1295" y="1329"/>
                        <a:pt x="1295" y="1329"/>
                      </a:cubicBezTo>
                      <a:cubicBezTo>
                        <a:pt x="1285" y="1344"/>
                        <a:pt x="1280" y="1362"/>
                        <a:pt x="1280" y="1381"/>
                      </a:cubicBezTo>
                      <a:cubicBezTo>
                        <a:pt x="1280" y="1436"/>
                        <a:pt x="1325" y="1482"/>
                        <a:pt x="1381" y="1482"/>
                      </a:cubicBezTo>
                      <a:cubicBezTo>
                        <a:pt x="1436" y="1482"/>
                        <a:pt x="1482" y="1436"/>
                        <a:pt x="1482" y="1381"/>
                      </a:cubicBezTo>
                      <a:cubicBezTo>
                        <a:pt x="1482" y="1325"/>
                        <a:pt x="1436" y="1280"/>
                        <a:pt x="1381" y="1280"/>
                      </a:cubicBezTo>
                      <a:close/>
                      <a:moveTo>
                        <a:pt x="126" y="1152"/>
                      </a:moveTo>
                      <a:cubicBezTo>
                        <a:pt x="83" y="1152"/>
                        <a:pt x="48" y="1117"/>
                        <a:pt x="48" y="1074"/>
                      </a:cubicBezTo>
                      <a:cubicBezTo>
                        <a:pt x="48" y="1030"/>
                        <a:pt x="83" y="995"/>
                        <a:pt x="126" y="995"/>
                      </a:cubicBezTo>
                      <a:cubicBezTo>
                        <a:pt x="170" y="995"/>
                        <a:pt x="205" y="1030"/>
                        <a:pt x="205" y="1074"/>
                      </a:cubicBezTo>
                      <a:cubicBezTo>
                        <a:pt x="205" y="1117"/>
                        <a:pt x="170" y="1152"/>
                        <a:pt x="126" y="1152"/>
                      </a:cubicBezTo>
                      <a:close/>
                      <a:moveTo>
                        <a:pt x="896" y="1202"/>
                      </a:moveTo>
                      <a:cubicBezTo>
                        <a:pt x="896" y="1231"/>
                        <a:pt x="872" y="1254"/>
                        <a:pt x="843" y="1254"/>
                      </a:cubicBezTo>
                      <a:cubicBezTo>
                        <a:pt x="814" y="1254"/>
                        <a:pt x="790" y="1231"/>
                        <a:pt x="790" y="1202"/>
                      </a:cubicBezTo>
                      <a:cubicBezTo>
                        <a:pt x="790" y="1172"/>
                        <a:pt x="814" y="1149"/>
                        <a:pt x="843" y="1149"/>
                      </a:cubicBezTo>
                      <a:cubicBezTo>
                        <a:pt x="872" y="1149"/>
                        <a:pt x="896" y="1172"/>
                        <a:pt x="896" y="1202"/>
                      </a:cubicBezTo>
                      <a:close/>
                      <a:moveTo>
                        <a:pt x="1304" y="48"/>
                      </a:moveTo>
                      <a:cubicBezTo>
                        <a:pt x="1375" y="48"/>
                        <a:pt x="1434" y="106"/>
                        <a:pt x="1434" y="178"/>
                      </a:cubicBezTo>
                      <a:cubicBezTo>
                        <a:pt x="1434" y="249"/>
                        <a:pt x="1375" y="307"/>
                        <a:pt x="1304" y="307"/>
                      </a:cubicBezTo>
                      <a:cubicBezTo>
                        <a:pt x="1233" y="307"/>
                        <a:pt x="1174" y="249"/>
                        <a:pt x="1174" y="178"/>
                      </a:cubicBezTo>
                      <a:cubicBezTo>
                        <a:pt x="1174" y="106"/>
                        <a:pt x="1233" y="48"/>
                        <a:pt x="1304" y="48"/>
                      </a:cubicBezTo>
                      <a:close/>
                      <a:moveTo>
                        <a:pt x="330" y="382"/>
                      </a:moveTo>
                      <a:cubicBezTo>
                        <a:pt x="330" y="353"/>
                        <a:pt x="353" y="330"/>
                        <a:pt x="382" y="330"/>
                      </a:cubicBezTo>
                      <a:cubicBezTo>
                        <a:pt x="412" y="330"/>
                        <a:pt x="435" y="353"/>
                        <a:pt x="435" y="382"/>
                      </a:cubicBezTo>
                      <a:cubicBezTo>
                        <a:pt x="435" y="412"/>
                        <a:pt x="412" y="435"/>
                        <a:pt x="382" y="435"/>
                      </a:cubicBezTo>
                      <a:cubicBezTo>
                        <a:pt x="353" y="435"/>
                        <a:pt x="330" y="412"/>
                        <a:pt x="330" y="382"/>
                      </a:cubicBezTo>
                      <a:close/>
                      <a:moveTo>
                        <a:pt x="741" y="922"/>
                      </a:moveTo>
                      <a:cubicBezTo>
                        <a:pt x="641" y="922"/>
                        <a:pt x="560" y="840"/>
                        <a:pt x="560" y="741"/>
                      </a:cubicBezTo>
                      <a:cubicBezTo>
                        <a:pt x="560" y="641"/>
                        <a:pt x="641" y="560"/>
                        <a:pt x="741" y="560"/>
                      </a:cubicBezTo>
                      <a:cubicBezTo>
                        <a:pt x="841" y="560"/>
                        <a:pt x="922" y="641"/>
                        <a:pt x="922" y="741"/>
                      </a:cubicBezTo>
                      <a:cubicBezTo>
                        <a:pt x="922" y="840"/>
                        <a:pt x="841" y="922"/>
                        <a:pt x="741" y="922"/>
                      </a:cubicBezTo>
                      <a:close/>
                      <a:moveTo>
                        <a:pt x="1381" y="1434"/>
                      </a:moveTo>
                      <a:cubicBezTo>
                        <a:pt x="1352" y="1434"/>
                        <a:pt x="1328" y="1410"/>
                        <a:pt x="1328" y="1381"/>
                      </a:cubicBezTo>
                      <a:cubicBezTo>
                        <a:pt x="1328" y="1352"/>
                        <a:pt x="1352" y="1328"/>
                        <a:pt x="1381" y="1328"/>
                      </a:cubicBezTo>
                      <a:cubicBezTo>
                        <a:pt x="1410" y="1328"/>
                        <a:pt x="1434" y="1352"/>
                        <a:pt x="1434" y="1381"/>
                      </a:cubicBezTo>
                      <a:cubicBezTo>
                        <a:pt x="1434" y="1410"/>
                        <a:pt x="1410" y="1434"/>
                        <a:pt x="1381" y="1434"/>
                      </a:cubicBezTo>
                      <a:close/>
                      <a:moveTo>
                        <a:pt x="1381" y="1434"/>
                      </a:moveTo>
                      <a:cubicBezTo>
                        <a:pt x="1381" y="1434"/>
                        <a:pt x="1381" y="1434"/>
                        <a:pt x="1381" y="14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7252">
                    <a:defRPr/>
                  </a:pPr>
                  <a:endParaRPr lang="en-US" sz="2160">
                    <a:solidFill>
                      <a:srgbClr val="172934"/>
                    </a:solidFill>
                    <a:latin typeface="Arial" panose="020B0604020202020204"/>
                  </a:endParaRPr>
                </a:p>
              </p:txBody>
            </p:sp>
            <p:sp>
              <p:nvSpPr>
                <p:cNvPr id="150" name="Freeform 10">
                  <a:extLst>
                    <a:ext uri="{FF2B5EF4-FFF2-40B4-BE49-F238E27FC236}">
                      <a16:creationId xmlns:a16="http://schemas.microsoft.com/office/drawing/2014/main" id="{5C6E2AE7-FBCE-7E4F-A11C-1415A06B77C9}"/>
                    </a:ext>
                  </a:extLst>
                </p:cNvPr>
                <p:cNvSpPr>
                  <a:spLocks noEditPoints="1"/>
                </p:cNvSpPr>
                <p:nvPr/>
              </p:nvSpPr>
              <p:spPr bwMode="auto">
                <a:xfrm>
                  <a:off x="-3181350" y="4914900"/>
                  <a:ext cx="139700" cy="141287"/>
                </a:xfrm>
                <a:custGeom>
                  <a:avLst/>
                  <a:gdLst>
                    <a:gd name="T0" fmla="*/ 24 w 150"/>
                    <a:gd name="T1" fmla="*/ 0 h 151"/>
                    <a:gd name="T2" fmla="*/ 0 w 150"/>
                    <a:gd name="T3" fmla="*/ 24 h 151"/>
                    <a:gd name="T4" fmla="*/ 24 w 150"/>
                    <a:gd name="T5" fmla="*/ 48 h 151"/>
                    <a:gd name="T6" fmla="*/ 102 w 150"/>
                    <a:gd name="T7" fmla="*/ 127 h 151"/>
                    <a:gd name="T8" fmla="*/ 126 w 150"/>
                    <a:gd name="T9" fmla="*/ 151 h 151"/>
                    <a:gd name="T10" fmla="*/ 150 w 150"/>
                    <a:gd name="T11" fmla="*/ 127 h 151"/>
                    <a:gd name="T12" fmla="*/ 24 w 150"/>
                    <a:gd name="T13" fmla="*/ 0 h 151"/>
                    <a:gd name="T14" fmla="*/ 24 w 150"/>
                    <a:gd name="T15" fmla="*/ 0 h 151"/>
                    <a:gd name="T16" fmla="*/ 24 w 150"/>
                    <a:gd name="T17"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151">
                      <a:moveTo>
                        <a:pt x="24" y="0"/>
                      </a:moveTo>
                      <a:cubicBezTo>
                        <a:pt x="11" y="0"/>
                        <a:pt x="0" y="11"/>
                        <a:pt x="0" y="24"/>
                      </a:cubicBezTo>
                      <a:cubicBezTo>
                        <a:pt x="0" y="38"/>
                        <a:pt x="11" y="48"/>
                        <a:pt x="24" y="48"/>
                      </a:cubicBezTo>
                      <a:cubicBezTo>
                        <a:pt x="67" y="48"/>
                        <a:pt x="102" y="84"/>
                        <a:pt x="102" y="127"/>
                      </a:cubicBezTo>
                      <a:cubicBezTo>
                        <a:pt x="102" y="140"/>
                        <a:pt x="113" y="151"/>
                        <a:pt x="126" y="151"/>
                      </a:cubicBezTo>
                      <a:cubicBezTo>
                        <a:pt x="139" y="151"/>
                        <a:pt x="150" y="140"/>
                        <a:pt x="150" y="127"/>
                      </a:cubicBezTo>
                      <a:cubicBezTo>
                        <a:pt x="150" y="57"/>
                        <a:pt x="94" y="0"/>
                        <a:pt x="24" y="0"/>
                      </a:cubicBezTo>
                      <a:close/>
                      <a:moveTo>
                        <a:pt x="24" y="0"/>
                      </a:moveTo>
                      <a:cubicBezTo>
                        <a:pt x="24" y="0"/>
                        <a:pt x="24" y="0"/>
                        <a:pt x="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7252">
                    <a:defRPr/>
                  </a:pPr>
                  <a:endParaRPr lang="en-US" sz="2160">
                    <a:solidFill>
                      <a:srgbClr val="172934"/>
                    </a:solidFill>
                    <a:latin typeface="Arial" panose="020B0604020202020204"/>
                  </a:endParaRPr>
                </a:p>
              </p:txBody>
            </p:sp>
            <p:sp>
              <p:nvSpPr>
                <p:cNvPr id="151" name="Freeform 11">
                  <a:extLst>
                    <a:ext uri="{FF2B5EF4-FFF2-40B4-BE49-F238E27FC236}">
                      <a16:creationId xmlns:a16="http://schemas.microsoft.com/office/drawing/2014/main" id="{BC977067-72F6-B045-B151-A20603AD42F9}"/>
                    </a:ext>
                  </a:extLst>
                </p:cNvPr>
                <p:cNvSpPr>
                  <a:spLocks noEditPoints="1"/>
                </p:cNvSpPr>
                <p:nvPr/>
              </p:nvSpPr>
              <p:spPr bwMode="auto">
                <a:xfrm>
                  <a:off x="-2657475" y="4438650"/>
                  <a:ext cx="92075" cy="92075"/>
                </a:xfrm>
                <a:custGeom>
                  <a:avLst/>
                  <a:gdLst>
                    <a:gd name="T0" fmla="*/ 24 w 99"/>
                    <a:gd name="T1" fmla="*/ 48 h 100"/>
                    <a:gd name="T2" fmla="*/ 51 w 99"/>
                    <a:gd name="T3" fmla="*/ 76 h 100"/>
                    <a:gd name="T4" fmla="*/ 75 w 99"/>
                    <a:gd name="T5" fmla="*/ 100 h 100"/>
                    <a:gd name="T6" fmla="*/ 99 w 99"/>
                    <a:gd name="T7" fmla="*/ 76 h 100"/>
                    <a:gd name="T8" fmla="*/ 24 w 99"/>
                    <a:gd name="T9" fmla="*/ 0 h 100"/>
                    <a:gd name="T10" fmla="*/ 0 w 99"/>
                    <a:gd name="T11" fmla="*/ 24 h 100"/>
                    <a:gd name="T12" fmla="*/ 24 w 99"/>
                    <a:gd name="T13" fmla="*/ 48 h 100"/>
                    <a:gd name="T14" fmla="*/ 24 w 99"/>
                    <a:gd name="T15" fmla="*/ 48 h 100"/>
                    <a:gd name="T16" fmla="*/ 24 w 99"/>
                    <a:gd name="T17" fmla="*/ 4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100">
                      <a:moveTo>
                        <a:pt x="24" y="48"/>
                      </a:moveTo>
                      <a:cubicBezTo>
                        <a:pt x="39" y="48"/>
                        <a:pt x="51" y="61"/>
                        <a:pt x="51" y="76"/>
                      </a:cubicBezTo>
                      <a:cubicBezTo>
                        <a:pt x="51" y="89"/>
                        <a:pt x="62" y="100"/>
                        <a:pt x="75" y="100"/>
                      </a:cubicBezTo>
                      <a:cubicBezTo>
                        <a:pt x="88" y="100"/>
                        <a:pt x="99" y="89"/>
                        <a:pt x="99" y="76"/>
                      </a:cubicBezTo>
                      <a:cubicBezTo>
                        <a:pt x="99" y="34"/>
                        <a:pt x="65" y="0"/>
                        <a:pt x="24" y="0"/>
                      </a:cubicBezTo>
                      <a:cubicBezTo>
                        <a:pt x="11" y="0"/>
                        <a:pt x="0" y="11"/>
                        <a:pt x="0" y="24"/>
                      </a:cubicBezTo>
                      <a:cubicBezTo>
                        <a:pt x="0" y="38"/>
                        <a:pt x="11" y="48"/>
                        <a:pt x="24" y="48"/>
                      </a:cubicBezTo>
                      <a:close/>
                      <a:moveTo>
                        <a:pt x="24" y="48"/>
                      </a:moveTo>
                      <a:cubicBezTo>
                        <a:pt x="24" y="48"/>
                        <a:pt x="24" y="48"/>
                        <a:pt x="24" y="4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97252">
                    <a:defRPr/>
                  </a:pPr>
                  <a:endParaRPr lang="en-US" sz="2160">
                    <a:solidFill>
                      <a:srgbClr val="172934"/>
                    </a:solidFill>
                    <a:latin typeface="Arial" panose="020B0604020202020204"/>
                  </a:endParaRPr>
                </a:p>
              </p:txBody>
            </p:sp>
          </p:grpSp>
        </p:grpSp>
      </p:grpSp>
      <p:pic>
        <p:nvPicPr>
          <p:cNvPr id="80" name="Picture 2" descr="HP ProLiant DL380 G7 Server 2x Xeon X5670 Six Core 2.93 GHz, 16 GB DDR3 RAM, 2x 300 GB SAS 10K">
            <a:extLst>
              <a:ext uri="{FF2B5EF4-FFF2-40B4-BE49-F238E27FC236}">
                <a16:creationId xmlns:a16="http://schemas.microsoft.com/office/drawing/2014/main" id="{3EA3EA90-F394-AE4B-828F-89AF80378AAC}"/>
              </a:ext>
            </a:extLst>
          </p:cNvPr>
          <p:cNvPicPr>
            <a:picLocks noChangeAspect="1" noChangeArrowheads="1"/>
          </p:cNvPicPr>
          <p:nvPr/>
        </p:nvPicPr>
        <p:blipFill>
          <a:blip r:embed="rId17">
            <a:extLst>
              <a:ext uri="{28A0092B-C50C-407E-A947-70E740481C1C}">
                <a14:useLocalDpi xmlns:a14="http://schemas.microsoft.com/office/drawing/2010/main"/>
              </a:ext>
            </a:extLst>
          </a:blip>
          <a:srcRect/>
          <a:stretch>
            <a:fillRect/>
          </a:stretch>
        </p:blipFill>
        <p:spPr bwMode="auto">
          <a:xfrm>
            <a:off x="1973498" y="2705686"/>
            <a:ext cx="682534" cy="336248"/>
          </a:xfrm>
          <a:prstGeom prst="rect">
            <a:avLst/>
          </a:prstGeom>
          <a:noFill/>
          <a:extLst>
            <a:ext uri="{909E8E84-426E-40DD-AFC4-6F175D3DCCD1}">
              <a14:hiddenFill xmlns:a14="http://schemas.microsoft.com/office/drawing/2010/main">
                <a:solidFill>
                  <a:srgbClr val="FFFFFF"/>
                </a:solidFill>
              </a14:hiddenFill>
            </a:ext>
          </a:extLst>
        </p:spPr>
      </p:pic>
      <p:cxnSp>
        <p:nvCxnSpPr>
          <p:cNvPr id="81" name="Straight Connector 80">
            <a:extLst>
              <a:ext uri="{FF2B5EF4-FFF2-40B4-BE49-F238E27FC236}">
                <a16:creationId xmlns:a16="http://schemas.microsoft.com/office/drawing/2014/main" id="{942A5CD4-7498-A64A-8B5E-8E10B7543910}"/>
              </a:ext>
            </a:extLst>
          </p:cNvPr>
          <p:cNvCxnSpPr>
            <a:cxnSpLocks/>
          </p:cNvCxnSpPr>
          <p:nvPr/>
        </p:nvCxnSpPr>
        <p:spPr>
          <a:xfrm>
            <a:off x="1472678" y="1541028"/>
            <a:ext cx="417428" cy="972"/>
          </a:xfrm>
          <a:prstGeom prst="line">
            <a:avLst/>
          </a:prstGeom>
          <a:ln w="12700">
            <a:solidFill>
              <a:schemeClr val="accent2"/>
            </a:solidFill>
            <a:headEnd type="arrow"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8797FC24-0908-C643-A3B6-7359D424A45D}"/>
              </a:ext>
            </a:extLst>
          </p:cNvPr>
          <p:cNvCxnSpPr>
            <a:cxnSpLocks/>
          </p:cNvCxnSpPr>
          <p:nvPr/>
        </p:nvCxnSpPr>
        <p:spPr>
          <a:xfrm flipV="1">
            <a:off x="2715050" y="2624869"/>
            <a:ext cx="1125808" cy="27995"/>
          </a:xfrm>
          <a:prstGeom prst="line">
            <a:avLst/>
          </a:prstGeom>
          <a:ln w="12700">
            <a:solidFill>
              <a:schemeClr val="accent2"/>
            </a:solidFill>
            <a:headEnd type="arrow" w="med" len="med"/>
            <a:tailEnd type="arrow" w="med" len="med"/>
          </a:ln>
          <a:effectLst/>
        </p:spPr>
        <p:style>
          <a:lnRef idx="2">
            <a:schemeClr val="accent1"/>
          </a:lnRef>
          <a:fillRef idx="0">
            <a:schemeClr val="accent1"/>
          </a:fillRef>
          <a:effectRef idx="1">
            <a:schemeClr val="accent1"/>
          </a:effectRef>
          <a:fontRef idx="minor">
            <a:schemeClr val="tx1"/>
          </a:fontRef>
        </p:style>
      </p:cxnSp>
      <p:grpSp>
        <p:nvGrpSpPr>
          <p:cNvPr id="86" name="Group 731">
            <a:extLst>
              <a:ext uri="{FF2B5EF4-FFF2-40B4-BE49-F238E27FC236}">
                <a16:creationId xmlns:a16="http://schemas.microsoft.com/office/drawing/2014/main" id="{4865BAD4-8F60-514D-B6EF-A1387754C0F1}"/>
              </a:ext>
            </a:extLst>
          </p:cNvPr>
          <p:cNvGrpSpPr/>
          <p:nvPr/>
        </p:nvGrpSpPr>
        <p:grpSpPr>
          <a:xfrm>
            <a:off x="7267212" y="600219"/>
            <a:ext cx="440089" cy="888690"/>
            <a:chOff x="0" y="0"/>
            <a:chExt cx="878285" cy="1736507"/>
          </a:xfrm>
        </p:grpSpPr>
        <p:grpSp>
          <p:nvGrpSpPr>
            <p:cNvPr id="87" name="Group 729">
              <a:extLst>
                <a:ext uri="{FF2B5EF4-FFF2-40B4-BE49-F238E27FC236}">
                  <a16:creationId xmlns:a16="http://schemas.microsoft.com/office/drawing/2014/main" id="{E82D6B7E-9948-8940-AA4A-06EFB58FD986}"/>
                </a:ext>
              </a:extLst>
            </p:cNvPr>
            <p:cNvGrpSpPr/>
            <p:nvPr/>
          </p:nvGrpSpPr>
          <p:grpSpPr>
            <a:xfrm>
              <a:off x="0" y="-1"/>
              <a:ext cx="878286" cy="1736509"/>
              <a:chOff x="0" y="0"/>
              <a:chExt cx="878285" cy="1736507"/>
            </a:xfrm>
          </p:grpSpPr>
          <p:pic>
            <p:nvPicPr>
              <p:cNvPr id="90" name="image25.png">
                <a:extLst>
                  <a:ext uri="{FF2B5EF4-FFF2-40B4-BE49-F238E27FC236}">
                    <a16:creationId xmlns:a16="http://schemas.microsoft.com/office/drawing/2014/main" id="{79B743DD-4681-8F4F-8B41-824497FA305B}"/>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0" y="-1"/>
                <a:ext cx="878286" cy="1736509"/>
              </a:xfrm>
              <a:prstGeom prst="rect">
                <a:avLst/>
              </a:prstGeom>
              <a:ln w="12700" cap="flat">
                <a:noFill/>
                <a:miter lim="400000"/>
              </a:ln>
              <a:effectLst/>
            </p:spPr>
          </p:pic>
          <p:pic>
            <p:nvPicPr>
              <p:cNvPr id="91" name="image26.png">
                <a:extLst>
                  <a:ext uri="{FF2B5EF4-FFF2-40B4-BE49-F238E27FC236}">
                    <a16:creationId xmlns:a16="http://schemas.microsoft.com/office/drawing/2014/main" id="{017100DB-6289-A54B-BCB5-F2136D5A38A7}"/>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86036" y="209719"/>
                <a:ext cx="738325" cy="1317069"/>
              </a:xfrm>
              <a:prstGeom prst="rect">
                <a:avLst/>
              </a:prstGeom>
              <a:ln w="12700" cap="flat">
                <a:noFill/>
                <a:miter lim="400000"/>
              </a:ln>
              <a:effectLst/>
            </p:spPr>
          </p:pic>
        </p:grpSp>
        <p:pic>
          <p:nvPicPr>
            <p:cNvPr id="89" name="image35.jpeg">
              <a:extLst>
                <a:ext uri="{FF2B5EF4-FFF2-40B4-BE49-F238E27FC236}">
                  <a16:creationId xmlns:a16="http://schemas.microsoft.com/office/drawing/2014/main" id="{9B196CEA-C4F3-B34A-8B41-21118010881B}"/>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111852" y="214403"/>
              <a:ext cx="697623" cy="1312386"/>
            </a:xfrm>
            <a:prstGeom prst="rect">
              <a:avLst/>
            </a:prstGeom>
            <a:ln w="12700" cap="flat">
              <a:noFill/>
              <a:miter lim="400000"/>
            </a:ln>
            <a:effectLst/>
          </p:spPr>
        </p:pic>
      </p:grpSp>
      <p:sp>
        <p:nvSpPr>
          <p:cNvPr id="96" name="Text Box 5">
            <a:extLst>
              <a:ext uri="{FF2B5EF4-FFF2-40B4-BE49-F238E27FC236}">
                <a16:creationId xmlns:a16="http://schemas.microsoft.com/office/drawing/2014/main" id="{8BD7A0EF-4466-F44C-AEC7-D3E3BF488FCC}"/>
              </a:ext>
            </a:extLst>
          </p:cNvPr>
          <p:cNvSpPr txBox="1">
            <a:spLocks noChangeArrowheads="1"/>
          </p:cNvSpPr>
          <p:nvPr/>
        </p:nvSpPr>
        <p:spPr bwMode="auto">
          <a:xfrm>
            <a:off x="6273603" y="1459121"/>
            <a:ext cx="2331904" cy="369332"/>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9525" algn="ctr">
                <a:solidFill>
                  <a:schemeClr val="bg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spcBef>
                <a:spcPct val="20000"/>
              </a:spcBef>
              <a:buClr>
                <a:schemeClr val="tx1"/>
              </a:buClr>
              <a:buFont typeface="Wingdings" panose="05000000000000000000" pitchFamily="2" charset="2"/>
              <a:buChar char="§"/>
              <a:defRPr sz="2000">
                <a:solidFill>
                  <a:schemeClr val="tx1"/>
                </a:solidFill>
                <a:latin typeface="Arial" panose="020B0604020202020204" pitchFamily="34" charset="0"/>
                <a:cs typeface="Arial" panose="020B0604020202020204" pitchFamily="34" charset="0"/>
              </a:defRPr>
            </a:lvl1pPr>
            <a:lvl2pPr marL="742950" indent="-285750" eaLnBrk="0" hangingPunct="0">
              <a:spcBef>
                <a:spcPct val="20000"/>
              </a:spcBef>
              <a:buClr>
                <a:schemeClr val="tx1"/>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1430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3pPr>
            <a:lvl4pPr marL="16002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4pPr>
            <a:lvl5pPr marL="2057400" indent="-228600" eaLnBrk="0" hangingPunct="0">
              <a:spcBef>
                <a:spcPct val="20000"/>
              </a:spcBef>
              <a:buClr>
                <a:schemeClr val="tx1"/>
              </a:buCl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tx1"/>
              </a:buClr>
              <a:defRPr sz="16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 typeface="Wingdings" panose="05000000000000000000" pitchFamily="2" charset="2"/>
              <a:buNone/>
              <a:tabLst/>
              <a:defRPr/>
            </a:pPr>
            <a:r>
              <a:rPr kumimoji="0" lang="en-US" altLang="en-US" sz="1200" b="1" i="0" u="none" strike="noStrike" kern="1200" cap="none" spc="0" normalizeH="0" baseline="0" noProof="0" dirty="0">
                <a:ln>
                  <a:noFill/>
                </a:ln>
                <a:solidFill>
                  <a:srgbClr val="000000"/>
                </a:solidFill>
                <a:effectLst/>
                <a:uLnTx/>
                <a:uFillTx/>
                <a:latin typeface="IBM Plex Sans"/>
                <a:ea typeface="+mn-ea"/>
                <a:cs typeface="Arial" panose="020B0604020202020204" pitchFamily="34" charset="0"/>
              </a:rPr>
              <a:t>Supervisor / Employee  Notifications</a:t>
            </a:r>
          </a:p>
        </p:txBody>
      </p:sp>
      <p:sp>
        <p:nvSpPr>
          <p:cNvPr id="97" name="TextBox 96">
            <a:extLst>
              <a:ext uri="{FF2B5EF4-FFF2-40B4-BE49-F238E27FC236}">
                <a16:creationId xmlns:a16="http://schemas.microsoft.com/office/drawing/2014/main" id="{A5C95104-43C3-8A4F-920A-83404BA8989D}"/>
              </a:ext>
            </a:extLst>
          </p:cNvPr>
          <p:cNvSpPr txBox="1"/>
          <p:nvPr/>
        </p:nvSpPr>
        <p:spPr>
          <a:xfrm>
            <a:off x="724424" y="3032101"/>
            <a:ext cx="1240232" cy="369332"/>
          </a:xfrm>
          <a:prstGeom prst="rect">
            <a:avLst/>
          </a:prstGeom>
          <a:solidFill>
            <a:schemeClr val="bg2">
              <a:lumMod val="75000"/>
            </a:schemeClr>
          </a:solidFill>
          <a:ln w="12700">
            <a:solidFill>
              <a:schemeClr val="accent5">
                <a:lumMod val="75000"/>
              </a:schemeClr>
            </a:solidFill>
          </a:ln>
        </p:spPr>
        <p:txBody>
          <a:bodyPr wrap="square" rtlCol="0">
            <a:spAutoFit/>
          </a:bodyPr>
          <a:lstStyle>
            <a:defPPr>
              <a:defRPr lang="en-US"/>
            </a:defPPr>
            <a:lvl1pPr algn="ctr">
              <a:defRPr sz="1200">
                <a:latin typeface="IBM Plex Sans" charset="0"/>
                <a:ea typeface="IBM Plex Sans" charset="0"/>
                <a:cs typeface="IBM Plex Sans" charset="0"/>
              </a:defRPr>
            </a:lvl1pPr>
          </a:lstStyle>
          <a:p>
            <a:pPr defTabSz="457178"/>
            <a:r>
              <a:rPr lang="en-US" sz="900" dirty="0">
                <a:solidFill>
                  <a:srgbClr val="1E1E1E"/>
                </a:solidFill>
              </a:rPr>
              <a:t>Partner provide device integrations</a:t>
            </a:r>
          </a:p>
        </p:txBody>
      </p:sp>
      <p:sp>
        <p:nvSpPr>
          <p:cNvPr id="98" name="TextBox 97">
            <a:extLst>
              <a:ext uri="{FF2B5EF4-FFF2-40B4-BE49-F238E27FC236}">
                <a16:creationId xmlns:a16="http://schemas.microsoft.com/office/drawing/2014/main" id="{6C352AEE-A8AE-C549-818A-EA21ED0DAD89}"/>
              </a:ext>
            </a:extLst>
          </p:cNvPr>
          <p:cNvSpPr txBox="1"/>
          <p:nvPr/>
        </p:nvSpPr>
        <p:spPr>
          <a:xfrm>
            <a:off x="683995" y="763809"/>
            <a:ext cx="1240232" cy="369332"/>
          </a:xfrm>
          <a:prstGeom prst="rect">
            <a:avLst/>
          </a:prstGeom>
          <a:solidFill>
            <a:schemeClr val="bg2">
              <a:lumMod val="75000"/>
            </a:schemeClr>
          </a:solidFill>
          <a:ln w="12700">
            <a:solidFill>
              <a:schemeClr val="accent5">
                <a:lumMod val="75000"/>
              </a:schemeClr>
            </a:solidFill>
          </a:ln>
        </p:spPr>
        <p:txBody>
          <a:bodyPr wrap="square" rtlCol="0">
            <a:spAutoFit/>
          </a:bodyPr>
          <a:lstStyle>
            <a:defPPr>
              <a:defRPr lang="en-US"/>
            </a:defPPr>
            <a:lvl1pPr algn="ctr">
              <a:defRPr sz="1200">
                <a:latin typeface="IBM Plex Sans" charset="0"/>
                <a:ea typeface="IBM Plex Sans" charset="0"/>
                <a:cs typeface="IBM Plex Sans" charset="0"/>
              </a:defRPr>
            </a:lvl1pPr>
          </a:lstStyle>
          <a:p>
            <a:pPr defTabSz="457178"/>
            <a:r>
              <a:rPr lang="en-US" sz="900" dirty="0">
                <a:solidFill>
                  <a:srgbClr val="1E1E1E"/>
                </a:solidFill>
              </a:rPr>
              <a:t>IBM provided device integrations</a:t>
            </a:r>
          </a:p>
        </p:txBody>
      </p:sp>
      <p:sp>
        <p:nvSpPr>
          <p:cNvPr id="8" name="Up-Down Arrow 7">
            <a:extLst>
              <a:ext uri="{FF2B5EF4-FFF2-40B4-BE49-F238E27FC236}">
                <a16:creationId xmlns:a16="http://schemas.microsoft.com/office/drawing/2014/main" id="{2D56D005-B772-564B-88F3-E0B05117141C}"/>
              </a:ext>
            </a:extLst>
          </p:cNvPr>
          <p:cNvSpPr/>
          <p:nvPr/>
        </p:nvSpPr>
        <p:spPr>
          <a:xfrm>
            <a:off x="4329632" y="2808985"/>
            <a:ext cx="365463" cy="849298"/>
          </a:xfrm>
          <a:prstGeom prst="upDownArrow">
            <a:avLst/>
          </a:prstGeom>
          <a:solidFill>
            <a:schemeClr val="accent2">
              <a:lumMod val="60000"/>
              <a:lumOff val="40000"/>
            </a:schemeClr>
          </a:solidFill>
        </p:spPr>
        <p:txBody>
          <a:bodyPr wrap="square" lIns="0" tIns="0" rIns="0" bIns="0" rtlCol="0" anchor="ctr">
            <a:noAutofit/>
          </a:bodyPr>
          <a:lstStyle/>
          <a:p>
            <a:pPr algn="ctr"/>
            <a:endParaRPr lang="en-US" sz="1200" dirty="0" err="1">
              <a:solidFill>
                <a:srgbClr val="FFFFFF"/>
              </a:solidFill>
              <a:latin typeface="Arial"/>
              <a:cs typeface="Arial"/>
            </a:endParaRPr>
          </a:p>
        </p:txBody>
      </p:sp>
      <p:sp>
        <p:nvSpPr>
          <p:cNvPr id="92" name="Footer Placeholder 4">
            <a:extLst>
              <a:ext uri="{FF2B5EF4-FFF2-40B4-BE49-F238E27FC236}">
                <a16:creationId xmlns:a16="http://schemas.microsoft.com/office/drawing/2014/main" id="{E2D49DD3-9FAF-4146-9E33-F4B330294B3B}"/>
              </a:ext>
            </a:extLst>
          </p:cNvPr>
          <p:cNvSpPr txBox="1">
            <a:spLocks/>
          </p:cNvSpPr>
          <p:nvPr/>
        </p:nvSpPr>
        <p:spPr>
          <a:xfrm>
            <a:off x="77554" y="5029597"/>
            <a:ext cx="2838895" cy="126217"/>
          </a:xfrm>
          <a:prstGeom prst="rect">
            <a:avLst/>
          </a:prstGeom>
        </p:spPr>
        <p:txBody>
          <a:bodyPr vert="horz" lIns="0" tIns="0" rIns="0" bIns="0" rtlCol="0" anchor="ctr"/>
          <a:lstStyle>
            <a:defPPr>
              <a:defRPr lang="en-US"/>
            </a:defPPr>
            <a:lvl1pPr marL="0" algn="l"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IBM Plex Sans"/>
                <a:cs typeface="Arial" charset="0"/>
              </a:rPr>
              <a:t>IBM AI Analytics / © 2020 IBM Corporation</a:t>
            </a:r>
          </a:p>
        </p:txBody>
      </p:sp>
      <p:sp>
        <p:nvSpPr>
          <p:cNvPr id="93" name="Slide Number Placeholder 3">
            <a:extLst>
              <a:ext uri="{FF2B5EF4-FFF2-40B4-BE49-F238E27FC236}">
                <a16:creationId xmlns:a16="http://schemas.microsoft.com/office/drawing/2014/main" id="{2C7F98CB-4A16-4642-835D-E378349367C0}"/>
              </a:ext>
            </a:extLst>
          </p:cNvPr>
          <p:cNvSpPr txBox="1">
            <a:spLocks/>
          </p:cNvSpPr>
          <p:nvPr/>
        </p:nvSpPr>
        <p:spPr>
          <a:xfrm>
            <a:off x="7086145" y="4936461"/>
            <a:ext cx="2057400" cy="13716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685800">
              <a:defRPr/>
            </a:pPr>
            <a:fld id="{E48F2F6C-9276-564B-B378-09831B7ED050}" type="slidenum">
              <a:rPr lang="en-GB" sz="900" smtClean="0">
                <a:solidFill>
                  <a:srgbClr val="A5A5A5"/>
                </a:solidFill>
                <a:latin typeface="Calibri" panose="020F0502020204030204"/>
              </a:rPr>
              <a:pPr algn="r" defTabSz="685800">
                <a:defRPr/>
              </a:pPr>
              <a:t>18</a:t>
            </a:fld>
            <a:endParaRPr lang="en-GB" sz="900" dirty="0">
              <a:solidFill>
                <a:srgbClr val="A5A5A5"/>
              </a:solidFill>
              <a:latin typeface="Calibri" panose="020F0502020204030204"/>
            </a:endParaRPr>
          </a:p>
        </p:txBody>
      </p:sp>
    </p:spTree>
    <p:extLst>
      <p:ext uri="{BB962C8B-B14F-4D97-AF65-F5344CB8AC3E}">
        <p14:creationId xmlns:p14="http://schemas.microsoft.com/office/powerpoint/2010/main" val="27287578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43B0065-CD06-714F-A8F5-BBA13F8EB020}"/>
              </a:ext>
            </a:extLst>
          </p:cNvPr>
          <p:cNvSpPr/>
          <p:nvPr/>
        </p:nvSpPr>
        <p:spPr>
          <a:xfrm>
            <a:off x="0" y="0"/>
            <a:ext cx="4496304" cy="2050869"/>
          </a:xfrm>
          <a:prstGeom prst="rect">
            <a:avLst/>
          </a:prstGeom>
          <a:solidFill>
            <a:schemeClr val="tx1">
              <a:lumMod val="85000"/>
              <a:lumOff val="15000"/>
            </a:schemeClr>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2" name="TextBox 1">
            <a:extLst>
              <a:ext uri="{FF2B5EF4-FFF2-40B4-BE49-F238E27FC236}">
                <a16:creationId xmlns:a16="http://schemas.microsoft.com/office/drawing/2014/main" id="{4CCD0AD6-4A7E-4647-B18B-AE1BD98E3A95}"/>
              </a:ext>
            </a:extLst>
          </p:cNvPr>
          <p:cNvSpPr txBox="1"/>
          <p:nvPr/>
        </p:nvSpPr>
        <p:spPr>
          <a:xfrm>
            <a:off x="154305" y="310137"/>
            <a:ext cx="4187694" cy="1430593"/>
          </a:xfrm>
          <a:prstGeom prst="rect">
            <a:avLst/>
          </a:prstGeom>
        </p:spPr>
        <p:txBody>
          <a:bodyPr vert="horz" lIns="68580" tIns="34290" rIns="68580" bIns="34290" rtlCol="0" anchor="ctr">
            <a:normAutofit/>
          </a:bodyPr>
          <a:lstStyle/>
          <a:p>
            <a:pPr marL="0" marR="0" lvl="0" indent="0" algn="l" defTabSz="685800" rtl="0" eaLnBrk="1" fontAlgn="auto" latinLnBrk="0" hangingPunct="1">
              <a:lnSpc>
                <a:spcPct val="90000"/>
              </a:lnSpc>
              <a:spcBef>
                <a:spcPct val="0"/>
              </a:spcBef>
              <a:spcAft>
                <a:spcPts val="45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IBM Plex Sans"/>
                <a:ea typeface="+mn-ea"/>
                <a:cs typeface="Arial" charset="0"/>
              </a:rPr>
              <a:t>Upgrade</a:t>
            </a:r>
            <a:endParaRPr kumimoji="0" lang="en-US" sz="1800" b="0" i="0" u="none" strike="noStrike" kern="1200" cap="none" spc="0" normalizeH="0" baseline="0" noProof="0" dirty="0">
              <a:ln>
                <a:noFill/>
              </a:ln>
              <a:solidFill>
                <a:srgbClr val="FFFFFF"/>
              </a:solidFill>
              <a:effectLst/>
              <a:uLnTx/>
              <a:uFillTx/>
              <a:latin typeface="IBM Plex Sans"/>
              <a:ea typeface="+mn-ea"/>
              <a:cs typeface="Arial"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a:ea typeface="+mn-ea"/>
                <a:cs typeface="Arial" charset="0"/>
              </a:rPr>
              <a:t>Anywhere 7.6.2, 7.6.2.1, 7.6.3, 7.6.3.1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a:ea typeface="+mn-ea"/>
                <a:cs typeface="Arial" charset="0"/>
              </a:rPr>
              <a:t>your applications will migrate seamlessly if....</a:t>
            </a:r>
          </a:p>
        </p:txBody>
      </p:sp>
      <p:pic>
        <p:nvPicPr>
          <p:cNvPr id="3" name="Picture 2">
            <a:extLst>
              <a:ext uri="{FF2B5EF4-FFF2-40B4-BE49-F238E27FC236}">
                <a16:creationId xmlns:a16="http://schemas.microsoft.com/office/drawing/2014/main" id="{15412A38-078B-E544-8ACD-73FF1F4A3604}"/>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4496305" y="0"/>
            <a:ext cx="4647695" cy="5143499"/>
          </a:xfrm>
          <a:prstGeom prst="rect">
            <a:avLst/>
          </a:prstGeom>
        </p:spPr>
      </p:pic>
      <p:sp>
        <p:nvSpPr>
          <p:cNvPr id="30" name="Rectangle 29">
            <a:extLst>
              <a:ext uri="{FF2B5EF4-FFF2-40B4-BE49-F238E27FC236}">
                <a16:creationId xmlns:a16="http://schemas.microsoft.com/office/drawing/2014/main" id="{1709EA9D-3B34-BB4A-9E93-CCDD8BEB4611}"/>
              </a:ext>
            </a:extLst>
          </p:cNvPr>
          <p:cNvSpPr>
            <a:spLocks noChangeArrowheads="1"/>
          </p:cNvSpPr>
          <p:nvPr/>
        </p:nvSpPr>
        <p:spPr bwMode="auto">
          <a:xfrm>
            <a:off x="95083" y="2318328"/>
            <a:ext cx="4306137" cy="2825171"/>
          </a:xfrm>
          <a:prstGeom prst="rect">
            <a:avLst/>
          </a:prstGeom>
        </p:spPr>
        <p:txBody>
          <a:bodyPr vert="horz" lIns="68580" tIns="34290" rIns="68580" bIns="34290" rtlCol="0" anchor="ctr">
            <a:normAutofit fontScale="70000" lnSpcReduction="20000"/>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srgbClr val="000000"/>
                </a:solidFill>
                <a:effectLst/>
                <a:uLnTx/>
                <a:uFillTx/>
                <a:latin typeface="IBM Plex Sans"/>
                <a:ea typeface="ＭＳ Ｐゴシック" charset="-128"/>
                <a:cs typeface="Arial" charset="0"/>
              </a:rPr>
              <a:t>Utilized the delivered Anywhere applications </a:t>
            </a:r>
            <a:r>
              <a:rPr kumimoji="0" lang="en-US" sz="1900" b="1" i="0" u="none" strike="noStrike" kern="1200" cap="none" spc="0" normalizeH="0" baseline="0" noProof="0" dirty="0">
                <a:ln>
                  <a:noFill/>
                </a:ln>
                <a:solidFill>
                  <a:srgbClr val="000000"/>
                </a:solidFill>
                <a:effectLst/>
                <a:uLnTx/>
                <a:uFillTx/>
                <a:latin typeface="IBM Plex Sans"/>
                <a:ea typeface="ＭＳ Ｐゴシック" charset="-128"/>
                <a:cs typeface="Arial" charset="0"/>
              </a:rPr>
              <a:t>as is</a:t>
            </a:r>
          </a:p>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900" b="0" i="0" u="none" strike="noStrike" kern="1200" cap="none" spc="0" normalizeH="0" baseline="0" noProof="0" dirty="0">
              <a:ln>
                <a:noFill/>
              </a:ln>
              <a:solidFill>
                <a:srgbClr val="000000"/>
              </a:solidFill>
              <a:effectLst/>
              <a:uLnTx/>
              <a:uFillTx/>
              <a:latin typeface="IBM Plex Sans"/>
              <a:ea typeface="ＭＳ Ｐゴシック" charset="-128"/>
              <a:cs typeface="Arial" charset="0"/>
            </a:endParaRPr>
          </a:p>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00" b="1" i="0" u="none" strike="noStrike" kern="1200" cap="none" spc="0" normalizeH="0" baseline="0" noProof="0" dirty="0">
                <a:ln>
                  <a:noFill/>
                </a:ln>
                <a:solidFill>
                  <a:srgbClr val="000000"/>
                </a:solidFill>
                <a:effectLst/>
                <a:uLnTx/>
                <a:uFillTx/>
                <a:latin typeface="IBM Plex Sans"/>
                <a:ea typeface="ＭＳ Ｐゴシック" charset="-128"/>
                <a:cs typeface="Arial" charset="0"/>
              </a:rPr>
              <a:t>Configured</a:t>
            </a:r>
            <a:r>
              <a:rPr kumimoji="0" lang="en-US" sz="1900" b="0" i="0" u="none" strike="noStrike" kern="1200" cap="none" spc="0" normalizeH="0" baseline="0" noProof="0" dirty="0">
                <a:ln>
                  <a:noFill/>
                </a:ln>
                <a:solidFill>
                  <a:srgbClr val="000000"/>
                </a:solidFill>
                <a:effectLst/>
                <a:uLnTx/>
                <a:uFillTx/>
                <a:latin typeface="IBM Plex Sans"/>
                <a:ea typeface="ＭＳ Ｐゴシック" charset="-128"/>
                <a:cs typeface="Arial" charset="0"/>
              </a:rPr>
              <a:t> the Anywhere applications </a:t>
            </a:r>
            <a:r>
              <a:rPr kumimoji="0" lang="en-US" sz="1900" b="1" i="0" u="none" strike="noStrike" kern="1200" cap="none" spc="0" normalizeH="0" baseline="0" noProof="0" dirty="0">
                <a:ln>
                  <a:noFill/>
                </a:ln>
                <a:solidFill>
                  <a:srgbClr val="000000"/>
                </a:solidFill>
                <a:effectLst/>
                <a:uLnTx/>
                <a:uFillTx/>
                <a:latin typeface="IBM Plex Sans"/>
                <a:ea typeface="ＭＳ Ｐゴシック" charset="-128"/>
                <a:cs typeface="Arial" charset="0"/>
              </a:rPr>
              <a:t>following standard, best practices</a:t>
            </a:r>
          </a:p>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900" b="0" i="0" u="none" strike="noStrike" kern="1200" cap="none" spc="0" normalizeH="0" baseline="0" noProof="0" dirty="0">
              <a:ln>
                <a:noFill/>
              </a:ln>
              <a:solidFill>
                <a:srgbClr val="000000"/>
              </a:solidFill>
              <a:effectLst/>
              <a:uLnTx/>
              <a:uFillTx/>
              <a:latin typeface="IBM Plex Sans"/>
              <a:ea typeface="ＭＳ Ｐゴシック" charset="-128"/>
              <a:cs typeface="Arial" charset="0"/>
            </a:endParaRPr>
          </a:p>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00" b="1" i="0" u="none" strike="noStrike" kern="1200" cap="none" spc="0" normalizeH="0" baseline="0" noProof="0" dirty="0">
                <a:ln>
                  <a:noFill/>
                </a:ln>
                <a:solidFill>
                  <a:srgbClr val="000000"/>
                </a:solidFill>
                <a:effectLst/>
                <a:uLnTx/>
                <a:uFillTx/>
                <a:latin typeface="IBM Plex Sans"/>
                <a:ea typeface="ＭＳ Ｐゴシック" charset="-128"/>
                <a:cs typeface="Arial" charset="0"/>
              </a:rPr>
              <a:t>Customized</a:t>
            </a:r>
            <a:r>
              <a:rPr kumimoji="0" lang="en-US" sz="1900" b="0" i="0" u="none" strike="noStrike" kern="1200" cap="none" spc="0" normalizeH="0" baseline="0" noProof="0" dirty="0">
                <a:ln>
                  <a:noFill/>
                </a:ln>
                <a:solidFill>
                  <a:srgbClr val="000000"/>
                </a:solidFill>
                <a:effectLst/>
                <a:uLnTx/>
                <a:uFillTx/>
                <a:latin typeface="IBM Plex Sans"/>
                <a:ea typeface="ＭＳ Ｐゴシック" charset="-128"/>
                <a:cs typeface="Arial" charset="0"/>
              </a:rPr>
              <a:t> the Anywhere applications </a:t>
            </a:r>
            <a:r>
              <a:rPr kumimoji="0" lang="en-US" sz="1900" b="1" i="0" u="none" strike="noStrike" kern="1200" cap="none" spc="0" normalizeH="0" baseline="0" noProof="0" dirty="0">
                <a:ln>
                  <a:noFill/>
                </a:ln>
                <a:solidFill>
                  <a:srgbClr val="000000"/>
                </a:solidFill>
                <a:effectLst/>
                <a:uLnTx/>
                <a:uFillTx/>
                <a:latin typeface="IBM Plex Sans"/>
                <a:ea typeface="ＭＳ Ｐゴシック" charset="-128"/>
                <a:cs typeface="Arial" charset="0"/>
              </a:rPr>
              <a:t>following standard, best practices</a:t>
            </a:r>
          </a:p>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900" b="0" i="0" u="none" strike="noStrike" kern="1200" cap="none" spc="0" normalizeH="0" baseline="0" noProof="0" dirty="0">
              <a:ln>
                <a:noFill/>
              </a:ln>
              <a:solidFill>
                <a:srgbClr val="000000"/>
              </a:solidFill>
              <a:effectLst/>
              <a:uLnTx/>
              <a:uFillTx/>
              <a:latin typeface="IBM Plex Sans"/>
              <a:ea typeface="ＭＳ Ｐゴシック" charset="-128"/>
              <a:cs typeface="Arial" charset="0"/>
            </a:endParaRPr>
          </a:p>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00" b="1" i="0" u="none" strike="noStrike" kern="1200" cap="none" spc="0" normalizeH="0" baseline="0" noProof="0" dirty="0">
                <a:ln>
                  <a:noFill/>
                </a:ln>
                <a:solidFill>
                  <a:srgbClr val="000000"/>
                </a:solidFill>
                <a:effectLst/>
                <a:uLnTx/>
                <a:uFillTx/>
                <a:latin typeface="IBM Plex Sans"/>
                <a:ea typeface="ＭＳ Ｐゴシック" charset="-128"/>
                <a:cs typeface="Arial" charset="0"/>
              </a:rPr>
              <a:t>Cloned</a:t>
            </a:r>
            <a:r>
              <a:rPr kumimoji="0" lang="en-US" sz="1900" b="0" i="0" u="none" strike="noStrike" kern="1200" cap="none" spc="0" normalizeH="0" baseline="0" noProof="0" dirty="0">
                <a:ln>
                  <a:noFill/>
                </a:ln>
                <a:solidFill>
                  <a:srgbClr val="000000"/>
                </a:solidFill>
                <a:effectLst/>
                <a:uLnTx/>
                <a:uFillTx/>
                <a:latin typeface="IBM Plex Sans"/>
                <a:ea typeface="ＭＳ Ｐゴシック" charset="-128"/>
                <a:cs typeface="Arial" charset="0"/>
              </a:rPr>
              <a:t> an existing Anywhere application to create new application</a:t>
            </a:r>
          </a:p>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900" b="0" i="0" u="none" strike="noStrike" kern="1200" cap="none" spc="0" normalizeH="0" baseline="0" noProof="0" dirty="0">
              <a:ln>
                <a:noFill/>
              </a:ln>
              <a:solidFill>
                <a:srgbClr val="000000"/>
              </a:solidFill>
              <a:effectLst/>
              <a:uLnTx/>
              <a:uFillTx/>
              <a:latin typeface="IBM Plex Sans"/>
              <a:ea typeface="ＭＳ Ｐゴシック" charset="-128"/>
              <a:cs typeface="Arial" charset="0"/>
            </a:endParaRPr>
          </a:p>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srgbClr val="000000"/>
                </a:solidFill>
                <a:effectLst/>
                <a:uLnTx/>
                <a:uFillTx/>
                <a:latin typeface="IBM Plex Sans"/>
                <a:ea typeface="ＭＳ Ｐゴシック" charset="-128"/>
                <a:cs typeface="Arial" charset="0"/>
              </a:rPr>
              <a:t>Created a </a:t>
            </a:r>
            <a:r>
              <a:rPr kumimoji="0" lang="en-US" sz="1900" b="1" i="0" u="none" strike="noStrike" kern="1200" cap="none" spc="0" normalizeH="0" baseline="0" noProof="0" dirty="0">
                <a:ln>
                  <a:noFill/>
                </a:ln>
                <a:solidFill>
                  <a:srgbClr val="000000"/>
                </a:solidFill>
                <a:effectLst/>
                <a:uLnTx/>
                <a:uFillTx/>
                <a:latin typeface="IBM Plex Sans"/>
                <a:ea typeface="ＭＳ Ｐゴシック" charset="-128"/>
                <a:cs typeface="Arial" charset="0"/>
              </a:rPr>
              <a:t>new</a:t>
            </a:r>
            <a:r>
              <a:rPr kumimoji="0" lang="en-US" sz="1900" b="0" i="0" u="none" strike="noStrike" kern="1200" cap="none" spc="0" normalizeH="0" baseline="0" noProof="0" dirty="0">
                <a:ln>
                  <a:noFill/>
                </a:ln>
                <a:solidFill>
                  <a:srgbClr val="000000"/>
                </a:solidFill>
                <a:effectLst/>
                <a:uLnTx/>
                <a:uFillTx/>
                <a:latin typeface="IBM Plex Sans"/>
                <a:ea typeface="ＭＳ Ｐゴシック" charset="-128"/>
                <a:cs typeface="Arial" charset="0"/>
              </a:rPr>
              <a:t> Anywhere application </a:t>
            </a:r>
          </a:p>
          <a:p>
            <a:pPr marL="0" marR="0" lvl="0" indent="-171450" algn="l" defTabSz="685800" rtl="0" eaLnBrk="1" fontAlgn="auto" latinLnBrk="0" hangingPunct="1">
              <a:lnSpc>
                <a:spcPct val="90000"/>
              </a:lnSpc>
              <a:spcBef>
                <a:spcPct val="0"/>
              </a:spcBef>
              <a:spcAft>
                <a:spcPts val="450"/>
              </a:spcAft>
              <a:buClrTx/>
              <a:buSzTx/>
              <a:buFont typeface="Arial" panose="020B0604020202020204" pitchFamily="34" charset="0"/>
              <a:buChar char="•"/>
              <a:tabLst/>
              <a:defRPr/>
            </a:pPr>
            <a:endParaRPr kumimoji="0" lang="en-US" sz="3000" b="0" i="0" u="none" strike="noStrike" kern="1200" cap="none" spc="0" normalizeH="0" baseline="0" noProof="0" dirty="0">
              <a:ln>
                <a:noFill/>
              </a:ln>
              <a:solidFill>
                <a:srgbClr val="69A6FF">
                  <a:lumMod val="50000"/>
                </a:srgbClr>
              </a:solidFill>
              <a:effectLst/>
              <a:uLnTx/>
              <a:uFillTx/>
              <a:latin typeface="Avenir Book" panose="02000503020000020003" pitchFamily="2" charset="0"/>
              <a:ea typeface="ＭＳ Ｐゴシック" charset="-128"/>
              <a:cs typeface="+mn-cs"/>
            </a:endParaRPr>
          </a:p>
        </p:txBody>
      </p:sp>
    </p:spTree>
    <p:extLst>
      <p:ext uri="{BB962C8B-B14F-4D97-AF65-F5344CB8AC3E}">
        <p14:creationId xmlns:p14="http://schemas.microsoft.com/office/powerpoint/2010/main" val="1062497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DBDCD98-D06C-440C-AE7B-ED9C5668C5F0}"/>
              </a:ext>
            </a:extLst>
          </p:cNvPr>
          <p:cNvSpPr>
            <a:spLocks noGrp="1"/>
          </p:cNvSpPr>
          <p:nvPr>
            <p:ph type="subTitle" idx="1"/>
          </p:nvPr>
        </p:nvSpPr>
        <p:spPr>
          <a:xfrm>
            <a:off x="4782006" y="1558551"/>
            <a:ext cx="1591904" cy="584776"/>
          </a:xfrm>
        </p:spPr>
        <p:txBody>
          <a:bodyPr/>
          <a:lstStyle/>
          <a:p>
            <a:r>
              <a:rPr lang="en-US" sz="1400" dirty="0">
                <a:latin typeface="Default Sans Serif,Verdana,Arial,Helvetica,sans-serif"/>
              </a:rPr>
              <a:t>David </a:t>
            </a:r>
            <a:r>
              <a:rPr lang="en-US" sz="1400" dirty="0" err="1">
                <a:latin typeface="Default Sans Serif,Verdana,Arial,Helvetica,sans-serif"/>
              </a:rPr>
              <a:t>Gasdia</a:t>
            </a:r>
            <a:endParaRPr lang="en-US" sz="1400" dirty="0">
              <a:latin typeface="Default Sans Serif,Verdana,Arial,Helvetica,sans-serif"/>
            </a:endParaRPr>
          </a:p>
          <a:p>
            <a:r>
              <a:rPr lang="en-US" sz="1400" dirty="0">
                <a:latin typeface="Default Sans Serif,Verdana,Arial,Helvetica,sans-serif"/>
              </a:rPr>
              <a:t>Program Director</a:t>
            </a:r>
            <a:br>
              <a:rPr lang="en-US" sz="1400" dirty="0">
                <a:latin typeface="Default Sans Serif,Verdana,Arial,Helvetica,sans-serif"/>
              </a:rPr>
            </a:br>
            <a:endParaRPr lang="en-US" sz="1400" dirty="0"/>
          </a:p>
        </p:txBody>
      </p:sp>
      <p:sp>
        <p:nvSpPr>
          <p:cNvPr id="3" name="Title 2">
            <a:extLst>
              <a:ext uri="{FF2B5EF4-FFF2-40B4-BE49-F238E27FC236}">
                <a16:creationId xmlns:a16="http://schemas.microsoft.com/office/drawing/2014/main" id="{8EA3ACAF-9711-405C-83F4-DCF6C12005EE}"/>
              </a:ext>
            </a:extLst>
          </p:cNvPr>
          <p:cNvSpPr>
            <a:spLocks noGrp="1"/>
          </p:cNvSpPr>
          <p:nvPr>
            <p:ph type="title"/>
          </p:nvPr>
        </p:nvSpPr>
        <p:spPr>
          <a:xfrm>
            <a:off x="228600" y="173736"/>
            <a:ext cx="3678382" cy="1600200"/>
          </a:xfrm>
        </p:spPr>
        <p:txBody>
          <a:bodyPr/>
          <a:lstStyle/>
          <a:p>
            <a:r>
              <a:rPr lang="en-US" dirty="0">
                <a:latin typeface="Default Sans Serif,Verdana,Arial,Helvetica,sans-serif"/>
              </a:rPr>
              <a:t>A Roadmap for Maximo EAM – </a:t>
            </a:r>
            <a:br>
              <a:rPr lang="en-US" dirty="0">
                <a:latin typeface="Default Sans Serif,Verdana,Arial,Helvetica,sans-serif"/>
              </a:rPr>
            </a:br>
            <a:r>
              <a:rPr lang="en-US" sz="2000" i="1" dirty="0">
                <a:latin typeface="Default Sans Serif,Verdana,Arial,Helvetica,sans-serif"/>
              </a:rPr>
              <a:t>What's new in the latest 7.6 release and journey toward Maximo 8</a:t>
            </a:r>
            <a:br>
              <a:rPr lang="en-US" sz="2000" i="1" dirty="0">
                <a:latin typeface="Default Sans Serif,Verdana,Arial,Helvetica,sans-serif"/>
              </a:rPr>
            </a:br>
            <a:endParaRPr lang="en-US" sz="2000" i="1" dirty="0"/>
          </a:p>
        </p:txBody>
      </p:sp>
      <p:sp>
        <p:nvSpPr>
          <p:cNvPr id="4" name="Rectangle 3">
            <a:extLst>
              <a:ext uri="{FF2B5EF4-FFF2-40B4-BE49-F238E27FC236}">
                <a16:creationId xmlns:a16="http://schemas.microsoft.com/office/drawing/2014/main" id="{02CC9D37-D23E-4DE8-9667-66A2898A4618}"/>
              </a:ext>
            </a:extLst>
          </p:cNvPr>
          <p:cNvSpPr/>
          <p:nvPr/>
        </p:nvSpPr>
        <p:spPr>
          <a:xfrm>
            <a:off x="111460" y="2435715"/>
            <a:ext cx="8750508" cy="2677656"/>
          </a:xfrm>
          <a:prstGeom prst="rect">
            <a:avLst/>
          </a:prstGeom>
        </p:spPr>
        <p:txBody>
          <a:bodyPr wrap="square">
            <a:spAutoFit/>
          </a:bodyPr>
          <a:lstStyle/>
          <a:p>
            <a:r>
              <a:rPr lang="en-US" sz="1400" dirty="0">
                <a:latin typeface="Default Sans Serif,Verdana,Arial,Helvetica,sans-serif"/>
              </a:rPr>
              <a:t>Join us to learn about the newest features being delivered in Maximo EAM 7.6.1.2 being made available this week! </a:t>
            </a:r>
          </a:p>
          <a:p>
            <a:endParaRPr lang="en-US" sz="1400" dirty="0">
              <a:latin typeface="Default Sans Serif,Verdana,Arial,Helvetica,sans-serif"/>
            </a:endParaRPr>
          </a:p>
          <a:p>
            <a:r>
              <a:rPr lang="en-US" sz="1400" dirty="0">
                <a:latin typeface="Default Sans Serif,Verdana,Arial,Helvetica,sans-serif"/>
              </a:rPr>
              <a:t>There are many updates being delivered to improve the experience of Maximo end users including an optional new and improved drilldown navigation.   There are also many technical updates and new capabilities that respond directly to customer requested enhancements. </a:t>
            </a:r>
          </a:p>
          <a:p>
            <a:endParaRPr lang="en-US" sz="1400" dirty="0">
              <a:latin typeface="Default Sans Serif,Verdana,Arial,Helvetica,sans-serif"/>
            </a:endParaRPr>
          </a:p>
          <a:p>
            <a:r>
              <a:rPr lang="en-US" sz="1400" dirty="0">
                <a:latin typeface="Default Sans Serif,Verdana,Arial,Helvetica,sans-serif"/>
              </a:rPr>
              <a:t>We'll also talk about the introduction of the Maximo Application Suite (Maximo 8),  and provide insights on how the results of that journey will allow you to take advantage of the entire Maximo portfolio and ensure the success of your asset management investments for years to come.</a:t>
            </a:r>
            <a:br>
              <a:rPr lang="en-US" sz="1400" dirty="0">
                <a:latin typeface="Default Sans Serif,Verdana,Arial,Helvetica,sans-serif"/>
              </a:rPr>
            </a:br>
            <a:br>
              <a:rPr lang="en-US" sz="1400" dirty="0">
                <a:latin typeface="Default Sans Serif,Verdana,Arial,Helvetica,sans-serif"/>
              </a:rPr>
            </a:br>
            <a:br>
              <a:rPr lang="en-US" sz="1400" dirty="0">
                <a:latin typeface="Default Sans Serif,Verdana,Arial,Helvetica,sans-serif"/>
              </a:rPr>
            </a:br>
            <a:endParaRPr lang="en-US" sz="1400" dirty="0"/>
          </a:p>
        </p:txBody>
      </p:sp>
      <p:pic>
        <p:nvPicPr>
          <p:cNvPr id="7170" name="Picture 2">
            <a:extLst>
              <a:ext uri="{FF2B5EF4-FFF2-40B4-BE49-F238E27FC236}">
                <a16:creationId xmlns:a16="http://schemas.microsoft.com/office/drawing/2014/main" id="{23A59440-8A9E-47D4-9318-F4F336981C1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82006" y="145100"/>
            <a:ext cx="1298756" cy="1298756"/>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a:extLst>
              <a:ext uri="{FF2B5EF4-FFF2-40B4-BE49-F238E27FC236}">
                <a16:creationId xmlns:a16="http://schemas.microsoft.com/office/drawing/2014/main" id="{8B624A54-FFE5-4D14-84CC-BBF35C8220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05338" y="120916"/>
            <a:ext cx="1298756" cy="129875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81856AA6-3F11-4297-922A-C51CD660BF68}"/>
              </a:ext>
            </a:extLst>
          </p:cNvPr>
          <p:cNvSpPr/>
          <p:nvPr/>
        </p:nvSpPr>
        <p:spPr>
          <a:xfrm>
            <a:off x="6971065" y="1556506"/>
            <a:ext cx="1981953" cy="523220"/>
          </a:xfrm>
          <a:prstGeom prst="rect">
            <a:avLst/>
          </a:prstGeom>
        </p:spPr>
        <p:txBody>
          <a:bodyPr wrap="none">
            <a:spAutoFit/>
          </a:bodyPr>
          <a:lstStyle/>
          <a:p>
            <a:r>
              <a:rPr lang="en-US" sz="1400" dirty="0">
                <a:solidFill>
                  <a:srgbClr val="003BC9">
                    <a:lumMod val="60000"/>
                    <a:lumOff val="40000"/>
                  </a:srgbClr>
                </a:solidFill>
                <a:latin typeface="Default Sans Serif,Verdana,Arial,Helvetica,sans-serif"/>
              </a:rPr>
              <a:t>Kim Woodbury</a:t>
            </a:r>
          </a:p>
          <a:p>
            <a:r>
              <a:rPr lang="en-US" sz="1400" dirty="0">
                <a:solidFill>
                  <a:srgbClr val="003BC9">
                    <a:lumMod val="60000"/>
                    <a:lumOff val="40000"/>
                  </a:srgbClr>
                </a:solidFill>
                <a:latin typeface="Default Sans Serif,Verdana,Arial,Helvetica,sans-serif"/>
              </a:rPr>
              <a:t>Senior Offering Manager</a:t>
            </a:r>
            <a:endParaRPr lang="en-US" sz="1200" dirty="0"/>
          </a:p>
        </p:txBody>
      </p:sp>
      <p:sp>
        <p:nvSpPr>
          <p:cNvPr id="10" name="Subtitle 1">
            <a:extLst>
              <a:ext uri="{FF2B5EF4-FFF2-40B4-BE49-F238E27FC236}">
                <a16:creationId xmlns:a16="http://schemas.microsoft.com/office/drawing/2014/main" id="{318DDF8C-8FD3-49B2-B67C-6499C53A1049}"/>
              </a:ext>
            </a:extLst>
          </p:cNvPr>
          <p:cNvSpPr txBox="1">
            <a:spLocks/>
          </p:cNvSpPr>
          <p:nvPr/>
        </p:nvSpPr>
        <p:spPr>
          <a:xfrm>
            <a:off x="228600" y="2066323"/>
            <a:ext cx="2834640" cy="584775"/>
          </a:xfrm>
          <a:prstGeom prst="rect">
            <a:avLst/>
          </a:prstGeom>
        </p:spPr>
        <p:txBody>
          <a:bodyPr vert="horz" lIns="0" tIns="0" rIns="0" bIns="0" rtlCol="0">
            <a:noAutofit/>
          </a:bodyPr>
          <a:lstStyle>
            <a:lvl1pPr marL="0" indent="0" algn="l" defTabSz="457200" rtl="0" eaLnBrk="1" latinLnBrk="0" hangingPunct="1">
              <a:lnSpc>
                <a:spcPct val="100000"/>
              </a:lnSpc>
              <a:spcBef>
                <a:spcPts val="0"/>
              </a:spcBef>
              <a:buFont typeface="Arial"/>
              <a:buNone/>
              <a:defRPr sz="2000" b="0" i="0" kern="1200">
                <a:solidFill>
                  <a:schemeClr val="accent3">
                    <a:lumMod val="60000"/>
                    <a:lumOff val="40000"/>
                  </a:schemeClr>
                </a:solidFill>
                <a:latin typeface="IBM Plex Sans Regular" charset="0"/>
                <a:ea typeface="Arial" charset="0"/>
                <a:cs typeface="IBM Plex Sans Regular" charset="0"/>
              </a:defRPr>
            </a:lvl1pPr>
            <a:lvl2pPr marL="457200" indent="0" algn="ctr" defTabSz="457200" rtl="0" eaLnBrk="1" latinLnBrk="0" hangingPunct="1">
              <a:lnSpc>
                <a:spcPct val="100000"/>
              </a:lnSpc>
              <a:spcBef>
                <a:spcPts val="1100"/>
              </a:spcBef>
              <a:spcAft>
                <a:spcPts val="0"/>
              </a:spcAft>
              <a:buFont typeface="Arial"/>
              <a:buNone/>
              <a:defRPr sz="1400" kern="1200">
                <a:solidFill>
                  <a:schemeClr val="tx1">
                    <a:tint val="75000"/>
                  </a:schemeClr>
                </a:solidFill>
                <a:latin typeface="+mn-lt"/>
                <a:ea typeface="Arial" charset="0"/>
                <a:cs typeface="Arial" charset="0"/>
              </a:defRPr>
            </a:lvl2pPr>
            <a:lvl3pPr marL="914400" indent="0" algn="ctr" defTabSz="457200" rtl="0" eaLnBrk="1" latinLnBrk="0" hangingPunct="1">
              <a:lnSpc>
                <a:spcPct val="100000"/>
              </a:lnSpc>
              <a:spcBef>
                <a:spcPts val="1100"/>
              </a:spcBef>
              <a:spcAft>
                <a:spcPts val="0"/>
              </a:spcAft>
              <a:buFont typeface="Arial"/>
              <a:buNone/>
              <a:defRPr sz="1400" kern="1200">
                <a:solidFill>
                  <a:schemeClr val="tx1">
                    <a:tint val="75000"/>
                  </a:schemeClr>
                </a:solidFill>
                <a:latin typeface="+mn-lt"/>
                <a:ea typeface="Arial" charset="0"/>
                <a:cs typeface="Arial" charset="0"/>
              </a:defRPr>
            </a:lvl3pPr>
            <a:lvl4pPr marL="1371600" indent="0" algn="ctr" defTabSz="457200" rtl="0" eaLnBrk="1" latinLnBrk="0" hangingPunct="1">
              <a:lnSpc>
                <a:spcPct val="100000"/>
              </a:lnSpc>
              <a:spcBef>
                <a:spcPts val="1100"/>
              </a:spcBef>
              <a:spcAft>
                <a:spcPts val="0"/>
              </a:spcAft>
              <a:buFont typeface="Arial"/>
              <a:buNone/>
              <a:defRPr sz="1400" kern="1200">
                <a:solidFill>
                  <a:schemeClr val="tx1">
                    <a:tint val="75000"/>
                  </a:schemeClr>
                </a:solidFill>
                <a:latin typeface="+mn-lt"/>
                <a:ea typeface="Arial" charset="0"/>
                <a:cs typeface="Arial" charset="0"/>
              </a:defRPr>
            </a:lvl4pPr>
            <a:lvl5pPr marL="1828800" indent="0" algn="ctr" defTabSz="457200" rtl="0" eaLnBrk="1" latinLnBrk="0" hangingPunct="1">
              <a:lnSpc>
                <a:spcPct val="100000"/>
              </a:lnSpc>
              <a:spcBef>
                <a:spcPts val="1100"/>
              </a:spcBef>
              <a:spcAft>
                <a:spcPts val="0"/>
              </a:spcAft>
              <a:buFont typeface="Arial"/>
              <a:buNone/>
              <a:defRPr sz="1400" kern="1200">
                <a:solidFill>
                  <a:schemeClr val="tx1">
                    <a:tint val="75000"/>
                  </a:schemeClr>
                </a:solidFill>
                <a:latin typeface="+mn-lt"/>
                <a:ea typeface="Arial" charset="0"/>
                <a:cs typeface="Arial" charset="0"/>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dirty="0">
                <a:hlinkClick r:id="rId4"/>
              </a:rPr>
              <a:t>Register Now</a:t>
            </a:r>
            <a:endParaRPr lang="en-US" dirty="0"/>
          </a:p>
        </p:txBody>
      </p:sp>
      <p:sp>
        <p:nvSpPr>
          <p:cNvPr id="11" name="Rectangle 10">
            <a:extLst>
              <a:ext uri="{FF2B5EF4-FFF2-40B4-BE49-F238E27FC236}">
                <a16:creationId xmlns:a16="http://schemas.microsoft.com/office/drawing/2014/main" id="{C8D30FAC-398A-478C-9573-6B895F23692D}"/>
              </a:ext>
            </a:extLst>
          </p:cNvPr>
          <p:cNvSpPr/>
          <p:nvPr/>
        </p:nvSpPr>
        <p:spPr>
          <a:xfrm>
            <a:off x="111460" y="1461271"/>
            <a:ext cx="4572000" cy="792525"/>
          </a:xfrm>
          <a:prstGeom prst="rect">
            <a:avLst/>
          </a:prstGeom>
        </p:spPr>
        <p:txBody>
          <a:bodyPr>
            <a:spAutoFit/>
          </a:bodyPr>
          <a:lstStyle/>
          <a:p>
            <a:r>
              <a:rPr lang="en-US" sz="1600" b="1" dirty="0">
                <a:solidFill>
                  <a:srgbClr val="000000"/>
                </a:solidFill>
                <a:latin typeface="IBM Plex Sans" panose="020B0503050203000203" pitchFamily="34" charset="0"/>
              </a:rPr>
              <a:t>Date: Wednesday, July 22, 2020</a:t>
            </a:r>
            <a:br>
              <a:rPr lang="en-US" sz="1600" b="1" dirty="0">
                <a:solidFill>
                  <a:srgbClr val="000000"/>
                </a:solidFill>
                <a:latin typeface="IBM Plex Sans" panose="020B0503050203000203" pitchFamily="34" charset="0"/>
              </a:rPr>
            </a:br>
            <a:r>
              <a:rPr lang="en-US" sz="1600" b="1" dirty="0">
                <a:solidFill>
                  <a:srgbClr val="000000"/>
                </a:solidFill>
                <a:latin typeface="IBM Plex Sans" panose="020B0503050203000203" pitchFamily="34" charset="0"/>
              </a:rPr>
              <a:t>Time: 12:00 EDT</a:t>
            </a:r>
            <a:br>
              <a:rPr lang="en-US" sz="1600" b="1" u="sng" dirty="0">
                <a:solidFill>
                  <a:srgbClr val="0080FF"/>
                </a:solidFill>
                <a:latin typeface="IBM Plex Sans" panose="020B0503050203000203" pitchFamily="34" charset="0"/>
              </a:rPr>
            </a:br>
            <a:endParaRPr lang="en-US" sz="1400" b="1" dirty="0"/>
          </a:p>
        </p:txBody>
      </p:sp>
    </p:spTree>
    <p:extLst>
      <p:ext uri="{BB962C8B-B14F-4D97-AF65-F5344CB8AC3E}">
        <p14:creationId xmlns:p14="http://schemas.microsoft.com/office/powerpoint/2010/main" val="19693722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43B0065-CD06-714F-A8F5-BBA13F8EB020}"/>
              </a:ext>
            </a:extLst>
          </p:cNvPr>
          <p:cNvSpPr/>
          <p:nvPr/>
        </p:nvSpPr>
        <p:spPr>
          <a:xfrm>
            <a:off x="0" y="0"/>
            <a:ext cx="4496304" cy="2050869"/>
          </a:xfrm>
          <a:prstGeom prst="rect">
            <a:avLst/>
          </a:prstGeom>
          <a:solidFill>
            <a:schemeClr val="tx1">
              <a:lumMod val="85000"/>
              <a:lumOff val="15000"/>
            </a:schemeClr>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2" name="TextBox 1">
            <a:extLst>
              <a:ext uri="{FF2B5EF4-FFF2-40B4-BE49-F238E27FC236}">
                <a16:creationId xmlns:a16="http://schemas.microsoft.com/office/drawing/2014/main" id="{4CCD0AD6-4A7E-4647-B18B-AE1BD98E3A95}"/>
              </a:ext>
            </a:extLst>
          </p:cNvPr>
          <p:cNvSpPr txBox="1"/>
          <p:nvPr/>
        </p:nvSpPr>
        <p:spPr>
          <a:xfrm>
            <a:off x="154305" y="310137"/>
            <a:ext cx="4187694" cy="1430593"/>
          </a:xfrm>
          <a:prstGeom prst="rect">
            <a:avLst/>
          </a:prstGeom>
        </p:spPr>
        <p:txBody>
          <a:bodyPr vert="horz" lIns="68580" tIns="34290" rIns="68580" bIns="34290" rtlCol="0" anchor="ctr">
            <a:normAutofit fontScale="92500"/>
          </a:bodyPr>
          <a:lstStyle/>
          <a:p>
            <a:pPr marL="0" marR="0" lvl="0" indent="0" algn="l" defTabSz="685800" rtl="0" eaLnBrk="1" fontAlgn="auto" latinLnBrk="0" hangingPunct="1">
              <a:lnSpc>
                <a:spcPct val="90000"/>
              </a:lnSpc>
              <a:spcBef>
                <a:spcPct val="0"/>
              </a:spcBef>
              <a:spcAft>
                <a:spcPts val="450"/>
              </a:spcAft>
              <a:buClrTx/>
              <a:buSzTx/>
              <a:buFontTx/>
              <a:buNone/>
              <a:tabLst/>
              <a:defRPr/>
            </a:pPr>
            <a:r>
              <a:rPr kumimoji="0" lang="en-US" sz="3300" b="0" i="0" u="none" strike="noStrike" kern="1200" cap="none" spc="0" normalizeH="0" baseline="0" noProof="0" dirty="0">
                <a:ln>
                  <a:noFill/>
                </a:ln>
                <a:solidFill>
                  <a:srgbClr val="FFFFFF"/>
                </a:solidFill>
                <a:effectLst/>
                <a:uLnTx/>
                <a:uFillTx/>
                <a:latin typeface="IBM Plex Sans"/>
                <a:ea typeface="+mn-ea"/>
                <a:cs typeface="+mn-cs"/>
              </a:rPr>
              <a:t>Upgrade</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IBM Plex Sans"/>
                <a:ea typeface="+mn-ea"/>
                <a:cs typeface="Arial" charset="0"/>
              </a:rPr>
              <a:t>Anywhere 7.6.2, 7.6.2.1, 7.6.3, 7.6.3.1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srgbClr val="FFFFFF"/>
                </a:solidFill>
                <a:effectLst/>
                <a:uLnTx/>
                <a:uFillTx/>
                <a:latin typeface="IBM Plex Sans"/>
                <a:ea typeface="+mn-ea"/>
                <a:cs typeface="Arial" charset="0"/>
              </a:rPr>
              <a:t>your applications will </a:t>
            </a:r>
            <a:r>
              <a:rPr kumimoji="0" lang="en-US" sz="1900" b="1" i="0" u="none" strike="noStrike" kern="1200" cap="none" spc="0" normalizeH="0" baseline="0" noProof="0" dirty="0">
                <a:ln>
                  <a:noFill/>
                </a:ln>
                <a:solidFill>
                  <a:srgbClr val="FF0000"/>
                </a:solidFill>
                <a:effectLst/>
                <a:uLnTx/>
                <a:uFillTx/>
                <a:latin typeface="IBM Plex Sans"/>
                <a:ea typeface="+mn-ea"/>
                <a:cs typeface="Arial" charset="0"/>
              </a:rPr>
              <a:t>not</a:t>
            </a:r>
            <a:r>
              <a:rPr kumimoji="0" lang="en-US" sz="1900" b="0" i="0" u="none" strike="noStrike" kern="1200" cap="none" spc="0" normalizeH="0" baseline="0" noProof="0" dirty="0">
                <a:ln>
                  <a:noFill/>
                </a:ln>
                <a:solidFill>
                  <a:srgbClr val="FFFFFF"/>
                </a:solidFill>
                <a:effectLst/>
                <a:uLnTx/>
                <a:uFillTx/>
                <a:latin typeface="IBM Plex Sans"/>
                <a:ea typeface="+mn-ea"/>
                <a:cs typeface="Arial" charset="0"/>
              </a:rPr>
              <a:t> migrate seamlessly if....</a:t>
            </a:r>
          </a:p>
        </p:txBody>
      </p:sp>
      <p:sp>
        <p:nvSpPr>
          <p:cNvPr id="4" name="Rectangle 3">
            <a:extLst>
              <a:ext uri="{FF2B5EF4-FFF2-40B4-BE49-F238E27FC236}">
                <a16:creationId xmlns:a16="http://schemas.microsoft.com/office/drawing/2014/main" id="{5743085B-C6ED-C644-AEE2-C70E39DB245A}"/>
              </a:ext>
            </a:extLst>
          </p:cNvPr>
          <p:cNvSpPr>
            <a:spLocks noChangeArrowheads="1"/>
          </p:cNvSpPr>
          <p:nvPr/>
        </p:nvSpPr>
        <p:spPr bwMode="auto">
          <a:xfrm>
            <a:off x="154305" y="2330991"/>
            <a:ext cx="4187694" cy="2546363"/>
          </a:xfrm>
          <a:prstGeom prst="rect">
            <a:avLst/>
          </a:prstGeom>
        </p:spPr>
        <p:txBody>
          <a:bodyPr vert="horz" lIns="68580" tIns="34290" rIns="68580" bIns="34290" rtlCol="0" anchor="ctr">
            <a:normAutofit/>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IBM Plex Sans"/>
                <a:ea typeface="ＭＳ Ｐゴシック" charset="-128"/>
                <a:cs typeface="Arial" charset="0"/>
              </a:rPr>
              <a:t>Implemented specific Mobile First features to Anywhere application (ex.  Integration Adapters)</a:t>
            </a: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srgbClr val="000000"/>
              </a:solidFill>
              <a:effectLst/>
              <a:uLnTx/>
              <a:uFillTx/>
              <a:latin typeface="IBM Plex Sans"/>
              <a:ea typeface="ＭＳ Ｐゴシック" charset="-128"/>
              <a:cs typeface="Arial" charset="0"/>
            </a:endParaRP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IBM Plex Sans"/>
                <a:ea typeface="ＭＳ Ｐゴシック" charset="-128"/>
                <a:cs typeface="Arial" charset="0"/>
              </a:rPr>
              <a:t>Created a native code within Mobile First and applied to Anywhere application</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venir Book" panose="02000503020000020003" pitchFamily="2" charset="0"/>
              <a:ea typeface="Calibri" panose="020F0502020204030204" pitchFamily="34" charset="0"/>
              <a:cs typeface="Times New Roman" panose="02020603050405020304" pitchFamily="18"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69A6FF">
                  <a:lumMod val="50000"/>
                </a:srgbClr>
              </a:solidFill>
              <a:effectLst/>
              <a:uLnTx/>
              <a:uFillTx/>
              <a:latin typeface="Avenir Book" panose="02000503020000020003" pitchFamily="2" charset="0"/>
              <a:ea typeface="ＭＳ Ｐゴシック" charset="-128"/>
              <a:cs typeface="+mn-cs"/>
            </a:endParaRPr>
          </a:p>
        </p:txBody>
      </p:sp>
      <p:pic>
        <p:nvPicPr>
          <p:cNvPr id="7" name="Picture 6">
            <a:extLst>
              <a:ext uri="{FF2B5EF4-FFF2-40B4-BE49-F238E27FC236}">
                <a16:creationId xmlns:a16="http://schemas.microsoft.com/office/drawing/2014/main" id="{482C7297-17CF-4542-8439-0B824E0636D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96304" y="0"/>
            <a:ext cx="4639427" cy="5224007"/>
          </a:xfrm>
          <a:prstGeom prst="rect">
            <a:avLst/>
          </a:prstGeom>
        </p:spPr>
      </p:pic>
    </p:spTree>
    <p:extLst>
      <p:ext uri="{BB962C8B-B14F-4D97-AF65-F5344CB8AC3E}">
        <p14:creationId xmlns:p14="http://schemas.microsoft.com/office/powerpoint/2010/main" val="33960515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43B0065-CD06-714F-A8F5-BBA13F8EB020}"/>
              </a:ext>
            </a:extLst>
          </p:cNvPr>
          <p:cNvSpPr/>
          <p:nvPr/>
        </p:nvSpPr>
        <p:spPr>
          <a:xfrm>
            <a:off x="0" y="0"/>
            <a:ext cx="4496304" cy="2050869"/>
          </a:xfrm>
          <a:prstGeom prst="rect">
            <a:avLst/>
          </a:prstGeom>
          <a:solidFill>
            <a:schemeClr val="tx1">
              <a:lumMod val="85000"/>
              <a:lumOff val="15000"/>
            </a:schemeClr>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2" name="TextBox 1">
            <a:extLst>
              <a:ext uri="{FF2B5EF4-FFF2-40B4-BE49-F238E27FC236}">
                <a16:creationId xmlns:a16="http://schemas.microsoft.com/office/drawing/2014/main" id="{4CCD0AD6-4A7E-4647-B18B-AE1BD98E3A95}"/>
              </a:ext>
            </a:extLst>
          </p:cNvPr>
          <p:cNvSpPr txBox="1"/>
          <p:nvPr/>
        </p:nvSpPr>
        <p:spPr>
          <a:xfrm>
            <a:off x="154305" y="310137"/>
            <a:ext cx="4187694" cy="1430593"/>
          </a:xfrm>
          <a:prstGeom prst="rect">
            <a:avLst/>
          </a:prstGeom>
        </p:spPr>
        <p:txBody>
          <a:bodyPr vert="horz" lIns="68580" tIns="34290" rIns="68580" bIns="34290" rtlCol="0" anchor="ctr">
            <a:normAutofit/>
          </a:bodyPr>
          <a:lstStyle/>
          <a:p>
            <a:pPr marL="0" marR="0" lvl="0" indent="0" algn="l" defTabSz="685800" rtl="0" eaLnBrk="1" fontAlgn="auto" latinLnBrk="0" hangingPunct="1">
              <a:lnSpc>
                <a:spcPct val="90000"/>
              </a:lnSpc>
              <a:spcBef>
                <a:spcPct val="0"/>
              </a:spcBef>
              <a:spcAft>
                <a:spcPts val="450"/>
              </a:spcAft>
              <a:buClrTx/>
              <a:buSzTx/>
              <a:buFontTx/>
              <a:buNone/>
              <a:tabLst/>
              <a:defRPr/>
            </a:pPr>
            <a:r>
              <a:rPr kumimoji="0" lang="en-US" sz="3300" b="0" i="0" u="none" strike="noStrike" kern="1200" cap="none" spc="0" normalizeH="0" baseline="0" noProof="0" dirty="0">
                <a:ln>
                  <a:noFill/>
                </a:ln>
                <a:solidFill>
                  <a:srgbClr val="FFFFFF"/>
                </a:solidFill>
                <a:effectLst/>
                <a:uLnTx/>
                <a:uFillTx/>
                <a:latin typeface="IBM Plex Sans"/>
                <a:ea typeface="+mn-ea"/>
                <a:cs typeface="+mn-cs"/>
              </a:rPr>
              <a:t>Upgrade</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BM Plex Sans"/>
                <a:ea typeface="+mn-ea"/>
                <a:cs typeface="Arial" charset="0"/>
              </a:rPr>
              <a:t>Minimum Maximo Version</a:t>
            </a:r>
          </a:p>
        </p:txBody>
      </p:sp>
      <p:sp>
        <p:nvSpPr>
          <p:cNvPr id="6" name="Rectangle 5">
            <a:extLst>
              <a:ext uri="{FF2B5EF4-FFF2-40B4-BE49-F238E27FC236}">
                <a16:creationId xmlns:a16="http://schemas.microsoft.com/office/drawing/2014/main" id="{80BBC346-DD83-584E-B0DF-BD8A70783206}"/>
              </a:ext>
            </a:extLst>
          </p:cNvPr>
          <p:cNvSpPr>
            <a:spLocks noChangeArrowheads="1"/>
          </p:cNvSpPr>
          <p:nvPr/>
        </p:nvSpPr>
        <p:spPr bwMode="auto">
          <a:xfrm>
            <a:off x="86548" y="2571749"/>
            <a:ext cx="4175352" cy="2546363"/>
          </a:xfrm>
          <a:prstGeom prst="rect">
            <a:avLst/>
          </a:prstGeom>
        </p:spPr>
        <p:txBody>
          <a:bodyPr vert="horz" lIns="68580" tIns="34290" rIns="68580" bIns="34290" rtlCol="0" anchor="ctr">
            <a:normAutofit/>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marL="342900" marR="0" lvl="0" indent="-34290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IBM Plex Sans"/>
                <a:ea typeface="ＭＳ Ｐゴシック" charset="-128"/>
                <a:cs typeface="Arial" charset="0"/>
              </a:rPr>
              <a:t>Minimum Maximo Version is 7.6.0.8</a:t>
            </a:r>
          </a:p>
          <a:p>
            <a:pPr marL="342900" marR="0" lvl="0" indent="-34290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srgbClr val="000000"/>
              </a:solidFill>
              <a:effectLst/>
              <a:uLnTx/>
              <a:uFillTx/>
              <a:latin typeface="IBM Plex Sans"/>
              <a:ea typeface="ＭＳ Ｐゴシック" charset="-128"/>
              <a:cs typeface="Arial" charset="0"/>
            </a:endParaRP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IBM Plex Sans"/>
                <a:ea typeface="ＭＳ Ｐゴシック" charset="-128"/>
                <a:cs typeface="Arial" charset="0"/>
              </a:rPr>
              <a:t>If you are using push notifications, best practice is to be on Maximo 7.6.0.10 </a:t>
            </a: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srgbClr val="000000"/>
              </a:solidFill>
              <a:effectLst/>
              <a:uLnTx/>
              <a:uFillTx/>
              <a:latin typeface="IBM Plex Sans"/>
              <a:ea typeface="ＭＳ Ｐゴシック" charset="-128"/>
              <a:cs typeface="Arial" charset="0"/>
            </a:endParaRP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IBM Plex Sans"/>
                <a:ea typeface="ＭＳ Ｐゴシック" charset="-128"/>
                <a:cs typeface="Arial" charset="0"/>
              </a:rPr>
              <a:t>Additionally, for push notifications, a separate iFix install to enable the Push notification application is required until Maximo 7.6.1.2</a:t>
            </a: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srgbClr val="000000"/>
              </a:solidFill>
              <a:effectLst/>
              <a:uLnTx/>
              <a:uFillTx/>
              <a:latin typeface="IBM Plex Sans"/>
              <a:ea typeface="ＭＳ Ｐゴシック" charset="-128"/>
              <a:cs typeface="Arial" charset="0"/>
            </a:endParaRPr>
          </a:p>
          <a:p>
            <a:pPr marL="0" marR="0" lvl="0" indent="-171450" algn="l" defTabSz="685800" rtl="0" eaLnBrk="1" fontAlgn="auto" latinLnBrk="0" hangingPunct="1">
              <a:lnSpc>
                <a:spcPct val="90000"/>
              </a:lnSpc>
              <a:spcBef>
                <a:spcPct val="0"/>
              </a:spcBef>
              <a:spcAft>
                <a:spcPts val="450"/>
              </a:spcAft>
              <a:buClrTx/>
              <a:buSzTx/>
              <a:buFont typeface="Arial" panose="020B0604020202020204" pitchFamily="34" charset="0"/>
              <a:buChar char="•"/>
              <a:tabLst/>
              <a:defRPr/>
            </a:pPr>
            <a:endParaRPr kumimoji="0" lang="en-US" sz="3000" b="0" i="0" u="none" strike="noStrike" kern="1200" cap="none" spc="0" normalizeH="0" baseline="0" noProof="0" dirty="0">
              <a:ln>
                <a:noFill/>
              </a:ln>
              <a:solidFill>
                <a:srgbClr val="69A6FF">
                  <a:lumMod val="50000"/>
                </a:srgbClr>
              </a:solidFill>
              <a:effectLst/>
              <a:uLnTx/>
              <a:uFillTx/>
              <a:latin typeface="Avenir Book" panose="02000503020000020003" pitchFamily="2" charset="0"/>
              <a:ea typeface="ＭＳ Ｐゴシック" charset="-128"/>
              <a:cs typeface="+mn-cs"/>
            </a:endParaRPr>
          </a:p>
        </p:txBody>
      </p:sp>
      <p:pic>
        <p:nvPicPr>
          <p:cNvPr id="8" name="Picture 7" descr="Two people sitting at a table using a computer&#10;&#10;Description automatically generated">
            <a:extLst>
              <a:ext uri="{FF2B5EF4-FFF2-40B4-BE49-F238E27FC236}">
                <a16:creationId xmlns:a16="http://schemas.microsoft.com/office/drawing/2014/main" id="{A7128814-C883-E04D-AF42-6A223EBFD2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96304" y="-25388"/>
            <a:ext cx="4888141" cy="5143500"/>
          </a:xfrm>
          <a:prstGeom prst="rect">
            <a:avLst/>
          </a:prstGeom>
        </p:spPr>
      </p:pic>
    </p:spTree>
    <p:extLst>
      <p:ext uri="{BB962C8B-B14F-4D97-AF65-F5344CB8AC3E}">
        <p14:creationId xmlns:p14="http://schemas.microsoft.com/office/powerpoint/2010/main" val="16947209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
            <a:extLst>
              <a:ext uri="{FF2B5EF4-FFF2-40B4-BE49-F238E27FC236}">
                <a16:creationId xmlns:a16="http://schemas.microsoft.com/office/drawing/2014/main" id="{A6388727-C229-4696-856B-715A2BBFA314}"/>
              </a:ext>
            </a:extLst>
          </p:cNvPr>
          <p:cNvSpPr txBox="1">
            <a:spLocks/>
          </p:cNvSpPr>
          <p:nvPr/>
        </p:nvSpPr>
        <p:spPr>
          <a:xfrm>
            <a:off x="0" y="1290638"/>
            <a:ext cx="3048000" cy="3852862"/>
          </a:xfrm>
          <a:prstGeom prst="rect">
            <a:avLst/>
          </a:prstGeom>
          <a:solidFill>
            <a:schemeClr val="accent2"/>
          </a:solidFill>
        </p:spPr>
        <p:txBody>
          <a:bodyPr vert="horz" lIns="228600" tIns="192024" rIns="228600" bIns="228600" rtlCol="0" anchor="ctr" anchorCtr="0">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1100"/>
              </a:spcBef>
              <a:spcAft>
                <a:spcPts val="0"/>
              </a:spcAft>
              <a:buClrTx/>
              <a:buSzTx/>
              <a:buFont typeface="Arial"/>
              <a:buNone/>
              <a:tabLst/>
              <a:defRPr/>
            </a:pPr>
            <a:endParaRPr kumimoji="0" lang="en-US" sz="1400" b="0" i="0" u="none" strike="noStrike" kern="1200" cap="none" spc="0" normalizeH="0" baseline="0" noProof="0" dirty="0">
              <a:ln>
                <a:noFill/>
              </a:ln>
              <a:solidFill>
                <a:srgbClr val="FFFFFF"/>
              </a:solidFill>
              <a:effectLst/>
              <a:uLnTx/>
              <a:uFillTx/>
              <a:latin typeface="IBM Plex Sans"/>
              <a:cs typeface="Arial" charset="0"/>
            </a:endParaRPr>
          </a:p>
        </p:txBody>
      </p:sp>
      <p:sp>
        <p:nvSpPr>
          <p:cNvPr id="16" name="Content Placeholder 1">
            <a:extLst>
              <a:ext uri="{FF2B5EF4-FFF2-40B4-BE49-F238E27FC236}">
                <a16:creationId xmlns:a16="http://schemas.microsoft.com/office/drawing/2014/main" id="{DEBCEB1E-C953-4429-8D0B-D18AD0E11A43}"/>
              </a:ext>
            </a:extLst>
          </p:cNvPr>
          <p:cNvSpPr txBox="1">
            <a:spLocks/>
          </p:cNvSpPr>
          <p:nvPr/>
        </p:nvSpPr>
        <p:spPr>
          <a:xfrm>
            <a:off x="3048000" y="1290638"/>
            <a:ext cx="3048000" cy="3852862"/>
          </a:xfrm>
          <a:prstGeom prst="rect">
            <a:avLst/>
          </a:prstGeom>
          <a:solidFill>
            <a:schemeClr val="accent3"/>
          </a:solidFill>
        </p:spPr>
        <p:txBody>
          <a:bodyPr vert="horz" lIns="228600" tIns="192024" rIns="228600" bIns="228600" rtlCol="0" anchor="ctr" anchorCtr="0">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1100"/>
              </a:spcBef>
              <a:spcAft>
                <a:spcPts val="0"/>
              </a:spcAft>
              <a:buClrTx/>
              <a:buSzTx/>
              <a:buFont typeface="Arial"/>
              <a:buNone/>
              <a:tabLst/>
              <a:defRPr/>
            </a:pPr>
            <a:endParaRPr kumimoji="0" lang="en-US" sz="1400" b="0" i="0" u="none" strike="noStrike" kern="1200" cap="none" spc="0" normalizeH="0" baseline="0" noProof="0" dirty="0">
              <a:ln>
                <a:noFill/>
              </a:ln>
              <a:solidFill>
                <a:srgbClr val="FFFFFF"/>
              </a:solidFill>
              <a:effectLst/>
              <a:uLnTx/>
              <a:uFillTx/>
              <a:latin typeface="IBM Plex Sans"/>
              <a:cs typeface="Arial" charset="0"/>
            </a:endParaRPr>
          </a:p>
        </p:txBody>
      </p:sp>
      <p:sp>
        <p:nvSpPr>
          <p:cNvPr id="17" name="Content Placeholder 1">
            <a:extLst>
              <a:ext uri="{FF2B5EF4-FFF2-40B4-BE49-F238E27FC236}">
                <a16:creationId xmlns:a16="http://schemas.microsoft.com/office/drawing/2014/main" id="{55B4D42F-78A5-4BB1-A575-3C39E2C53085}"/>
              </a:ext>
            </a:extLst>
          </p:cNvPr>
          <p:cNvSpPr txBox="1">
            <a:spLocks/>
          </p:cNvSpPr>
          <p:nvPr/>
        </p:nvSpPr>
        <p:spPr>
          <a:xfrm>
            <a:off x="6096000" y="1290638"/>
            <a:ext cx="3048000" cy="3852862"/>
          </a:xfrm>
          <a:prstGeom prst="rect">
            <a:avLst/>
          </a:prstGeom>
          <a:solidFill>
            <a:schemeClr val="accent1"/>
          </a:solidFill>
        </p:spPr>
        <p:txBody>
          <a:bodyPr vert="horz" lIns="228600" tIns="192024" rIns="228600" bIns="228600" rtlCol="0" anchor="ctr" anchorCtr="0">
            <a:noAutofit/>
          </a:bodyPr>
          <a:lstStyle>
            <a:lvl1pPr marL="0" indent="0" algn="l" defTabSz="457200" rtl="0" eaLnBrk="1" latinLnBrk="0" hangingPunct="1">
              <a:lnSpc>
                <a:spcPct val="100000"/>
              </a:lnSpc>
              <a:spcBef>
                <a:spcPts val="1100"/>
              </a:spcBef>
              <a:buFont typeface="Arial"/>
              <a:buNone/>
              <a:defRPr sz="1400" kern="1200">
                <a:solidFill>
                  <a:schemeClr val="bg2"/>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1100"/>
              </a:spcBef>
              <a:spcAft>
                <a:spcPts val="0"/>
              </a:spcAft>
              <a:buClrTx/>
              <a:buSzTx/>
              <a:buFont typeface="Arial"/>
              <a:buNone/>
              <a:tabLst/>
              <a:defRPr/>
            </a:pPr>
            <a:endParaRPr kumimoji="0" lang="en-US" sz="1400" b="0" i="0" u="none" strike="noStrike" kern="1200" cap="none" spc="0" normalizeH="0" baseline="0" noProof="0" dirty="0">
              <a:ln>
                <a:noFill/>
              </a:ln>
              <a:solidFill>
                <a:srgbClr val="FFFFFF"/>
              </a:solidFill>
              <a:effectLst/>
              <a:uLnTx/>
              <a:uFillTx/>
              <a:latin typeface="IBM Plex Sans"/>
              <a:cs typeface="Arial" charset="0"/>
            </a:endParaRPr>
          </a:p>
        </p:txBody>
      </p:sp>
      <p:sp>
        <p:nvSpPr>
          <p:cNvPr id="3" name="Slide Number Placeholder 2">
            <a:extLst>
              <a:ext uri="{FF2B5EF4-FFF2-40B4-BE49-F238E27FC236}">
                <a16:creationId xmlns:a16="http://schemas.microsoft.com/office/drawing/2014/main" id="{6724320C-35B5-984C-ABD8-251C1C3D947D}"/>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0BE6F14-FF48-0F4F-A8AA-2E3F25371E4A}" type="slidenum">
              <a:rPr kumimoji="0" lang="en-US" sz="600" b="0" i="0" u="none" strike="noStrike" kern="1200" cap="none" spc="0" normalizeH="0" baseline="0" noProof="0" smtClean="0">
                <a:ln>
                  <a:noFill/>
                </a:ln>
                <a:solidFill>
                  <a:srgbClr val="EAEAEA"/>
                </a:solidFill>
                <a:effectLst/>
                <a:uLnTx/>
                <a:uFillTx/>
                <a:latin typeface="IBM Plex Sans"/>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en-US" sz="600" b="0" i="0" u="none" strike="noStrike" kern="1200" cap="none" spc="0" normalizeH="0" baseline="0" noProof="0">
              <a:ln>
                <a:noFill/>
              </a:ln>
              <a:solidFill>
                <a:srgbClr val="EAEAEA"/>
              </a:solidFill>
              <a:effectLst/>
              <a:uLnTx/>
              <a:uFillTx/>
              <a:latin typeface="IBM Plex Sans"/>
              <a:cs typeface="Arial" charset="0"/>
            </a:endParaRPr>
          </a:p>
        </p:txBody>
      </p:sp>
      <p:sp>
        <p:nvSpPr>
          <p:cNvPr id="7" name="Footer Placeholder 6">
            <a:extLst>
              <a:ext uri="{FF2B5EF4-FFF2-40B4-BE49-F238E27FC236}">
                <a16:creationId xmlns:a16="http://schemas.microsoft.com/office/drawing/2014/main" id="{F7F3FD1D-4CC5-A942-9468-B837A39962E7}"/>
              </a:ext>
            </a:extLst>
          </p:cNvPr>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pt-BR" sz="600" b="0" i="0" u="none" strike="noStrike" kern="1200" cap="none" spc="0" normalizeH="0" baseline="0" noProof="0" dirty="0">
                <a:ln>
                  <a:noFill/>
                </a:ln>
                <a:solidFill>
                  <a:srgbClr val="EAEAEA"/>
                </a:solidFill>
                <a:effectLst/>
                <a:uLnTx/>
                <a:uFillTx/>
                <a:latin typeface="IBM Plex Sans"/>
                <a:cs typeface="Arial" charset="0"/>
              </a:rPr>
              <a:t>IBM Maximo / © 2020 IBM Corporation</a:t>
            </a:r>
            <a:endParaRPr kumimoji="0" lang="en-US" sz="600" b="0" i="0" u="none" strike="noStrike" kern="1200" cap="none" spc="0" normalizeH="0" baseline="0" noProof="0" dirty="0">
              <a:ln>
                <a:noFill/>
              </a:ln>
              <a:solidFill>
                <a:srgbClr val="EAEAEA"/>
              </a:solidFill>
              <a:effectLst/>
              <a:uLnTx/>
              <a:uFillTx/>
              <a:latin typeface="IBM Plex Sans"/>
              <a:cs typeface="Arial" charset="0"/>
            </a:endParaRPr>
          </a:p>
        </p:txBody>
      </p:sp>
      <p:sp>
        <p:nvSpPr>
          <p:cNvPr id="8" name="Title 7">
            <a:extLst>
              <a:ext uri="{FF2B5EF4-FFF2-40B4-BE49-F238E27FC236}">
                <a16:creationId xmlns:a16="http://schemas.microsoft.com/office/drawing/2014/main" id="{07153337-C97B-B34B-A961-44200B124C97}"/>
              </a:ext>
            </a:extLst>
          </p:cNvPr>
          <p:cNvSpPr>
            <a:spLocks noGrp="1"/>
          </p:cNvSpPr>
          <p:nvPr>
            <p:ph type="title"/>
          </p:nvPr>
        </p:nvSpPr>
        <p:spPr>
          <a:xfrm>
            <a:off x="228600" y="201168"/>
            <a:ext cx="6400800" cy="959358"/>
          </a:xfrm>
        </p:spPr>
        <p:txBody>
          <a:bodyPr/>
          <a:lstStyle/>
          <a:p>
            <a:r>
              <a:rPr lang="en-US" dirty="0"/>
              <a:t>Maximo Anywhere 7.6.4 details </a:t>
            </a:r>
          </a:p>
        </p:txBody>
      </p:sp>
      <p:sp>
        <p:nvSpPr>
          <p:cNvPr id="19" name="Rectangle 18">
            <a:extLst>
              <a:ext uri="{FF2B5EF4-FFF2-40B4-BE49-F238E27FC236}">
                <a16:creationId xmlns:a16="http://schemas.microsoft.com/office/drawing/2014/main" id="{0562D996-661E-4E6D-BBC3-CF0C5B91ECA6}"/>
              </a:ext>
            </a:extLst>
          </p:cNvPr>
          <p:cNvSpPr/>
          <p:nvPr/>
        </p:nvSpPr>
        <p:spPr>
          <a:xfrm>
            <a:off x="228600" y="3024664"/>
            <a:ext cx="2590800" cy="246221"/>
          </a:xfrm>
          <a:prstGeom prst="rect">
            <a:avLst/>
          </a:prstGeom>
        </p:spPr>
        <p:txBody>
          <a:bodyPr wrap="square" lIns="0" tIns="0" rIns="0" bIns="0" anchor="t">
            <a:spAutoFit/>
          </a:bodyPr>
          <a:lstStyle/>
          <a:p>
            <a:pPr marL="0" marR="0" lvl="0" indent="0" algn="l" defTabSz="685800" rtl="0" eaLnBrk="1" fontAlgn="base"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dirty="0">
                <a:ln>
                  <a:noFill/>
                </a:ln>
                <a:solidFill>
                  <a:srgbClr val="EAEAEA"/>
                </a:solidFill>
                <a:effectLst/>
                <a:uLnTx/>
                <a:uFillTx/>
                <a:latin typeface="IBM Plex Sans"/>
                <a:ea typeface="IBM Plex Sans" charset="0"/>
                <a:cs typeface="IBM Plex Sans" charset="0"/>
              </a:rPr>
              <a:t>Architecture</a:t>
            </a:r>
          </a:p>
        </p:txBody>
      </p:sp>
      <p:sp>
        <p:nvSpPr>
          <p:cNvPr id="25" name="Rectangle 24">
            <a:extLst>
              <a:ext uri="{FF2B5EF4-FFF2-40B4-BE49-F238E27FC236}">
                <a16:creationId xmlns:a16="http://schemas.microsoft.com/office/drawing/2014/main" id="{E6715FBB-5C6C-47BE-902C-F1D5D6C8B7A1}"/>
              </a:ext>
            </a:extLst>
          </p:cNvPr>
          <p:cNvSpPr/>
          <p:nvPr/>
        </p:nvSpPr>
        <p:spPr>
          <a:xfrm>
            <a:off x="3276600" y="3024664"/>
            <a:ext cx="2590800" cy="492443"/>
          </a:xfrm>
          <a:prstGeom prst="rect">
            <a:avLst/>
          </a:prstGeom>
        </p:spPr>
        <p:txBody>
          <a:bodyPr wrap="square" lIns="0" tIns="0" rIns="0" bIns="0" anchor="t">
            <a:spAutoFit/>
          </a:bodyPr>
          <a:lstStyle/>
          <a:p>
            <a:pPr marL="0" marR="0" lvl="0" indent="0" algn="l" defTabSz="685800" rtl="0" eaLnBrk="1" fontAlgn="base"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dirty="0">
                <a:ln>
                  <a:noFill/>
                </a:ln>
                <a:solidFill>
                  <a:srgbClr val="EAEAEA"/>
                </a:solidFill>
                <a:effectLst/>
                <a:uLnTx/>
                <a:uFillTx/>
                <a:latin typeface="IBM Plex Sans"/>
                <a:ea typeface="IBM Plex Sans" charset="0"/>
                <a:cs typeface="IBM Plex Sans" charset="0"/>
              </a:rPr>
              <a:t>Administration and Configuration</a:t>
            </a:r>
          </a:p>
        </p:txBody>
      </p:sp>
      <p:sp>
        <p:nvSpPr>
          <p:cNvPr id="26" name="Rectangle 25">
            <a:extLst>
              <a:ext uri="{FF2B5EF4-FFF2-40B4-BE49-F238E27FC236}">
                <a16:creationId xmlns:a16="http://schemas.microsoft.com/office/drawing/2014/main" id="{AF80475F-52E8-4672-92E4-973EB7297FFF}"/>
              </a:ext>
            </a:extLst>
          </p:cNvPr>
          <p:cNvSpPr/>
          <p:nvPr/>
        </p:nvSpPr>
        <p:spPr>
          <a:xfrm>
            <a:off x="6324600" y="3024664"/>
            <a:ext cx="2590800" cy="246221"/>
          </a:xfrm>
          <a:prstGeom prst="rect">
            <a:avLst/>
          </a:prstGeom>
        </p:spPr>
        <p:txBody>
          <a:bodyPr wrap="square" lIns="0" tIns="0" rIns="0" bIns="0" anchor="t">
            <a:spAutoFit/>
          </a:bodyPr>
          <a:lstStyle/>
          <a:p>
            <a:pPr marL="0" marR="0" lvl="0" indent="0" algn="l" defTabSz="685800" rtl="0" eaLnBrk="1" fontAlgn="base"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dirty="0">
                <a:ln>
                  <a:noFill/>
                </a:ln>
                <a:solidFill>
                  <a:srgbClr val="EAEAEA"/>
                </a:solidFill>
                <a:effectLst/>
                <a:uLnTx/>
                <a:uFillTx/>
                <a:latin typeface="IBM Plex Sans"/>
                <a:ea typeface="IBM Plex Sans" charset="0"/>
                <a:cs typeface="IBM Plex Sans" charset="0"/>
              </a:rPr>
              <a:t>User Experience</a:t>
            </a:r>
          </a:p>
        </p:txBody>
      </p:sp>
      <p:sp>
        <p:nvSpPr>
          <p:cNvPr id="4" name="Graphic 1">
            <a:extLst>
              <a:ext uri="{FF2B5EF4-FFF2-40B4-BE49-F238E27FC236}">
                <a16:creationId xmlns:a16="http://schemas.microsoft.com/office/drawing/2014/main" id="{9157D7A1-9308-4675-90A5-C200670DAF20}"/>
              </a:ext>
            </a:extLst>
          </p:cNvPr>
          <p:cNvSpPr/>
          <p:nvPr/>
        </p:nvSpPr>
        <p:spPr>
          <a:xfrm>
            <a:off x="228601" y="1764837"/>
            <a:ext cx="708988" cy="815146"/>
          </a:xfrm>
          <a:custGeom>
            <a:avLst/>
            <a:gdLst>
              <a:gd name="connsiteX0" fmla="*/ 4414217 w 4473654"/>
              <a:gd name="connsiteY0" fmla="*/ 1747928 h 5143500"/>
              <a:gd name="connsiteX1" fmla="*/ 3891167 w 4473654"/>
              <a:gd name="connsiteY1" fmla="*/ 1747928 h 5143500"/>
              <a:gd name="connsiteX2" fmla="*/ 3753754 w 4473654"/>
              <a:gd name="connsiteY2" fmla="*/ 1413044 h 5143500"/>
              <a:gd name="connsiteX3" fmla="*/ 4122878 w 4473654"/>
              <a:gd name="connsiteY3" fmla="*/ 1044008 h 5143500"/>
              <a:gd name="connsiteX4" fmla="*/ 4140530 w 4473654"/>
              <a:gd name="connsiteY4" fmla="*/ 1001437 h 5143500"/>
              <a:gd name="connsiteX5" fmla="*/ 4122878 w 4473654"/>
              <a:gd name="connsiteY5" fmla="*/ 958790 h 5143500"/>
              <a:gd name="connsiteX6" fmla="*/ 3515852 w 4473654"/>
              <a:gd name="connsiteY6" fmla="*/ 351839 h 5143500"/>
              <a:gd name="connsiteX7" fmla="*/ 3430557 w 4473654"/>
              <a:gd name="connsiteY7" fmla="*/ 351915 h 5143500"/>
              <a:gd name="connsiteX8" fmla="*/ 3060623 w 4473654"/>
              <a:gd name="connsiteY8" fmla="*/ 721849 h 5143500"/>
              <a:gd name="connsiteX9" fmla="*/ 2726802 w 4473654"/>
              <a:gd name="connsiteY9" fmla="*/ 582220 h 5143500"/>
              <a:gd name="connsiteX10" fmla="*/ 2726802 w 4473654"/>
              <a:gd name="connsiteY10" fmla="*/ 60336 h 5143500"/>
              <a:gd name="connsiteX11" fmla="*/ 2666503 w 4473654"/>
              <a:gd name="connsiteY11" fmla="*/ 126 h 5143500"/>
              <a:gd name="connsiteX12" fmla="*/ 1808164 w 4473654"/>
              <a:gd name="connsiteY12" fmla="*/ 126 h 5143500"/>
              <a:gd name="connsiteX13" fmla="*/ 1747865 w 4473654"/>
              <a:gd name="connsiteY13" fmla="*/ 60336 h 5143500"/>
              <a:gd name="connsiteX14" fmla="*/ 1747865 w 4473654"/>
              <a:gd name="connsiteY14" fmla="*/ 583537 h 5143500"/>
              <a:gd name="connsiteX15" fmla="*/ 1413056 w 4473654"/>
              <a:gd name="connsiteY15" fmla="*/ 720875 h 5143500"/>
              <a:gd name="connsiteX16" fmla="*/ 1044084 w 4473654"/>
              <a:gd name="connsiteY16" fmla="*/ 351928 h 5143500"/>
              <a:gd name="connsiteX17" fmla="*/ 958790 w 4473654"/>
              <a:gd name="connsiteY17" fmla="*/ 351928 h 5143500"/>
              <a:gd name="connsiteX18" fmla="*/ 351928 w 4473654"/>
              <a:gd name="connsiteY18" fmla="*/ 958878 h 5143500"/>
              <a:gd name="connsiteX19" fmla="*/ 351928 w 4473654"/>
              <a:gd name="connsiteY19" fmla="*/ 1044008 h 5143500"/>
              <a:gd name="connsiteX20" fmla="*/ 721862 w 4473654"/>
              <a:gd name="connsiteY20" fmla="*/ 1414031 h 5143500"/>
              <a:gd name="connsiteX21" fmla="*/ 582322 w 4473654"/>
              <a:gd name="connsiteY21" fmla="*/ 1747941 h 5143500"/>
              <a:gd name="connsiteX22" fmla="*/ 60425 w 4473654"/>
              <a:gd name="connsiteY22" fmla="*/ 1747941 h 5143500"/>
              <a:gd name="connsiteX23" fmla="*/ 126 w 4473654"/>
              <a:gd name="connsiteY23" fmla="*/ 1808151 h 5143500"/>
              <a:gd name="connsiteX24" fmla="*/ 126 w 4473654"/>
              <a:gd name="connsiteY24" fmla="*/ 2666490 h 5143500"/>
              <a:gd name="connsiteX25" fmla="*/ 60425 w 4473654"/>
              <a:gd name="connsiteY25" fmla="*/ 2726700 h 5143500"/>
              <a:gd name="connsiteX26" fmla="*/ 583626 w 4473654"/>
              <a:gd name="connsiteY26" fmla="*/ 2726700 h 5143500"/>
              <a:gd name="connsiteX27" fmla="*/ 721039 w 4473654"/>
              <a:gd name="connsiteY27" fmla="*/ 3061585 h 5143500"/>
              <a:gd name="connsiteX28" fmla="*/ 351915 w 4473654"/>
              <a:gd name="connsiteY28" fmla="*/ 3430620 h 5143500"/>
              <a:gd name="connsiteX29" fmla="*/ 351915 w 4473654"/>
              <a:gd name="connsiteY29" fmla="*/ 3515750 h 5143500"/>
              <a:gd name="connsiteX30" fmla="*/ 958777 w 4473654"/>
              <a:gd name="connsiteY30" fmla="*/ 4122701 h 5143500"/>
              <a:gd name="connsiteX31" fmla="*/ 1044072 w 4473654"/>
              <a:gd name="connsiteY31" fmla="*/ 4122701 h 5143500"/>
              <a:gd name="connsiteX32" fmla="*/ 1414006 w 4473654"/>
              <a:gd name="connsiteY32" fmla="*/ 3752767 h 5143500"/>
              <a:gd name="connsiteX33" fmla="*/ 1747827 w 4473654"/>
              <a:gd name="connsiteY33" fmla="*/ 3892396 h 5143500"/>
              <a:gd name="connsiteX34" fmla="*/ 1747827 w 4473654"/>
              <a:gd name="connsiteY34" fmla="*/ 4190027 h 5143500"/>
              <a:gd name="connsiteX35" fmla="*/ 1619885 w 4473654"/>
              <a:gd name="connsiteY35" fmla="*/ 4563153 h 5143500"/>
              <a:gd name="connsiteX36" fmla="*/ 2027896 w 4473654"/>
              <a:gd name="connsiteY36" fmla="*/ 5140359 h 5143500"/>
              <a:gd name="connsiteX37" fmla="*/ 2082800 w 4473654"/>
              <a:gd name="connsiteY37" fmla="*/ 5132762 h 5143500"/>
              <a:gd name="connsiteX38" fmla="*/ 2108290 w 4473654"/>
              <a:gd name="connsiteY38" fmla="*/ 5083581 h 5143500"/>
              <a:gd name="connsiteX39" fmla="*/ 2108290 w 4473654"/>
              <a:gd name="connsiteY39" fmla="*/ 4563153 h 5143500"/>
              <a:gd name="connsiteX40" fmla="*/ 2231990 w 4473654"/>
              <a:gd name="connsiteY40" fmla="*/ 4439453 h 5143500"/>
              <a:gd name="connsiteX41" fmla="*/ 2355690 w 4473654"/>
              <a:gd name="connsiteY41" fmla="*/ 4563153 h 5143500"/>
              <a:gd name="connsiteX42" fmla="*/ 2355690 w 4473654"/>
              <a:gd name="connsiteY42" fmla="*/ 5083581 h 5143500"/>
              <a:gd name="connsiteX43" fmla="*/ 2381179 w 4473654"/>
              <a:gd name="connsiteY43" fmla="*/ 5132762 h 5143500"/>
              <a:gd name="connsiteX44" fmla="*/ 2415988 w 4473654"/>
              <a:gd name="connsiteY44" fmla="*/ 5143791 h 5143500"/>
              <a:gd name="connsiteX45" fmla="*/ 2436084 w 4473654"/>
              <a:gd name="connsiteY45" fmla="*/ 5140359 h 5143500"/>
              <a:gd name="connsiteX46" fmla="*/ 2844094 w 4473654"/>
              <a:gd name="connsiteY46" fmla="*/ 4563153 h 5143500"/>
              <a:gd name="connsiteX47" fmla="*/ 2716709 w 4473654"/>
              <a:gd name="connsiteY47" fmla="*/ 4190927 h 5143500"/>
              <a:gd name="connsiteX48" fmla="*/ 2726776 w 4473654"/>
              <a:gd name="connsiteY48" fmla="*/ 4190927 h 5143500"/>
              <a:gd name="connsiteX49" fmla="*/ 2726776 w 4473654"/>
              <a:gd name="connsiteY49" fmla="*/ 3891003 h 5143500"/>
              <a:gd name="connsiteX50" fmla="*/ 3061585 w 4473654"/>
              <a:gd name="connsiteY50" fmla="*/ 3753666 h 5143500"/>
              <a:gd name="connsiteX51" fmla="*/ 3430545 w 4473654"/>
              <a:gd name="connsiteY51" fmla="*/ 4122701 h 5143500"/>
              <a:gd name="connsiteX52" fmla="*/ 3515839 w 4473654"/>
              <a:gd name="connsiteY52" fmla="*/ 4122701 h 5143500"/>
              <a:gd name="connsiteX53" fmla="*/ 4122866 w 4473654"/>
              <a:gd name="connsiteY53" fmla="*/ 3515750 h 5143500"/>
              <a:gd name="connsiteX54" fmla="*/ 4122866 w 4473654"/>
              <a:gd name="connsiteY54" fmla="*/ 3430620 h 5143500"/>
              <a:gd name="connsiteX55" fmla="*/ 3752767 w 4473654"/>
              <a:gd name="connsiteY55" fmla="*/ 3060521 h 5143500"/>
              <a:gd name="connsiteX56" fmla="*/ 3892307 w 4473654"/>
              <a:gd name="connsiteY56" fmla="*/ 2726700 h 5143500"/>
              <a:gd name="connsiteX57" fmla="*/ 4414204 w 4473654"/>
              <a:gd name="connsiteY57" fmla="*/ 2726700 h 5143500"/>
              <a:gd name="connsiteX58" fmla="*/ 4474503 w 4473654"/>
              <a:gd name="connsiteY58" fmla="*/ 2666490 h 5143500"/>
              <a:gd name="connsiteX59" fmla="*/ 4474503 w 4473654"/>
              <a:gd name="connsiteY59" fmla="*/ 1808151 h 5143500"/>
              <a:gd name="connsiteX60" fmla="*/ 4414217 w 4473654"/>
              <a:gd name="connsiteY60" fmla="*/ 1747928 h 5143500"/>
              <a:gd name="connsiteX61" fmla="*/ 2476287 w 4473654"/>
              <a:gd name="connsiteY61" fmla="*/ 4989954 h 5143500"/>
              <a:gd name="connsiteX62" fmla="*/ 2476287 w 4473654"/>
              <a:gd name="connsiteY62" fmla="*/ 4563153 h 5143500"/>
              <a:gd name="connsiteX63" fmla="*/ 2232002 w 4473654"/>
              <a:gd name="connsiteY63" fmla="*/ 4318957 h 5143500"/>
              <a:gd name="connsiteX64" fmla="*/ 1987718 w 4473654"/>
              <a:gd name="connsiteY64" fmla="*/ 4563153 h 5143500"/>
              <a:gd name="connsiteX65" fmla="*/ 1987718 w 4473654"/>
              <a:gd name="connsiteY65" fmla="*/ 4989954 h 5143500"/>
              <a:gd name="connsiteX66" fmla="*/ 1740496 w 4473654"/>
              <a:gd name="connsiteY66" fmla="*/ 4563153 h 5143500"/>
              <a:gd name="connsiteX67" fmla="*/ 2027263 w 4473654"/>
              <a:gd name="connsiteY67" fmla="*/ 4116091 h 5143500"/>
              <a:gd name="connsiteX68" fmla="*/ 2062389 w 4473654"/>
              <a:gd name="connsiteY68" fmla="*/ 4061351 h 5143500"/>
              <a:gd name="connsiteX69" fmla="*/ 2062224 w 4473654"/>
              <a:gd name="connsiteY69" fmla="*/ 2692385 h 5143500"/>
              <a:gd name="connsiteX70" fmla="*/ 2027098 w 4473654"/>
              <a:gd name="connsiteY70" fmla="*/ 2637645 h 5143500"/>
              <a:gd name="connsiteX71" fmla="*/ 1740496 w 4473654"/>
              <a:gd name="connsiteY71" fmla="*/ 2190659 h 5143500"/>
              <a:gd name="connsiteX72" fmla="*/ 1987718 w 4473654"/>
              <a:gd name="connsiteY72" fmla="*/ 1763858 h 5143500"/>
              <a:gd name="connsiteX73" fmla="*/ 1987718 w 4473654"/>
              <a:gd name="connsiteY73" fmla="*/ 2190659 h 5143500"/>
              <a:gd name="connsiteX74" fmla="*/ 2232002 w 4473654"/>
              <a:gd name="connsiteY74" fmla="*/ 2434855 h 5143500"/>
              <a:gd name="connsiteX75" fmla="*/ 2476287 w 4473654"/>
              <a:gd name="connsiteY75" fmla="*/ 2190659 h 5143500"/>
              <a:gd name="connsiteX76" fmla="*/ 2476287 w 4473654"/>
              <a:gd name="connsiteY76" fmla="*/ 1763858 h 5143500"/>
              <a:gd name="connsiteX77" fmla="*/ 2723509 w 4473654"/>
              <a:gd name="connsiteY77" fmla="*/ 2190659 h 5143500"/>
              <a:gd name="connsiteX78" fmla="*/ 2436578 w 4473654"/>
              <a:gd name="connsiteY78" fmla="*/ 2637721 h 5143500"/>
              <a:gd name="connsiteX79" fmla="*/ 2401452 w 4473654"/>
              <a:gd name="connsiteY79" fmla="*/ 2692461 h 5143500"/>
              <a:gd name="connsiteX80" fmla="*/ 2401616 w 4473654"/>
              <a:gd name="connsiteY80" fmla="*/ 4061339 h 5143500"/>
              <a:gd name="connsiteX81" fmla="*/ 2436742 w 4473654"/>
              <a:gd name="connsiteY81" fmla="*/ 4116078 h 5143500"/>
              <a:gd name="connsiteX82" fmla="*/ 2723509 w 4473654"/>
              <a:gd name="connsiteY82" fmla="*/ 4563140 h 5143500"/>
              <a:gd name="connsiteX83" fmla="*/ 2476287 w 4473654"/>
              <a:gd name="connsiteY83" fmla="*/ 4989954 h 5143500"/>
              <a:gd name="connsiteX84" fmla="*/ 2522037 w 4473654"/>
              <a:gd name="connsiteY84" fmla="*/ 2729727 h 5143500"/>
              <a:gd name="connsiteX85" fmla="*/ 2844094 w 4473654"/>
              <a:gd name="connsiteY85" fmla="*/ 2190672 h 5143500"/>
              <a:gd name="connsiteX86" fmla="*/ 2436084 w 4473654"/>
              <a:gd name="connsiteY86" fmla="*/ 1613466 h 5143500"/>
              <a:gd name="connsiteX87" fmla="*/ 2381179 w 4473654"/>
              <a:gd name="connsiteY87" fmla="*/ 1621063 h 5143500"/>
              <a:gd name="connsiteX88" fmla="*/ 2355690 w 4473654"/>
              <a:gd name="connsiteY88" fmla="*/ 1670244 h 5143500"/>
              <a:gd name="connsiteX89" fmla="*/ 2355690 w 4473654"/>
              <a:gd name="connsiteY89" fmla="*/ 2190672 h 5143500"/>
              <a:gd name="connsiteX90" fmla="*/ 2231990 w 4473654"/>
              <a:gd name="connsiteY90" fmla="*/ 2314372 h 5143500"/>
              <a:gd name="connsiteX91" fmla="*/ 2108290 w 4473654"/>
              <a:gd name="connsiteY91" fmla="*/ 2190672 h 5143500"/>
              <a:gd name="connsiteX92" fmla="*/ 2108290 w 4473654"/>
              <a:gd name="connsiteY92" fmla="*/ 1670244 h 5143500"/>
              <a:gd name="connsiteX93" fmla="*/ 2082800 w 4473654"/>
              <a:gd name="connsiteY93" fmla="*/ 1621063 h 5143500"/>
              <a:gd name="connsiteX94" fmla="*/ 2027896 w 4473654"/>
              <a:gd name="connsiteY94" fmla="*/ 1613466 h 5143500"/>
              <a:gd name="connsiteX95" fmla="*/ 1619885 w 4473654"/>
              <a:gd name="connsiteY95" fmla="*/ 2190672 h 5143500"/>
              <a:gd name="connsiteX96" fmla="*/ 1941614 w 4473654"/>
              <a:gd name="connsiteY96" fmla="*/ 2729651 h 5143500"/>
              <a:gd name="connsiteX97" fmla="*/ 1941664 w 4473654"/>
              <a:gd name="connsiteY97" fmla="*/ 3142967 h 5143500"/>
              <a:gd name="connsiteX98" fmla="*/ 1281645 w 4473654"/>
              <a:gd name="connsiteY98" fmla="*/ 2237321 h 5143500"/>
              <a:gd name="connsiteX99" fmla="*/ 2237371 w 4473654"/>
              <a:gd name="connsiteY99" fmla="*/ 1281595 h 5143500"/>
              <a:gd name="connsiteX100" fmla="*/ 3192933 w 4473654"/>
              <a:gd name="connsiteY100" fmla="*/ 2237321 h 5143500"/>
              <a:gd name="connsiteX101" fmla="*/ 2522062 w 4473654"/>
              <a:gd name="connsiteY101" fmla="*/ 3146069 h 5143500"/>
              <a:gd name="connsiteX102" fmla="*/ 2522037 w 4473654"/>
              <a:gd name="connsiteY102" fmla="*/ 2729727 h 5143500"/>
              <a:gd name="connsiteX103" fmla="*/ 4353918 w 4473654"/>
              <a:gd name="connsiteY103" fmla="*/ 2606280 h 5143500"/>
              <a:gd name="connsiteX104" fmla="*/ 3852281 w 4473654"/>
              <a:gd name="connsiteY104" fmla="*/ 2606280 h 5143500"/>
              <a:gd name="connsiteX105" fmla="*/ 3796731 w 4473654"/>
              <a:gd name="connsiteY105" fmla="*/ 2643292 h 5143500"/>
              <a:gd name="connsiteX106" fmla="*/ 3626142 w 4473654"/>
              <a:gd name="connsiteY106" fmla="*/ 3051379 h 5143500"/>
              <a:gd name="connsiteX107" fmla="*/ 3639045 w 4473654"/>
              <a:gd name="connsiteY107" fmla="*/ 3117224 h 5143500"/>
              <a:gd name="connsiteX108" fmla="*/ 3995088 w 4473654"/>
              <a:gd name="connsiteY108" fmla="*/ 3473192 h 5143500"/>
              <a:gd name="connsiteX109" fmla="*/ 3473192 w 4473654"/>
              <a:gd name="connsiteY109" fmla="*/ 3994924 h 5143500"/>
              <a:gd name="connsiteX110" fmla="*/ 3118452 w 4473654"/>
              <a:gd name="connsiteY110" fmla="*/ 3640184 h 5143500"/>
              <a:gd name="connsiteX111" fmla="*/ 3052924 w 4473654"/>
              <a:gd name="connsiteY111" fmla="*/ 3627028 h 5143500"/>
              <a:gd name="connsiteX112" fmla="*/ 2643609 w 4473654"/>
              <a:gd name="connsiteY112" fmla="*/ 3794844 h 5143500"/>
              <a:gd name="connsiteX113" fmla="*/ 2606192 w 4473654"/>
              <a:gd name="connsiteY113" fmla="*/ 3850647 h 5143500"/>
              <a:gd name="connsiteX114" fmla="*/ 2606192 w 4473654"/>
              <a:gd name="connsiteY114" fmla="*/ 4080066 h 5143500"/>
              <a:gd name="connsiteX115" fmla="*/ 2522201 w 4473654"/>
              <a:gd name="connsiteY115" fmla="*/ 4024098 h 5143500"/>
              <a:gd name="connsiteX116" fmla="*/ 2522113 w 4473654"/>
              <a:gd name="connsiteY116" fmla="*/ 3272137 h 5143500"/>
              <a:gd name="connsiteX117" fmla="*/ 3313556 w 4473654"/>
              <a:gd name="connsiteY117" fmla="*/ 2237321 h 5143500"/>
              <a:gd name="connsiteX118" fmla="*/ 2237409 w 4473654"/>
              <a:gd name="connsiteY118" fmla="*/ 1161174 h 5143500"/>
              <a:gd name="connsiteX119" fmla="*/ 1161098 w 4473654"/>
              <a:gd name="connsiteY119" fmla="*/ 2237321 h 5143500"/>
              <a:gd name="connsiteX120" fmla="*/ 1941728 w 4473654"/>
              <a:gd name="connsiteY120" fmla="*/ 3269769 h 5143500"/>
              <a:gd name="connsiteX121" fmla="*/ 1941816 w 4473654"/>
              <a:gd name="connsiteY121" fmla="*/ 4024187 h 5143500"/>
              <a:gd name="connsiteX122" fmla="*/ 1868450 w 4473654"/>
              <a:gd name="connsiteY122" fmla="*/ 4071089 h 5143500"/>
              <a:gd name="connsiteX123" fmla="*/ 1868450 w 4473654"/>
              <a:gd name="connsiteY123" fmla="*/ 3852294 h 5143500"/>
              <a:gd name="connsiteX124" fmla="*/ 1831361 w 4473654"/>
              <a:gd name="connsiteY124" fmla="*/ 3796743 h 5143500"/>
              <a:gd name="connsiteX125" fmla="*/ 1423186 w 4473654"/>
              <a:gd name="connsiteY125" fmla="*/ 3626066 h 5143500"/>
              <a:gd name="connsiteX126" fmla="*/ 1357341 w 4473654"/>
              <a:gd name="connsiteY126" fmla="*/ 3639057 h 5143500"/>
              <a:gd name="connsiteX127" fmla="*/ 1001462 w 4473654"/>
              <a:gd name="connsiteY127" fmla="*/ 3994937 h 5143500"/>
              <a:gd name="connsiteX128" fmla="*/ 479705 w 4473654"/>
              <a:gd name="connsiteY128" fmla="*/ 3473192 h 5143500"/>
              <a:gd name="connsiteX129" fmla="*/ 834609 w 4473654"/>
              <a:gd name="connsiteY129" fmla="*/ 3118364 h 5143500"/>
              <a:gd name="connsiteX130" fmla="*/ 847677 w 4473654"/>
              <a:gd name="connsiteY130" fmla="*/ 3052924 h 5143500"/>
              <a:gd name="connsiteX131" fmla="*/ 679696 w 4473654"/>
              <a:gd name="connsiteY131" fmla="*/ 2643609 h 5143500"/>
              <a:gd name="connsiteX132" fmla="*/ 623981 w 4473654"/>
              <a:gd name="connsiteY132" fmla="*/ 2606267 h 5143500"/>
              <a:gd name="connsiteX133" fmla="*/ 120711 w 4473654"/>
              <a:gd name="connsiteY133" fmla="*/ 2606267 h 5143500"/>
              <a:gd name="connsiteX134" fmla="*/ 120711 w 4473654"/>
              <a:gd name="connsiteY134" fmla="*/ 1868349 h 5143500"/>
              <a:gd name="connsiteX135" fmla="*/ 622348 w 4473654"/>
              <a:gd name="connsiteY135" fmla="*/ 1868349 h 5143500"/>
              <a:gd name="connsiteX136" fmla="*/ 677898 w 4473654"/>
              <a:gd name="connsiteY136" fmla="*/ 1831336 h 5143500"/>
              <a:gd name="connsiteX137" fmla="*/ 848652 w 4473654"/>
              <a:gd name="connsiteY137" fmla="*/ 1423250 h 5143500"/>
              <a:gd name="connsiteX138" fmla="*/ 835749 w 4473654"/>
              <a:gd name="connsiteY138" fmla="*/ 1357405 h 5143500"/>
              <a:gd name="connsiteX139" fmla="*/ 479705 w 4473654"/>
              <a:gd name="connsiteY139" fmla="*/ 1001437 h 5143500"/>
              <a:gd name="connsiteX140" fmla="*/ 1001437 w 4473654"/>
              <a:gd name="connsiteY140" fmla="*/ 479705 h 5143500"/>
              <a:gd name="connsiteX141" fmla="*/ 1356177 w 4473654"/>
              <a:gd name="connsiteY141" fmla="*/ 834444 h 5143500"/>
              <a:gd name="connsiteX142" fmla="*/ 1421705 w 4473654"/>
              <a:gd name="connsiteY142" fmla="*/ 847601 h 5143500"/>
              <a:gd name="connsiteX143" fmla="*/ 1831020 w 4473654"/>
              <a:gd name="connsiteY143" fmla="*/ 679709 h 5143500"/>
              <a:gd name="connsiteX144" fmla="*/ 1868437 w 4473654"/>
              <a:gd name="connsiteY144" fmla="*/ 623994 h 5143500"/>
              <a:gd name="connsiteX145" fmla="*/ 1868437 w 4473654"/>
              <a:gd name="connsiteY145" fmla="*/ 120635 h 5143500"/>
              <a:gd name="connsiteX146" fmla="*/ 2606192 w 4473654"/>
              <a:gd name="connsiteY146" fmla="*/ 120635 h 5143500"/>
              <a:gd name="connsiteX147" fmla="*/ 2606192 w 4473654"/>
              <a:gd name="connsiteY147" fmla="*/ 622360 h 5143500"/>
              <a:gd name="connsiteX148" fmla="*/ 2643280 w 4473654"/>
              <a:gd name="connsiteY148" fmla="*/ 677911 h 5143500"/>
              <a:gd name="connsiteX149" fmla="*/ 3051455 w 4473654"/>
              <a:gd name="connsiteY149" fmla="*/ 848588 h 5143500"/>
              <a:gd name="connsiteX150" fmla="*/ 3117300 w 4473654"/>
              <a:gd name="connsiteY150" fmla="*/ 835597 h 5143500"/>
              <a:gd name="connsiteX151" fmla="*/ 3473179 w 4473654"/>
              <a:gd name="connsiteY151" fmla="*/ 479718 h 5143500"/>
              <a:gd name="connsiteX152" fmla="*/ 3995076 w 4473654"/>
              <a:gd name="connsiteY152" fmla="*/ 1001450 h 5143500"/>
              <a:gd name="connsiteX153" fmla="*/ 3640172 w 4473654"/>
              <a:gd name="connsiteY153" fmla="*/ 1356189 h 5143500"/>
              <a:gd name="connsiteX154" fmla="*/ 3627104 w 4473654"/>
              <a:gd name="connsiteY154" fmla="*/ 1421629 h 5143500"/>
              <a:gd name="connsiteX155" fmla="*/ 3795085 w 4473654"/>
              <a:gd name="connsiteY155" fmla="*/ 1831032 h 5143500"/>
              <a:gd name="connsiteX156" fmla="*/ 3850799 w 4473654"/>
              <a:gd name="connsiteY156" fmla="*/ 1868374 h 5143500"/>
              <a:gd name="connsiteX157" fmla="*/ 4353905 w 4473654"/>
              <a:gd name="connsiteY157" fmla="*/ 1868374 h 5143500"/>
              <a:gd name="connsiteX158" fmla="*/ 4353905 w 4473654"/>
              <a:gd name="connsiteY158" fmla="*/ 260628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4473654" h="5143500">
                <a:moveTo>
                  <a:pt x="4414217" y="1747928"/>
                </a:moveTo>
                <a:lnTo>
                  <a:pt x="3891167" y="1747928"/>
                </a:lnTo>
                <a:lnTo>
                  <a:pt x="3753754" y="1413044"/>
                </a:lnTo>
                <a:lnTo>
                  <a:pt x="4122878" y="1044008"/>
                </a:lnTo>
                <a:cubicBezTo>
                  <a:pt x="4134148" y="1032739"/>
                  <a:pt x="4140530" y="1017379"/>
                  <a:pt x="4140530" y="1001437"/>
                </a:cubicBezTo>
                <a:cubicBezTo>
                  <a:pt x="4140530" y="985419"/>
                  <a:pt x="4134161" y="970148"/>
                  <a:pt x="4122878" y="958790"/>
                </a:cubicBezTo>
                <a:lnTo>
                  <a:pt x="3515852" y="351839"/>
                </a:lnTo>
                <a:cubicBezTo>
                  <a:pt x="3492325" y="328388"/>
                  <a:pt x="3454084" y="328388"/>
                  <a:pt x="3430557" y="351915"/>
                </a:cubicBezTo>
                <a:lnTo>
                  <a:pt x="3060623" y="721849"/>
                </a:lnTo>
                <a:lnTo>
                  <a:pt x="2726802" y="582220"/>
                </a:lnTo>
                <a:lnTo>
                  <a:pt x="2726802" y="60336"/>
                </a:lnTo>
                <a:cubicBezTo>
                  <a:pt x="2726802" y="27084"/>
                  <a:pt x="2699843" y="126"/>
                  <a:pt x="2666503" y="126"/>
                </a:cubicBezTo>
                <a:lnTo>
                  <a:pt x="1808164" y="126"/>
                </a:lnTo>
                <a:cubicBezTo>
                  <a:pt x="1774836" y="126"/>
                  <a:pt x="1747865" y="27084"/>
                  <a:pt x="1747865" y="60336"/>
                </a:cubicBezTo>
                <a:lnTo>
                  <a:pt x="1747865" y="583537"/>
                </a:lnTo>
                <a:lnTo>
                  <a:pt x="1413056" y="720875"/>
                </a:lnTo>
                <a:lnTo>
                  <a:pt x="1044084" y="351928"/>
                </a:lnTo>
                <a:cubicBezTo>
                  <a:pt x="1021532" y="329300"/>
                  <a:pt x="981342" y="329300"/>
                  <a:pt x="958790" y="351928"/>
                </a:cubicBezTo>
                <a:lnTo>
                  <a:pt x="351928" y="958878"/>
                </a:lnTo>
                <a:cubicBezTo>
                  <a:pt x="328401" y="982329"/>
                  <a:pt x="328401" y="1020481"/>
                  <a:pt x="351928" y="1044008"/>
                </a:cubicBezTo>
                <a:lnTo>
                  <a:pt x="721862" y="1414031"/>
                </a:lnTo>
                <a:lnTo>
                  <a:pt x="582322" y="1747941"/>
                </a:lnTo>
                <a:lnTo>
                  <a:pt x="60425" y="1747941"/>
                </a:lnTo>
                <a:cubicBezTo>
                  <a:pt x="27084" y="1747928"/>
                  <a:pt x="126" y="1774899"/>
                  <a:pt x="126" y="1808151"/>
                </a:cubicBezTo>
                <a:lnTo>
                  <a:pt x="126" y="2666490"/>
                </a:lnTo>
                <a:cubicBezTo>
                  <a:pt x="126" y="2699742"/>
                  <a:pt x="27084" y="2726700"/>
                  <a:pt x="60425" y="2726700"/>
                </a:cubicBezTo>
                <a:lnTo>
                  <a:pt x="583626" y="2726700"/>
                </a:lnTo>
                <a:lnTo>
                  <a:pt x="721039" y="3061585"/>
                </a:lnTo>
                <a:lnTo>
                  <a:pt x="351915" y="3430620"/>
                </a:lnTo>
                <a:cubicBezTo>
                  <a:pt x="328388" y="3454071"/>
                  <a:pt x="328388" y="3492223"/>
                  <a:pt x="351915" y="3515750"/>
                </a:cubicBezTo>
                <a:lnTo>
                  <a:pt x="958777" y="4122701"/>
                </a:lnTo>
                <a:cubicBezTo>
                  <a:pt x="981329" y="4145329"/>
                  <a:pt x="1021520" y="4145329"/>
                  <a:pt x="1044072" y="4122701"/>
                </a:cubicBezTo>
                <a:lnTo>
                  <a:pt x="1414006" y="3752767"/>
                </a:lnTo>
                <a:lnTo>
                  <a:pt x="1747827" y="3892396"/>
                </a:lnTo>
                <a:lnTo>
                  <a:pt x="1747827" y="4190027"/>
                </a:lnTo>
                <a:cubicBezTo>
                  <a:pt x="1666901" y="4295253"/>
                  <a:pt x="1619885" y="4425651"/>
                  <a:pt x="1619885" y="4563153"/>
                </a:cubicBezTo>
                <a:cubicBezTo>
                  <a:pt x="1619885" y="4822139"/>
                  <a:pt x="1783941" y="5054001"/>
                  <a:pt x="2027896" y="5140359"/>
                </a:cubicBezTo>
                <a:cubicBezTo>
                  <a:pt x="2046193" y="5146982"/>
                  <a:pt x="2066947" y="5144032"/>
                  <a:pt x="2082800" y="5132762"/>
                </a:cubicBezTo>
                <a:cubicBezTo>
                  <a:pt x="2098819" y="5121492"/>
                  <a:pt x="2108290" y="5103106"/>
                  <a:pt x="2108290" y="5083581"/>
                </a:cubicBezTo>
                <a:lnTo>
                  <a:pt x="2108290" y="4563153"/>
                </a:lnTo>
                <a:cubicBezTo>
                  <a:pt x="2108290" y="4494927"/>
                  <a:pt x="2163688" y="4439453"/>
                  <a:pt x="2231990" y="4439453"/>
                </a:cubicBezTo>
                <a:cubicBezTo>
                  <a:pt x="2300291" y="4439453"/>
                  <a:pt x="2355690" y="4494927"/>
                  <a:pt x="2355690" y="4563153"/>
                </a:cubicBezTo>
                <a:lnTo>
                  <a:pt x="2355690" y="5083581"/>
                </a:lnTo>
                <a:cubicBezTo>
                  <a:pt x="2355690" y="5103106"/>
                  <a:pt x="2365161" y="5121492"/>
                  <a:pt x="2381179" y="5132762"/>
                </a:cubicBezTo>
                <a:cubicBezTo>
                  <a:pt x="2391474" y="5140030"/>
                  <a:pt x="2403731" y="5143791"/>
                  <a:pt x="2415988" y="5143791"/>
                </a:cubicBezTo>
                <a:cubicBezTo>
                  <a:pt x="2422687" y="5143791"/>
                  <a:pt x="2429550" y="5142651"/>
                  <a:pt x="2436084" y="5140359"/>
                </a:cubicBezTo>
                <a:cubicBezTo>
                  <a:pt x="2680039" y="5054001"/>
                  <a:pt x="2844094" y="4822139"/>
                  <a:pt x="2844094" y="4563153"/>
                </a:cubicBezTo>
                <a:cubicBezTo>
                  <a:pt x="2844094" y="4426056"/>
                  <a:pt x="2797256" y="4296000"/>
                  <a:pt x="2716709" y="4190927"/>
                </a:cubicBezTo>
                <a:lnTo>
                  <a:pt x="2726776" y="4190927"/>
                </a:lnTo>
                <a:lnTo>
                  <a:pt x="2726776" y="3891003"/>
                </a:lnTo>
                <a:lnTo>
                  <a:pt x="3061585" y="3753666"/>
                </a:lnTo>
                <a:lnTo>
                  <a:pt x="3430545" y="4122701"/>
                </a:lnTo>
                <a:cubicBezTo>
                  <a:pt x="3454071" y="4146228"/>
                  <a:pt x="3492312" y="4146228"/>
                  <a:pt x="3515839" y="4122701"/>
                </a:cubicBezTo>
                <a:lnTo>
                  <a:pt x="4122866" y="3515750"/>
                </a:lnTo>
                <a:cubicBezTo>
                  <a:pt x="4146392" y="3492223"/>
                  <a:pt x="4146392" y="3454071"/>
                  <a:pt x="4122866" y="3430620"/>
                </a:cubicBezTo>
                <a:lnTo>
                  <a:pt x="3752767" y="3060521"/>
                </a:lnTo>
                <a:lnTo>
                  <a:pt x="3892307" y="2726700"/>
                </a:lnTo>
                <a:lnTo>
                  <a:pt x="4414204" y="2726700"/>
                </a:lnTo>
                <a:cubicBezTo>
                  <a:pt x="4447532" y="2726700"/>
                  <a:pt x="4474503" y="2699742"/>
                  <a:pt x="4474503" y="2666490"/>
                </a:cubicBezTo>
                <a:lnTo>
                  <a:pt x="4474503" y="1808151"/>
                </a:lnTo>
                <a:cubicBezTo>
                  <a:pt x="4474503" y="1774899"/>
                  <a:pt x="4447544" y="1747928"/>
                  <a:pt x="4414217" y="1747928"/>
                </a:cubicBezTo>
                <a:close/>
                <a:moveTo>
                  <a:pt x="2476287" y="4989954"/>
                </a:moveTo>
                <a:lnTo>
                  <a:pt x="2476287" y="4563153"/>
                </a:lnTo>
                <a:cubicBezTo>
                  <a:pt x="2476287" y="4428513"/>
                  <a:pt x="2366643" y="4318957"/>
                  <a:pt x="2232002" y="4318957"/>
                </a:cubicBezTo>
                <a:cubicBezTo>
                  <a:pt x="2097362" y="4318957"/>
                  <a:pt x="1987718" y="4428513"/>
                  <a:pt x="1987718" y="4563153"/>
                </a:cubicBezTo>
                <a:lnTo>
                  <a:pt x="1987718" y="4989954"/>
                </a:lnTo>
                <a:cubicBezTo>
                  <a:pt x="1837060" y="4903432"/>
                  <a:pt x="1740496" y="4741263"/>
                  <a:pt x="1740496" y="4563153"/>
                </a:cubicBezTo>
                <a:cubicBezTo>
                  <a:pt x="1740496" y="4371569"/>
                  <a:pt x="1853078" y="4196080"/>
                  <a:pt x="2027263" y="4116091"/>
                </a:cubicBezTo>
                <a:cubicBezTo>
                  <a:pt x="2048662" y="4106290"/>
                  <a:pt x="2062389" y="4084878"/>
                  <a:pt x="2062389" y="4061351"/>
                </a:cubicBezTo>
                <a:lnTo>
                  <a:pt x="2062224" y="2692385"/>
                </a:lnTo>
                <a:cubicBezTo>
                  <a:pt x="2062224" y="2668858"/>
                  <a:pt x="2048498" y="2647446"/>
                  <a:pt x="2027098" y="2637645"/>
                </a:cubicBezTo>
                <a:cubicBezTo>
                  <a:pt x="1852913" y="2557656"/>
                  <a:pt x="1740496" y="2382167"/>
                  <a:pt x="1740496" y="2190659"/>
                </a:cubicBezTo>
                <a:cubicBezTo>
                  <a:pt x="1740496" y="2012549"/>
                  <a:pt x="1837060" y="1850381"/>
                  <a:pt x="1987718" y="1763858"/>
                </a:cubicBezTo>
                <a:lnTo>
                  <a:pt x="1987718" y="2190659"/>
                </a:lnTo>
                <a:cubicBezTo>
                  <a:pt x="1987718" y="2325300"/>
                  <a:pt x="2097362" y="2434855"/>
                  <a:pt x="2232002" y="2434855"/>
                </a:cubicBezTo>
                <a:cubicBezTo>
                  <a:pt x="2366643" y="2434855"/>
                  <a:pt x="2476287" y="2325300"/>
                  <a:pt x="2476287" y="2190659"/>
                </a:cubicBezTo>
                <a:lnTo>
                  <a:pt x="2476287" y="1763858"/>
                </a:lnTo>
                <a:cubicBezTo>
                  <a:pt x="2626945" y="1850381"/>
                  <a:pt x="2723509" y="2012549"/>
                  <a:pt x="2723509" y="2190659"/>
                </a:cubicBezTo>
                <a:cubicBezTo>
                  <a:pt x="2723509" y="2382243"/>
                  <a:pt x="2610927" y="2557732"/>
                  <a:pt x="2436578" y="2637721"/>
                </a:cubicBezTo>
                <a:cubicBezTo>
                  <a:pt x="2415178" y="2647522"/>
                  <a:pt x="2401452" y="2668934"/>
                  <a:pt x="2401452" y="2692461"/>
                </a:cubicBezTo>
                <a:lnTo>
                  <a:pt x="2401616" y="4061339"/>
                </a:lnTo>
                <a:cubicBezTo>
                  <a:pt x="2401616" y="4084866"/>
                  <a:pt x="2415343" y="4106278"/>
                  <a:pt x="2436742" y="4116078"/>
                </a:cubicBezTo>
                <a:cubicBezTo>
                  <a:pt x="2610927" y="4196143"/>
                  <a:pt x="2723509" y="4371557"/>
                  <a:pt x="2723509" y="4563140"/>
                </a:cubicBezTo>
                <a:cubicBezTo>
                  <a:pt x="2723509" y="4741263"/>
                  <a:pt x="2626945" y="4903432"/>
                  <a:pt x="2476287" y="4989954"/>
                </a:cubicBezTo>
                <a:close/>
                <a:moveTo>
                  <a:pt x="2522037" y="2729727"/>
                </a:moveTo>
                <a:cubicBezTo>
                  <a:pt x="2718774" y="2623603"/>
                  <a:pt x="2844094" y="2416077"/>
                  <a:pt x="2844094" y="2190672"/>
                </a:cubicBezTo>
                <a:cubicBezTo>
                  <a:pt x="2844094" y="1931686"/>
                  <a:pt x="2680039" y="1699735"/>
                  <a:pt x="2436084" y="1613466"/>
                </a:cubicBezTo>
                <a:cubicBezTo>
                  <a:pt x="2417457" y="1606843"/>
                  <a:pt x="2397033" y="1609793"/>
                  <a:pt x="2381179" y="1621063"/>
                </a:cubicBezTo>
                <a:cubicBezTo>
                  <a:pt x="2365161" y="1632333"/>
                  <a:pt x="2355690" y="1650719"/>
                  <a:pt x="2355690" y="1670244"/>
                </a:cubicBezTo>
                <a:lnTo>
                  <a:pt x="2355690" y="2190672"/>
                </a:lnTo>
                <a:cubicBezTo>
                  <a:pt x="2355690" y="2258898"/>
                  <a:pt x="2300291" y="2314372"/>
                  <a:pt x="2231990" y="2314372"/>
                </a:cubicBezTo>
                <a:cubicBezTo>
                  <a:pt x="2163688" y="2314372"/>
                  <a:pt x="2108290" y="2258898"/>
                  <a:pt x="2108290" y="2190672"/>
                </a:cubicBezTo>
                <a:lnTo>
                  <a:pt x="2108290" y="1670244"/>
                </a:lnTo>
                <a:cubicBezTo>
                  <a:pt x="2108290" y="1650719"/>
                  <a:pt x="2098819" y="1632333"/>
                  <a:pt x="2082800" y="1621063"/>
                </a:cubicBezTo>
                <a:cubicBezTo>
                  <a:pt x="2066947" y="1609793"/>
                  <a:pt x="2046193" y="1606843"/>
                  <a:pt x="2027896" y="1613466"/>
                </a:cubicBezTo>
                <a:cubicBezTo>
                  <a:pt x="1783941" y="1699735"/>
                  <a:pt x="1619885" y="1931686"/>
                  <a:pt x="1619885" y="2190672"/>
                </a:cubicBezTo>
                <a:cubicBezTo>
                  <a:pt x="1619885" y="2416001"/>
                  <a:pt x="1745054" y="2623438"/>
                  <a:pt x="1941614" y="2729651"/>
                </a:cubicBezTo>
                <a:lnTo>
                  <a:pt x="1941664" y="3142967"/>
                </a:lnTo>
                <a:cubicBezTo>
                  <a:pt x="1550723" y="3015760"/>
                  <a:pt x="1281645" y="2654322"/>
                  <a:pt x="1281645" y="2237321"/>
                </a:cubicBezTo>
                <a:cubicBezTo>
                  <a:pt x="1281645" y="1710359"/>
                  <a:pt x="1710410" y="1281595"/>
                  <a:pt x="2237371" y="1281595"/>
                </a:cubicBezTo>
                <a:cubicBezTo>
                  <a:pt x="2764333" y="1281595"/>
                  <a:pt x="3192933" y="1710359"/>
                  <a:pt x="3192933" y="2237321"/>
                </a:cubicBezTo>
                <a:cubicBezTo>
                  <a:pt x="3192933" y="2654157"/>
                  <a:pt x="2914270" y="3022622"/>
                  <a:pt x="2522062" y="3146069"/>
                </a:cubicBezTo>
                <a:lnTo>
                  <a:pt x="2522037" y="2729727"/>
                </a:lnTo>
                <a:close/>
                <a:moveTo>
                  <a:pt x="4353918" y="2606280"/>
                </a:moveTo>
                <a:lnTo>
                  <a:pt x="3852281" y="2606280"/>
                </a:lnTo>
                <a:cubicBezTo>
                  <a:pt x="3827931" y="2606280"/>
                  <a:pt x="3806037" y="2620817"/>
                  <a:pt x="3796731" y="2643292"/>
                </a:cubicBezTo>
                <a:lnTo>
                  <a:pt x="3626142" y="3051379"/>
                </a:lnTo>
                <a:cubicBezTo>
                  <a:pt x="3616670" y="3073931"/>
                  <a:pt x="3621887" y="3099914"/>
                  <a:pt x="3639045" y="3117224"/>
                </a:cubicBezTo>
                <a:lnTo>
                  <a:pt x="3995088" y="3473192"/>
                </a:lnTo>
                <a:lnTo>
                  <a:pt x="3473192" y="3994924"/>
                </a:lnTo>
                <a:lnTo>
                  <a:pt x="3118452" y="3640184"/>
                </a:lnTo>
                <a:cubicBezTo>
                  <a:pt x="3101130" y="3623027"/>
                  <a:pt x="3075311" y="3617797"/>
                  <a:pt x="3052924" y="3627028"/>
                </a:cubicBezTo>
                <a:lnTo>
                  <a:pt x="2643609" y="3794844"/>
                </a:lnTo>
                <a:cubicBezTo>
                  <a:pt x="2621057" y="3804163"/>
                  <a:pt x="2606192" y="3826222"/>
                  <a:pt x="2606192" y="3850647"/>
                </a:cubicBezTo>
                <a:lnTo>
                  <a:pt x="2606192" y="4080066"/>
                </a:lnTo>
                <a:cubicBezTo>
                  <a:pt x="2579765" y="4059477"/>
                  <a:pt x="2552135" y="4040281"/>
                  <a:pt x="2522201" y="4024098"/>
                </a:cubicBezTo>
                <a:lnTo>
                  <a:pt x="2522113" y="3272137"/>
                </a:lnTo>
                <a:cubicBezTo>
                  <a:pt x="2982799" y="3145006"/>
                  <a:pt x="3313556" y="2719356"/>
                  <a:pt x="3313556" y="2237321"/>
                </a:cubicBezTo>
                <a:cubicBezTo>
                  <a:pt x="3313556" y="1643932"/>
                  <a:pt x="2830710" y="1161174"/>
                  <a:pt x="2237409" y="1161174"/>
                </a:cubicBezTo>
                <a:cubicBezTo>
                  <a:pt x="1643944" y="1161174"/>
                  <a:pt x="1161098" y="1643944"/>
                  <a:pt x="1161098" y="2237321"/>
                </a:cubicBezTo>
                <a:cubicBezTo>
                  <a:pt x="1161098" y="2720167"/>
                  <a:pt x="1481003" y="3138142"/>
                  <a:pt x="1941728" y="3269769"/>
                </a:cubicBezTo>
                <a:lnTo>
                  <a:pt x="1941816" y="4024187"/>
                </a:lnTo>
                <a:cubicBezTo>
                  <a:pt x="1916036" y="4038077"/>
                  <a:pt x="1891648" y="4053931"/>
                  <a:pt x="1868450" y="4071089"/>
                </a:cubicBezTo>
                <a:lnTo>
                  <a:pt x="1868450" y="3852294"/>
                </a:lnTo>
                <a:cubicBezTo>
                  <a:pt x="1868450" y="3828032"/>
                  <a:pt x="1853749" y="3806139"/>
                  <a:pt x="1831361" y="3796743"/>
                </a:cubicBezTo>
                <a:lnTo>
                  <a:pt x="1423186" y="3626066"/>
                </a:lnTo>
                <a:cubicBezTo>
                  <a:pt x="1400470" y="3616594"/>
                  <a:pt x="1374651" y="3621735"/>
                  <a:pt x="1357341" y="3639057"/>
                </a:cubicBezTo>
                <a:lnTo>
                  <a:pt x="1001462" y="3994937"/>
                </a:lnTo>
                <a:lnTo>
                  <a:pt x="479705" y="3473192"/>
                </a:lnTo>
                <a:lnTo>
                  <a:pt x="834609" y="3118364"/>
                </a:lnTo>
                <a:cubicBezTo>
                  <a:pt x="851767" y="3101206"/>
                  <a:pt x="856832" y="3075387"/>
                  <a:pt x="847677" y="3052924"/>
                </a:cubicBezTo>
                <a:lnTo>
                  <a:pt x="679696" y="2643609"/>
                </a:lnTo>
                <a:cubicBezTo>
                  <a:pt x="670377" y="2621057"/>
                  <a:pt x="648483" y="2606267"/>
                  <a:pt x="623981" y="2606267"/>
                </a:cubicBezTo>
                <a:lnTo>
                  <a:pt x="120711" y="2606267"/>
                </a:lnTo>
                <a:lnTo>
                  <a:pt x="120711" y="1868349"/>
                </a:lnTo>
                <a:lnTo>
                  <a:pt x="622348" y="1868349"/>
                </a:lnTo>
                <a:cubicBezTo>
                  <a:pt x="646698" y="1868349"/>
                  <a:pt x="668591" y="1853812"/>
                  <a:pt x="677898" y="1831336"/>
                </a:cubicBezTo>
                <a:lnTo>
                  <a:pt x="848652" y="1423250"/>
                </a:lnTo>
                <a:cubicBezTo>
                  <a:pt x="858123" y="1400698"/>
                  <a:pt x="852906" y="1374715"/>
                  <a:pt x="835749" y="1357405"/>
                </a:cubicBezTo>
                <a:lnTo>
                  <a:pt x="479705" y="1001437"/>
                </a:lnTo>
                <a:lnTo>
                  <a:pt x="1001437" y="479705"/>
                </a:lnTo>
                <a:lnTo>
                  <a:pt x="1356177" y="834444"/>
                </a:lnTo>
                <a:cubicBezTo>
                  <a:pt x="1373499" y="851602"/>
                  <a:pt x="1399318" y="856832"/>
                  <a:pt x="1421705" y="847601"/>
                </a:cubicBezTo>
                <a:lnTo>
                  <a:pt x="1831020" y="679709"/>
                </a:lnTo>
                <a:cubicBezTo>
                  <a:pt x="1853571" y="670389"/>
                  <a:pt x="1868437" y="648420"/>
                  <a:pt x="1868437" y="623994"/>
                </a:cubicBezTo>
                <a:lnTo>
                  <a:pt x="1868437" y="120635"/>
                </a:lnTo>
                <a:lnTo>
                  <a:pt x="2606192" y="120635"/>
                </a:lnTo>
                <a:lnTo>
                  <a:pt x="2606192" y="622360"/>
                </a:lnTo>
                <a:cubicBezTo>
                  <a:pt x="2606192" y="646622"/>
                  <a:pt x="2620893" y="668515"/>
                  <a:pt x="2643280" y="677911"/>
                </a:cubicBezTo>
                <a:lnTo>
                  <a:pt x="3051455" y="848588"/>
                </a:lnTo>
                <a:cubicBezTo>
                  <a:pt x="3074007" y="858060"/>
                  <a:pt x="3099826" y="852919"/>
                  <a:pt x="3117300" y="835597"/>
                </a:cubicBezTo>
                <a:lnTo>
                  <a:pt x="3473179" y="479718"/>
                </a:lnTo>
                <a:lnTo>
                  <a:pt x="3995076" y="1001450"/>
                </a:lnTo>
                <a:lnTo>
                  <a:pt x="3640172" y="1356189"/>
                </a:lnTo>
                <a:cubicBezTo>
                  <a:pt x="3623014" y="1373423"/>
                  <a:pt x="3617949" y="1399166"/>
                  <a:pt x="3627104" y="1421629"/>
                </a:cubicBezTo>
                <a:lnTo>
                  <a:pt x="3795085" y="1831032"/>
                </a:lnTo>
                <a:cubicBezTo>
                  <a:pt x="3804404" y="1853584"/>
                  <a:pt x="3826297" y="1868374"/>
                  <a:pt x="3850799" y="1868374"/>
                </a:cubicBezTo>
                <a:lnTo>
                  <a:pt x="4353905" y="1868374"/>
                </a:lnTo>
                <a:lnTo>
                  <a:pt x="4353905" y="2606280"/>
                </a:lnTo>
                <a:close/>
              </a:path>
            </a:pathLst>
          </a:custGeom>
          <a:solidFill>
            <a:schemeClr val="tx2"/>
          </a:solidFill>
          <a:ln w="126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grpSp>
        <p:nvGrpSpPr>
          <p:cNvPr id="18" name="Graphic 4">
            <a:extLst>
              <a:ext uri="{FF2B5EF4-FFF2-40B4-BE49-F238E27FC236}">
                <a16:creationId xmlns:a16="http://schemas.microsoft.com/office/drawing/2014/main" id="{04DFB814-3D69-49BB-AE39-7FCC152F4304}"/>
              </a:ext>
            </a:extLst>
          </p:cNvPr>
          <p:cNvGrpSpPr/>
          <p:nvPr/>
        </p:nvGrpSpPr>
        <p:grpSpPr>
          <a:xfrm>
            <a:off x="6346226" y="1821572"/>
            <a:ext cx="760692" cy="711089"/>
            <a:chOff x="-5883290" y="0"/>
            <a:chExt cx="5502290" cy="5143500"/>
          </a:xfrm>
          <a:solidFill>
            <a:schemeClr val="tx2"/>
          </a:solidFill>
        </p:grpSpPr>
        <p:sp>
          <p:nvSpPr>
            <p:cNvPr id="20" name="Freeform: Shape 19">
              <a:extLst>
                <a:ext uri="{FF2B5EF4-FFF2-40B4-BE49-F238E27FC236}">
                  <a16:creationId xmlns:a16="http://schemas.microsoft.com/office/drawing/2014/main" id="{8975F5D3-EC8F-415F-A628-13C5DAB2E313}"/>
                </a:ext>
              </a:extLst>
            </p:cNvPr>
            <p:cNvSpPr/>
            <p:nvPr/>
          </p:nvSpPr>
          <p:spPr>
            <a:xfrm>
              <a:off x="-5884231" y="-941"/>
              <a:ext cx="5503545" cy="4965359"/>
            </a:xfrm>
            <a:custGeom>
              <a:avLst/>
              <a:gdLst>
                <a:gd name="connsiteX0" fmla="*/ 5438172 w 5503544"/>
                <a:gd name="connsiteY0" fmla="*/ 1970964 h 4965359"/>
                <a:gd name="connsiteX1" fmla="*/ 4607158 w 5503544"/>
                <a:gd name="connsiteY1" fmla="*/ 1970964 h 4965359"/>
                <a:gd name="connsiteX2" fmla="*/ 4607158 w 5503544"/>
                <a:gd name="connsiteY2" fmla="*/ 65385 h 4965359"/>
                <a:gd name="connsiteX3" fmla="*/ 4542714 w 5503544"/>
                <a:gd name="connsiteY3" fmla="*/ 941 h 4965359"/>
                <a:gd name="connsiteX4" fmla="*/ 65385 w 5503544"/>
                <a:gd name="connsiteY4" fmla="*/ 941 h 4965359"/>
                <a:gd name="connsiteX5" fmla="*/ 941 w 5503544"/>
                <a:gd name="connsiteY5" fmla="*/ 65385 h 4965359"/>
                <a:gd name="connsiteX6" fmla="*/ 941 w 5503544"/>
                <a:gd name="connsiteY6" fmla="*/ 3468162 h 4965359"/>
                <a:gd name="connsiteX7" fmla="*/ 65385 w 5503544"/>
                <a:gd name="connsiteY7" fmla="*/ 3532606 h 4965359"/>
                <a:gd name="connsiteX8" fmla="*/ 1139938 w 5503544"/>
                <a:gd name="connsiteY8" fmla="*/ 3532606 h 4965359"/>
                <a:gd name="connsiteX9" fmla="*/ 1139938 w 5503544"/>
                <a:gd name="connsiteY9" fmla="*/ 3403705 h 4965359"/>
                <a:gd name="connsiteX10" fmla="*/ 129842 w 5503544"/>
                <a:gd name="connsiteY10" fmla="*/ 3403705 h 4965359"/>
                <a:gd name="connsiteX11" fmla="*/ 129842 w 5503544"/>
                <a:gd name="connsiteY11" fmla="*/ 2995323 h 4965359"/>
                <a:gd name="connsiteX12" fmla="*/ 1139950 w 5503544"/>
                <a:gd name="connsiteY12" fmla="*/ 2995323 h 4965359"/>
                <a:gd name="connsiteX13" fmla="*/ 1139950 w 5503544"/>
                <a:gd name="connsiteY13" fmla="*/ 2866422 h 4965359"/>
                <a:gd name="connsiteX14" fmla="*/ 129842 w 5503544"/>
                <a:gd name="connsiteY14" fmla="*/ 2866422 h 4965359"/>
                <a:gd name="connsiteX15" fmla="*/ 129842 w 5503544"/>
                <a:gd name="connsiteY15" fmla="*/ 129842 h 4965359"/>
                <a:gd name="connsiteX16" fmla="*/ 4478270 w 5503544"/>
                <a:gd name="connsiteY16" fmla="*/ 129842 h 4965359"/>
                <a:gd name="connsiteX17" fmla="*/ 4478270 w 5503544"/>
                <a:gd name="connsiteY17" fmla="*/ 2866435 h 4965359"/>
                <a:gd name="connsiteX18" fmla="*/ 3289067 w 5503544"/>
                <a:gd name="connsiteY18" fmla="*/ 2866435 h 4965359"/>
                <a:gd name="connsiteX19" fmla="*/ 3289067 w 5503544"/>
                <a:gd name="connsiteY19" fmla="*/ 2995336 h 4965359"/>
                <a:gd name="connsiteX20" fmla="*/ 4478270 w 5503544"/>
                <a:gd name="connsiteY20" fmla="*/ 2995336 h 4965359"/>
                <a:gd name="connsiteX21" fmla="*/ 4478270 w 5503544"/>
                <a:gd name="connsiteY21" fmla="*/ 3403717 h 4965359"/>
                <a:gd name="connsiteX22" fmla="*/ 3289067 w 5503544"/>
                <a:gd name="connsiteY22" fmla="*/ 3403717 h 4965359"/>
                <a:gd name="connsiteX23" fmla="*/ 3289067 w 5503544"/>
                <a:gd name="connsiteY23" fmla="*/ 3532619 h 4965359"/>
                <a:gd name="connsiteX24" fmla="*/ 3761893 w 5503544"/>
                <a:gd name="connsiteY24" fmla="*/ 3532619 h 4965359"/>
                <a:gd name="connsiteX25" fmla="*/ 3761893 w 5503544"/>
                <a:gd name="connsiteY25" fmla="*/ 4900915 h 4965359"/>
                <a:gd name="connsiteX26" fmla="*/ 3826337 w 5503544"/>
                <a:gd name="connsiteY26" fmla="*/ 4965360 h 4965359"/>
                <a:gd name="connsiteX27" fmla="*/ 5438172 w 5503544"/>
                <a:gd name="connsiteY27" fmla="*/ 4965360 h 4965359"/>
                <a:gd name="connsiteX28" fmla="*/ 5502616 w 5503544"/>
                <a:gd name="connsiteY28" fmla="*/ 4900915 h 4965359"/>
                <a:gd name="connsiteX29" fmla="*/ 5502616 w 5503544"/>
                <a:gd name="connsiteY29" fmla="*/ 2035408 h 4965359"/>
                <a:gd name="connsiteX30" fmla="*/ 5438172 w 5503544"/>
                <a:gd name="connsiteY30" fmla="*/ 1970964 h 4965359"/>
                <a:gd name="connsiteX31" fmla="*/ 5373728 w 5503544"/>
                <a:gd name="connsiteY31" fmla="*/ 4836446 h 4965359"/>
                <a:gd name="connsiteX32" fmla="*/ 3890794 w 5503544"/>
                <a:gd name="connsiteY32" fmla="*/ 4836446 h 4965359"/>
                <a:gd name="connsiteX33" fmla="*/ 3890794 w 5503544"/>
                <a:gd name="connsiteY33" fmla="*/ 4428064 h 4965359"/>
                <a:gd name="connsiteX34" fmla="*/ 5373728 w 5503544"/>
                <a:gd name="connsiteY34" fmla="*/ 4428064 h 4965359"/>
                <a:gd name="connsiteX35" fmla="*/ 5373728 w 5503544"/>
                <a:gd name="connsiteY35" fmla="*/ 4836446 h 4965359"/>
                <a:gd name="connsiteX36" fmla="*/ 5373728 w 5503544"/>
                <a:gd name="connsiteY36" fmla="*/ 4299176 h 4965359"/>
                <a:gd name="connsiteX37" fmla="*/ 3890794 w 5503544"/>
                <a:gd name="connsiteY37" fmla="*/ 4299176 h 4965359"/>
                <a:gd name="connsiteX38" fmla="*/ 3890794 w 5503544"/>
                <a:gd name="connsiteY38" fmla="*/ 3532606 h 4965359"/>
                <a:gd name="connsiteX39" fmla="*/ 4542714 w 5503544"/>
                <a:gd name="connsiteY39" fmla="*/ 3532606 h 4965359"/>
                <a:gd name="connsiteX40" fmla="*/ 4607158 w 5503544"/>
                <a:gd name="connsiteY40" fmla="*/ 3468162 h 4965359"/>
                <a:gd name="connsiteX41" fmla="*/ 4607158 w 5503544"/>
                <a:gd name="connsiteY41" fmla="*/ 2099865 h 4965359"/>
                <a:gd name="connsiteX42" fmla="*/ 5373728 w 5503544"/>
                <a:gd name="connsiteY42" fmla="*/ 2099865 h 4965359"/>
                <a:gd name="connsiteX43" fmla="*/ 5373728 w 5503544"/>
                <a:gd name="connsiteY43" fmla="*/ 4299176 h 4965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503544" h="4965359">
                  <a:moveTo>
                    <a:pt x="5438172" y="1970964"/>
                  </a:moveTo>
                  <a:lnTo>
                    <a:pt x="4607158" y="1970964"/>
                  </a:lnTo>
                  <a:lnTo>
                    <a:pt x="4607158" y="65385"/>
                  </a:lnTo>
                  <a:cubicBezTo>
                    <a:pt x="4607158" y="29795"/>
                    <a:pt x="4578304" y="941"/>
                    <a:pt x="4542714" y="941"/>
                  </a:cubicBezTo>
                  <a:lnTo>
                    <a:pt x="65385" y="941"/>
                  </a:lnTo>
                  <a:cubicBezTo>
                    <a:pt x="29795" y="941"/>
                    <a:pt x="941" y="29795"/>
                    <a:pt x="941" y="65385"/>
                  </a:cubicBezTo>
                  <a:lnTo>
                    <a:pt x="941" y="3468162"/>
                  </a:lnTo>
                  <a:cubicBezTo>
                    <a:pt x="941" y="3503752"/>
                    <a:pt x="29795" y="3532606"/>
                    <a:pt x="65385" y="3532606"/>
                  </a:cubicBezTo>
                  <a:lnTo>
                    <a:pt x="1139938" y="3532606"/>
                  </a:lnTo>
                  <a:lnTo>
                    <a:pt x="1139938" y="3403705"/>
                  </a:lnTo>
                  <a:lnTo>
                    <a:pt x="129842" y="3403705"/>
                  </a:lnTo>
                  <a:lnTo>
                    <a:pt x="129842" y="2995323"/>
                  </a:lnTo>
                  <a:lnTo>
                    <a:pt x="1139950" y="2995323"/>
                  </a:lnTo>
                  <a:lnTo>
                    <a:pt x="1139950" y="2866422"/>
                  </a:lnTo>
                  <a:lnTo>
                    <a:pt x="129842" y="2866422"/>
                  </a:lnTo>
                  <a:lnTo>
                    <a:pt x="129842" y="129842"/>
                  </a:lnTo>
                  <a:lnTo>
                    <a:pt x="4478270" y="129842"/>
                  </a:lnTo>
                  <a:lnTo>
                    <a:pt x="4478270" y="2866435"/>
                  </a:lnTo>
                  <a:lnTo>
                    <a:pt x="3289067" y="2866435"/>
                  </a:lnTo>
                  <a:lnTo>
                    <a:pt x="3289067" y="2995336"/>
                  </a:lnTo>
                  <a:lnTo>
                    <a:pt x="4478270" y="2995336"/>
                  </a:lnTo>
                  <a:lnTo>
                    <a:pt x="4478270" y="3403717"/>
                  </a:lnTo>
                  <a:lnTo>
                    <a:pt x="3289067" y="3403717"/>
                  </a:lnTo>
                  <a:lnTo>
                    <a:pt x="3289067" y="3532619"/>
                  </a:lnTo>
                  <a:lnTo>
                    <a:pt x="3761893" y="3532619"/>
                  </a:lnTo>
                  <a:lnTo>
                    <a:pt x="3761893" y="4900915"/>
                  </a:lnTo>
                  <a:cubicBezTo>
                    <a:pt x="3761893" y="4936506"/>
                    <a:pt x="3790747" y="4965360"/>
                    <a:pt x="3826337" y="4965360"/>
                  </a:cubicBezTo>
                  <a:lnTo>
                    <a:pt x="5438172" y="4965360"/>
                  </a:lnTo>
                  <a:cubicBezTo>
                    <a:pt x="5473762" y="4965360"/>
                    <a:pt x="5502616" y="4936506"/>
                    <a:pt x="5502616" y="4900915"/>
                  </a:cubicBezTo>
                  <a:lnTo>
                    <a:pt x="5502616" y="2035408"/>
                  </a:lnTo>
                  <a:cubicBezTo>
                    <a:pt x="5502629" y="1999818"/>
                    <a:pt x="5473762" y="1970964"/>
                    <a:pt x="5438172" y="1970964"/>
                  </a:cubicBezTo>
                  <a:close/>
                  <a:moveTo>
                    <a:pt x="5373728" y="4836446"/>
                  </a:moveTo>
                  <a:lnTo>
                    <a:pt x="3890794" y="4836446"/>
                  </a:lnTo>
                  <a:lnTo>
                    <a:pt x="3890794" y="4428064"/>
                  </a:lnTo>
                  <a:lnTo>
                    <a:pt x="5373728" y="4428064"/>
                  </a:lnTo>
                  <a:lnTo>
                    <a:pt x="5373728" y="4836446"/>
                  </a:lnTo>
                  <a:close/>
                  <a:moveTo>
                    <a:pt x="5373728" y="4299176"/>
                  </a:moveTo>
                  <a:lnTo>
                    <a:pt x="3890794" y="4299176"/>
                  </a:lnTo>
                  <a:lnTo>
                    <a:pt x="3890794" y="3532606"/>
                  </a:lnTo>
                  <a:lnTo>
                    <a:pt x="4542714" y="3532606"/>
                  </a:lnTo>
                  <a:cubicBezTo>
                    <a:pt x="4578304" y="3532606"/>
                    <a:pt x="4607158" y="3503752"/>
                    <a:pt x="4607158" y="3468162"/>
                  </a:cubicBezTo>
                  <a:lnTo>
                    <a:pt x="4607158" y="2099865"/>
                  </a:lnTo>
                  <a:lnTo>
                    <a:pt x="5373728" y="2099865"/>
                  </a:lnTo>
                  <a:lnTo>
                    <a:pt x="5373728" y="4299176"/>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1" name="Freeform: Shape 20">
              <a:extLst>
                <a:ext uri="{FF2B5EF4-FFF2-40B4-BE49-F238E27FC236}">
                  <a16:creationId xmlns:a16="http://schemas.microsoft.com/office/drawing/2014/main" id="{A5EF0FFE-9B06-4D67-85B7-BC3E49B0833A}"/>
                </a:ext>
              </a:extLst>
            </p:cNvPr>
            <p:cNvSpPr/>
            <p:nvPr/>
          </p:nvSpPr>
          <p:spPr>
            <a:xfrm>
              <a:off x="-4451478" y="2148164"/>
              <a:ext cx="1563122" cy="2995775"/>
            </a:xfrm>
            <a:custGeom>
              <a:avLst/>
              <a:gdLst>
                <a:gd name="connsiteX0" fmla="*/ 1319383 w 1563122"/>
                <a:gd name="connsiteY0" fmla="*/ 1033530 h 2995775"/>
                <a:gd name="connsiteX1" fmla="*/ 1191272 w 1563122"/>
                <a:gd name="connsiteY1" fmla="*/ 1071128 h 2995775"/>
                <a:gd name="connsiteX2" fmla="*/ 960931 w 1563122"/>
                <a:gd name="connsiteY2" fmla="*/ 901304 h 2995775"/>
                <a:gd name="connsiteX3" fmla="*/ 815245 w 1563122"/>
                <a:gd name="connsiteY3" fmla="*/ 950883 h 2995775"/>
                <a:gd name="connsiteX4" fmla="*/ 602567 w 1563122"/>
                <a:gd name="connsiteY4" fmla="*/ 821982 h 2995775"/>
                <a:gd name="connsiteX5" fmla="*/ 487842 w 1563122"/>
                <a:gd name="connsiteY5" fmla="*/ 851626 h 2995775"/>
                <a:gd name="connsiteX6" fmla="*/ 487315 w 1563122"/>
                <a:gd name="connsiteY6" fmla="*/ 251128 h 2995775"/>
                <a:gd name="connsiteX7" fmla="*/ 244128 w 1563122"/>
                <a:gd name="connsiteY7" fmla="*/ 941 h 2995775"/>
                <a:gd name="connsiteX8" fmla="*/ 941 w 1563122"/>
                <a:gd name="connsiteY8" fmla="*/ 251128 h 2995775"/>
                <a:gd name="connsiteX9" fmla="*/ 941 w 1563122"/>
                <a:gd name="connsiteY9" fmla="*/ 2186251 h 2995775"/>
                <a:gd name="connsiteX10" fmla="*/ 782201 w 1563122"/>
                <a:gd name="connsiteY10" fmla="*/ 2995324 h 2995775"/>
                <a:gd name="connsiteX11" fmla="*/ 1562583 w 1563122"/>
                <a:gd name="connsiteY11" fmla="*/ 2186251 h 2995775"/>
                <a:gd name="connsiteX12" fmla="*/ 1562583 w 1563122"/>
                <a:gd name="connsiteY12" fmla="*/ 1283705 h 2995775"/>
                <a:gd name="connsiteX13" fmla="*/ 1319383 w 1563122"/>
                <a:gd name="connsiteY13" fmla="*/ 1033530 h 2995775"/>
                <a:gd name="connsiteX14" fmla="*/ 1433669 w 1563122"/>
                <a:gd name="connsiteY14" fmla="*/ 2186264 h 2995775"/>
                <a:gd name="connsiteX15" fmla="*/ 782188 w 1563122"/>
                <a:gd name="connsiteY15" fmla="*/ 2866435 h 2995775"/>
                <a:gd name="connsiteX16" fmla="*/ 129829 w 1563122"/>
                <a:gd name="connsiteY16" fmla="*/ 2186264 h 2995775"/>
                <a:gd name="connsiteX17" fmla="*/ 129829 w 1563122"/>
                <a:gd name="connsiteY17" fmla="*/ 251141 h 2995775"/>
                <a:gd name="connsiteX18" fmla="*/ 244128 w 1563122"/>
                <a:gd name="connsiteY18" fmla="*/ 129855 h 2995775"/>
                <a:gd name="connsiteX19" fmla="*/ 358427 w 1563122"/>
                <a:gd name="connsiteY19" fmla="*/ 251241 h 2995775"/>
                <a:gd name="connsiteX20" fmla="*/ 359393 w 1563122"/>
                <a:gd name="connsiteY20" fmla="*/ 1498076 h 2995775"/>
                <a:gd name="connsiteX21" fmla="*/ 423837 w 1563122"/>
                <a:gd name="connsiteY21" fmla="*/ 1562432 h 2995775"/>
                <a:gd name="connsiteX22" fmla="*/ 488281 w 1563122"/>
                <a:gd name="connsiteY22" fmla="*/ 1497988 h 2995775"/>
                <a:gd name="connsiteX23" fmla="*/ 488281 w 1563122"/>
                <a:gd name="connsiteY23" fmla="*/ 1072207 h 2995775"/>
                <a:gd name="connsiteX24" fmla="*/ 602580 w 1563122"/>
                <a:gd name="connsiteY24" fmla="*/ 950920 h 2995775"/>
                <a:gd name="connsiteX25" fmla="*/ 716878 w 1563122"/>
                <a:gd name="connsiteY25" fmla="*/ 1072207 h 2995775"/>
                <a:gd name="connsiteX26" fmla="*/ 716878 w 1563122"/>
                <a:gd name="connsiteY26" fmla="*/ 1072382 h 2995775"/>
                <a:gd name="connsiteX27" fmla="*/ 717757 w 1563122"/>
                <a:gd name="connsiteY27" fmla="*/ 1498164 h 2995775"/>
                <a:gd name="connsiteX28" fmla="*/ 782201 w 1563122"/>
                <a:gd name="connsiteY28" fmla="*/ 1562445 h 2995775"/>
                <a:gd name="connsiteX29" fmla="*/ 782289 w 1563122"/>
                <a:gd name="connsiteY29" fmla="*/ 1562445 h 2995775"/>
                <a:gd name="connsiteX30" fmla="*/ 846645 w 1563122"/>
                <a:gd name="connsiteY30" fmla="*/ 1497913 h 2995775"/>
                <a:gd name="connsiteX31" fmla="*/ 845943 w 1563122"/>
                <a:gd name="connsiteY31" fmla="*/ 1151529 h 2995775"/>
                <a:gd name="connsiteX32" fmla="*/ 960931 w 1563122"/>
                <a:gd name="connsiteY32" fmla="*/ 1030243 h 2995775"/>
                <a:gd name="connsiteX33" fmla="*/ 1075230 w 1563122"/>
                <a:gd name="connsiteY33" fmla="*/ 1151705 h 2995775"/>
                <a:gd name="connsiteX34" fmla="*/ 1076196 w 1563122"/>
                <a:gd name="connsiteY34" fmla="*/ 1498176 h 2995775"/>
                <a:gd name="connsiteX35" fmla="*/ 1140640 w 1563122"/>
                <a:gd name="connsiteY35" fmla="*/ 1562457 h 2995775"/>
                <a:gd name="connsiteX36" fmla="*/ 1140728 w 1563122"/>
                <a:gd name="connsiteY36" fmla="*/ 1562457 h 2995775"/>
                <a:gd name="connsiteX37" fmla="*/ 1205084 w 1563122"/>
                <a:gd name="connsiteY37" fmla="*/ 1498013 h 2995775"/>
                <a:gd name="connsiteX38" fmla="*/ 1205084 w 1563122"/>
                <a:gd name="connsiteY38" fmla="*/ 1283767 h 2995775"/>
                <a:gd name="connsiteX39" fmla="*/ 1319383 w 1563122"/>
                <a:gd name="connsiteY39" fmla="*/ 1162481 h 2995775"/>
                <a:gd name="connsiteX40" fmla="*/ 1433681 w 1563122"/>
                <a:gd name="connsiteY40" fmla="*/ 1283767 h 2995775"/>
                <a:gd name="connsiteX41" fmla="*/ 1433681 w 1563122"/>
                <a:gd name="connsiteY41" fmla="*/ 2186264 h 299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63122" h="2995775">
                  <a:moveTo>
                    <a:pt x="1319383" y="1033530"/>
                  </a:moveTo>
                  <a:cubicBezTo>
                    <a:pt x="1272427" y="1033530"/>
                    <a:pt x="1228519" y="1047254"/>
                    <a:pt x="1191272" y="1071128"/>
                  </a:cubicBezTo>
                  <a:cubicBezTo>
                    <a:pt x="1158655" y="972485"/>
                    <a:pt x="1067715" y="901304"/>
                    <a:pt x="960931" y="901304"/>
                  </a:cubicBezTo>
                  <a:cubicBezTo>
                    <a:pt x="906360" y="901304"/>
                    <a:pt x="855903" y="919758"/>
                    <a:pt x="815245" y="950883"/>
                  </a:cubicBezTo>
                  <a:cubicBezTo>
                    <a:pt x="773708" y="874107"/>
                    <a:pt x="693959" y="821982"/>
                    <a:pt x="602567" y="821982"/>
                  </a:cubicBezTo>
                  <a:cubicBezTo>
                    <a:pt x="561118" y="821982"/>
                    <a:pt x="522028" y="832745"/>
                    <a:pt x="487842" y="851626"/>
                  </a:cubicBezTo>
                  <a:lnTo>
                    <a:pt x="487315" y="251128"/>
                  </a:lnTo>
                  <a:cubicBezTo>
                    <a:pt x="487315" y="113132"/>
                    <a:pt x="378273" y="941"/>
                    <a:pt x="244128" y="941"/>
                  </a:cubicBezTo>
                  <a:cubicBezTo>
                    <a:pt x="109983" y="941"/>
                    <a:pt x="941" y="113132"/>
                    <a:pt x="941" y="251128"/>
                  </a:cubicBezTo>
                  <a:lnTo>
                    <a:pt x="941" y="2186251"/>
                  </a:lnTo>
                  <a:cubicBezTo>
                    <a:pt x="941" y="2632418"/>
                    <a:pt x="351426" y="2995324"/>
                    <a:pt x="782201" y="2995324"/>
                  </a:cubicBezTo>
                  <a:cubicBezTo>
                    <a:pt x="1212536" y="2995324"/>
                    <a:pt x="1562583" y="2632418"/>
                    <a:pt x="1562583" y="2186251"/>
                  </a:cubicBezTo>
                  <a:lnTo>
                    <a:pt x="1562583" y="1283705"/>
                  </a:lnTo>
                  <a:cubicBezTo>
                    <a:pt x="1562570" y="1145733"/>
                    <a:pt x="1453528" y="1033530"/>
                    <a:pt x="1319383" y="1033530"/>
                  </a:cubicBezTo>
                  <a:close/>
                  <a:moveTo>
                    <a:pt x="1433669" y="2186264"/>
                  </a:moveTo>
                  <a:cubicBezTo>
                    <a:pt x="1433669" y="2561325"/>
                    <a:pt x="1141418" y="2866435"/>
                    <a:pt x="782188" y="2866435"/>
                  </a:cubicBezTo>
                  <a:cubicBezTo>
                    <a:pt x="422520" y="2866435"/>
                    <a:pt x="129829" y="2561325"/>
                    <a:pt x="129829" y="2186264"/>
                  </a:cubicBezTo>
                  <a:lnTo>
                    <a:pt x="129829" y="251141"/>
                  </a:lnTo>
                  <a:cubicBezTo>
                    <a:pt x="129829" y="184250"/>
                    <a:pt x="181076" y="129855"/>
                    <a:pt x="244128" y="129855"/>
                  </a:cubicBezTo>
                  <a:cubicBezTo>
                    <a:pt x="307180" y="129855"/>
                    <a:pt x="358427" y="184250"/>
                    <a:pt x="358427" y="251241"/>
                  </a:cubicBezTo>
                  <a:lnTo>
                    <a:pt x="359393" y="1498076"/>
                  </a:lnTo>
                  <a:cubicBezTo>
                    <a:pt x="359393" y="1533666"/>
                    <a:pt x="388247" y="1562432"/>
                    <a:pt x="423837" y="1562432"/>
                  </a:cubicBezTo>
                  <a:cubicBezTo>
                    <a:pt x="459428" y="1562432"/>
                    <a:pt x="488281" y="1533579"/>
                    <a:pt x="488281" y="1497988"/>
                  </a:cubicBezTo>
                  <a:lnTo>
                    <a:pt x="488281" y="1072207"/>
                  </a:lnTo>
                  <a:cubicBezTo>
                    <a:pt x="488281" y="1005316"/>
                    <a:pt x="539528" y="950920"/>
                    <a:pt x="602580" y="950920"/>
                  </a:cubicBezTo>
                  <a:cubicBezTo>
                    <a:pt x="665632" y="950920"/>
                    <a:pt x="716878" y="1005316"/>
                    <a:pt x="716878" y="1072207"/>
                  </a:cubicBezTo>
                  <a:cubicBezTo>
                    <a:pt x="716878" y="1072295"/>
                    <a:pt x="716878" y="1072295"/>
                    <a:pt x="716878" y="1072382"/>
                  </a:cubicBezTo>
                  <a:lnTo>
                    <a:pt x="717757" y="1498164"/>
                  </a:lnTo>
                  <a:cubicBezTo>
                    <a:pt x="717844" y="1533666"/>
                    <a:pt x="746610" y="1562445"/>
                    <a:pt x="782201" y="1562445"/>
                  </a:cubicBezTo>
                  <a:lnTo>
                    <a:pt x="782289" y="1562445"/>
                  </a:lnTo>
                  <a:cubicBezTo>
                    <a:pt x="817967" y="1562357"/>
                    <a:pt x="846733" y="1533503"/>
                    <a:pt x="846645" y="1497913"/>
                  </a:cubicBezTo>
                  <a:lnTo>
                    <a:pt x="845943" y="1151529"/>
                  </a:lnTo>
                  <a:cubicBezTo>
                    <a:pt x="845943" y="1084639"/>
                    <a:pt x="897541" y="1030243"/>
                    <a:pt x="960931" y="1030243"/>
                  </a:cubicBezTo>
                  <a:cubicBezTo>
                    <a:pt x="1023983" y="1030243"/>
                    <a:pt x="1075230" y="1084639"/>
                    <a:pt x="1075230" y="1151705"/>
                  </a:cubicBezTo>
                  <a:lnTo>
                    <a:pt x="1076196" y="1498176"/>
                  </a:lnTo>
                  <a:cubicBezTo>
                    <a:pt x="1076284" y="1533679"/>
                    <a:pt x="1105137" y="1562457"/>
                    <a:pt x="1140640" y="1562457"/>
                  </a:cubicBezTo>
                  <a:lnTo>
                    <a:pt x="1140728" y="1562457"/>
                  </a:lnTo>
                  <a:cubicBezTo>
                    <a:pt x="1176318" y="1562457"/>
                    <a:pt x="1205084" y="1533604"/>
                    <a:pt x="1205084" y="1498013"/>
                  </a:cubicBezTo>
                  <a:lnTo>
                    <a:pt x="1205084" y="1283767"/>
                  </a:lnTo>
                  <a:cubicBezTo>
                    <a:pt x="1205084" y="1216877"/>
                    <a:pt x="1256331" y="1162481"/>
                    <a:pt x="1319383" y="1162481"/>
                  </a:cubicBezTo>
                  <a:cubicBezTo>
                    <a:pt x="1382435" y="1162481"/>
                    <a:pt x="1433681" y="1216877"/>
                    <a:pt x="1433681" y="1283767"/>
                  </a:cubicBezTo>
                  <a:lnTo>
                    <a:pt x="1433681" y="2186264"/>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grpSp>
      <p:grpSp>
        <p:nvGrpSpPr>
          <p:cNvPr id="13" name="Graphic 11">
            <a:extLst>
              <a:ext uri="{FF2B5EF4-FFF2-40B4-BE49-F238E27FC236}">
                <a16:creationId xmlns:a16="http://schemas.microsoft.com/office/drawing/2014/main" id="{E2609AF3-E46C-4724-AC76-F60679D47A3B}"/>
              </a:ext>
            </a:extLst>
          </p:cNvPr>
          <p:cNvGrpSpPr/>
          <p:nvPr/>
        </p:nvGrpSpPr>
        <p:grpSpPr>
          <a:xfrm>
            <a:off x="3298085" y="1776818"/>
            <a:ext cx="699116" cy="793172"/>
            <a:chOff x="-5531943" y="0"/>
            <a:chExt cx="4533579" cy="5143500"/>
          </a:xfrm>
          <a:solidFill>
            <a:schemeClr val="tx2"/>
          </a:solidFill>
        </p:grpSpPr>
        <p:sp>
          <p:nvSpPr>
            <p:cNvPr id="14" name="Freeform: Shape 13">
              <a:extLst>
                <a:ext uri="{FF2B5EF4-FFF2-40B4-BE49-F238E27FC236}">
                  <a16:creationId xmlns:a16="http://schemas.microsoft.com/office/drawing/2014/main" id="{57E55C95-ED5D-4CEC-BE7E-381365A623B4}"/>
                </a:ext>
              </a:extLst>
            </p:cNvPr>
            <p:cNvSpPr/>
            <p:nvPr/>
          </p:nvSpPr>
          <p:spPr>
            <a:xfrm>
              <a:off x="-5532900" y="-957"/>
              <a:ext cx="4534855" cy="5144776"/>
            </a:xfrm>
            <a:custGeom>
              <a:avLst/>
              <a:gdLst>
                <a:gd name="connsiteX0" fmla="*/ 4526102 w 4534854"/>
                <a:gd name="connsiteY0" fmla="*/ 5053773 h 5144775"/>
                <a:gd name="connsiteX1" fmla="*/ 3982404 w 4534854"/>
                <a:gd name="connsiteY1" fmla="*/ 4112019 h 5144775"/>
                <a:gd name="connsiteX2" fmla="*/ 3877875 w 4534854"/>
                <a:gd name="connsiteY2" fmla="*/ 4112019 h 5144775"/>
                <a:gd name="connsiteX3" fmla="*/ 3623992 w 4534854"/>
                <a:gd name="connsiteY3" fmla="*/ 4551774 h 5144775"/>
                <a:gd name="connsiteX4" fmla="*/ 1063343 w 4534854"/>
                <a:gd name="connsiteY4" fmla="*/ 4551774 h 5144775"/>
                <a:gd name="connsiteX5" fmla="*/ 1063343 w 4534854"/>
                <a:gd name="connsiteY5" fmla="*/ 3730575 h 5144775"/>
                <a:gd name="connsiteX6" fmla="*/ 1944820 w 4534854"/>
                <a:gd name="connsiteY6" fmla="*/ 3730575 h 5144775"/>
                <a:gd name="connsiteX7" fmla="*/ 2005098 w 4534854"/>
                <a:gd name="connsiteY7" fmla="*/ 3670298 h 5144775"/>
                <a:gd name="connsiteX8" fmla="*/ 2005098 w 4534854"/>
                <a:gd name="connsiteY8" fmla="*/ 2631964 h 5144775"/>
                <a:gd name="connsiteX9" fmla="*/ 3398947 w 4534854"/>
                <a:gd name="connsiteY9" fmla="*/ 2631964 h 5144775"/>
                <a:gd name="connsiteX10" fmla="*/ 3398947 w 4534854"/>
                <a:gd name="connsiteY10" fmla="*/ 3043253 h 5144775"/>
                <a:gd name="connsiteX11" fmla="*/ 3459224 w 4534854"/>
                <a:gd name="connsiteY11" fmla="*/ 3103530 h 5144775"/>
                <a:gd name="connsiteX12" fmla="*/ 4401055 w 4534854"/>
                <a:gd name="connsiteY12" fmla="*/ 3103530 h 5144775"/>
                <a:gd name="connsiteX13" fmla="*/ 4461333 w 4534854"/>
                <a:gd name="connsiteY13" fmla="*/ 3043253 h 5144775"/>
                <a:gd name="connsiteX14" fmla="*/ 4461333 w 4534854"/>
                <a:gd name="connsiteY14" fmla="*/ 2101498 h 5144775"/>
                <a:gd name="connsiteX15" fmla="*/ 4401055 w 4534854"/>
                <a:gd name="connsiteY15" fmla="*/ 2041221 h 5144775"/>
                <a:gd name="connsiteX16" fmla="*/ 3459224 w 4534854"/>
                <a:gd name="connsiteY16" fmla="*/ 2041221 h 5144775"/>
                <a:gd name="connsiteX17" fmla="*/ 3398947 w 4534854"/>
                <a:gd name="connsiteY17" fmla="*/ 2101498 h 5144775"/>
                <a:gd name="connsiteX18" fmla="*/ 3398947 w 4534854"/>
                <a:gd name="connsiteY18" fmla="*/ 2511396 h 5144775"/>
                <a:gd name="connsiteX19" fmla="*/ 2005098 w 4534854"/>
                <a:gd name="connsiteY19" fmla="*/ 2511396 h 5144775"/>
                <a:gd name="connsiteX20" fmla="*/ 2005098 w 4534854"/>
                <a:gd name="connsiteY20" fmla="*/ 1472820 h 5144775"/>
                <a:gd name="connsiteX21" fmla="*/ 1944820 w 4534854"/>
                <a:gd name="connsiteY21" fmla="*/ 1412542 h 5144775"/>
                <a:gd name="connsiteX22" fmla="*/ 1063994 w 4534854"/>
                <a:gd name="connsiteY22" fmla="*/ 1412542 h 5144775"/>
                <a:gd name="connsiteX23" fmla="*/ 1063994 w 4534854"/>
                <a:gd name="connsiteY23" fmla="*/ 591445 h 5144775"/>
                <a:gd name="connsiteX24" fmla="*/ 3402609 w 4534854"/>
                <a:gd name="connsiteY24" fmla="*/ 592326 h 5144775"/>
                <a:gd name="connsiteX25" fmla="*/ 3930140 w 4534854"/>
                <a:gd name="connsiteY25" fmla="*/ 1063266 h 5144775"/>
                <a:gd name="connsiteX26" fmla="*/ 4461333 w 4534854"/>
                <a:gd name="connsiteY26" fmla="*/ 532073 h 5144775"/>
                <a:gd name="connsiteX27" fmla="*/ 3930140 w 4534854"/>
                <a:gd name="connsiteY27" fmla="*/ 957 h 5144775"/>
                <a:gd name="connsiteX28" fmla="*/ 3402621 w 4534854"/>
                <a:gd name="connsiteY28" fmla="*/ 471770 h 5144775"/>
                <a:gd name="connsiteX29" fmla="*/ 1003716 w 4534854"/>
                <a:gd name="connsiteY29" fmla="*/ 470813 h 5144775"/>
                <a:gd name="connsiteX30" fmla="*/ 961098 w 4534854"/>
                <a:gd name="connsiteY30" fmla="*/ 488473 h 5144775"/>
                <a:gd name="connsiteX31" fmla="*/ 943439 w 4534854"/>
                <a:gd name="connsiteY31" fmla="*/ 531078 h 5144775"/>
                <a:gd name="connsiteX32" fmla="*/ 943439 w 4534854"/>
                <a:gd name="connsiteY32" fmla="*/ 1412555 h 5144775"/>
                <a:gd name="connsiteX33" fmla="*/ 61235 w 4534854"/>
                <a:gd name="connsiteY33" fmla="*/ 1412555 h 5144775"/>
                <a:gd name="connsiteX34" fmla="*/ 957 w 4534854"/>
                <a:gd name="connsiteY34" fmla="*/ 1472833 h 5144775"/>
                <a:gd name="connsiteX35" fmla="*/ 957 w 4534854"/>
                <a:gd name="connsiteY35" fmla="*/ 3670310 h 5144775"/>
                <a:gd name="connsiteX36" fmla="*/ 61235 w 4534854"/>
                <a:gd name="connsiteY36" fmla="*/ 3730588 h 5144775"/>
                <a:gd name="connsiteX37" fmla="*/ 942788 w 4534854"/>
                <a:gd name="connsiteY37" fmla="*/ 3730588 h 5144775"/>
                <a:gd name="connsiteX38" fmla="*/ 942788 w 4534854"/>
                <a:gd name="connsiteY38" fmla="*/ 4612065 h 5144775"/>
                <a:gd name="connsiteX39" fmla="*/ 1003066 w 4534854"/>
                <a:gd name="connsiteY39" fmla="*/ 4672342 h 5144775"/>
                <a:gd name="connsiteX40" fmla="*/ 3554400 w 4534854"/>
                <a:gd name="connsiteY40" fmla="*/ 4672342 h 5144775"/>
                <a:gd name="connsiteX41" fmla="*/ 3334178 w 4534854"/>
                <a:gd name="connsiteY41" fmla="*/ 5053786 h 5144775"/>
                <a:gd name="connsiteX42" fmla="*/ 3334254 w 4534854"/>
                <a:gd name="connsiteY42" fmla="*/ 5114140 h 5144775"/>
                <a:gd name="connsiteX43" fmla="*/ 3386429 w 4534854"/>
                <a:gd name="connsiteY43" fmla="*/ 5144240 h 5144775"/>
                <a:gd name="connsiteX44" fmla="*/ 4473837 w 4534854"/>
                <a:gd name="connsiteY44" fmla="*/ 5144240 h 5144775"/>
                <a:gd name="connsiteX45" fmla="*/ 4526013 w 4534854"/>
                <a:gd name="connsiteY45" fmla="*/ 5114140 h 5144775"/>
                <a:gd name="connsiteX46" fmla="*/ 4526102 w 4534854"/>
                <a:gd name="connsiteY46" fmla="*/ 5053773 h 5144775"/>
                <a:gd name="connsiteX47" fmla="*/ 3519502 w 4534854"/>
                <a:gd name="connsiteY47" fmla="*/ 2161788 h 5144775"/>
                <a:gd name="connsiteX48" fmla="*/ 4340778 w 4534854"/>
                <a:gd name="connsiteY48" fmla="*/ 2161788 h 5144775"/>
                <a:gd name="connsiteX49" fmla="*/ 4340778 w 4534854"/>
                <a:gd name="connsiteY49" fmla="*/ 2982988 h 5144775"/>
                <a:gd name="connsiteX50" fmla="*/ 3519502 w 4534854"/>
                <a:gd name="connsiteY50" fmla="*/ 2982988 h 5144775"/>
                <a:gd name="connsiteX51" fmla="*/ 3519502 w 4534854"/>
                <a:gd name="connsiteY51" fmla="*/ 2161788 h 5144775"/>
                <a:gd name="connsiteX52" fmla="*/ 3930140 w 4534854"/>
                <a:gd name="connsiteY52" fmla="*/ 121512 h 5144775"/>
                <a:gd name="connsiteX53" fmla="*/ 4340778 w 4534854"/>
                <a:gd name="connsiteY53" fmla="*/ 532073 h 5144775"/>
                <a:gd name="connsiteX54" fmla="*/ 3930140 w 4534854"/>
                <a:gd name="connsiteY54" fmla="*/ 942711 h 5144775"/>
                <a:gd name="connsiteX55" fmla="*/ 3519502 w 4534854"/>
                <a:gd name="connsiteY55" fmla="*/ 532073 h 5144775"/>
                <a:gd name="connsiteX56" fmla="*/ 3930140 w 4534854"/>
                <a:gd name="connsiteY56" fmla="*/ 121512 h 5144775"/>
                <a:gd name="connsiteX57" fmla="*/ 121512 w 4534854"/>
                <a:gd name="connsiteY57" fmla="*/ 1533110 h 5144775"/>
                <a:gd name="connsiteX58" fmla="*/ 1884542 w 4534854"/>
                <a:gd name="connsiteY58" fmla="*/ 1533110 h 5144775"/>
                <a:gd name="connsiteX59" fmla="*/ 1884542 w 4534854"/>
                <a:gd name="connsiteY59" fmla="*/ 3610033 h 5144775"/>
                <a:gd name="connsiteX60" fmla="*/ 121512 w 4534854"/>
                <a:gd name="connsiteY60" fmla="*/ 3610033 h 5144775"/>
                <a:gd name="connsiteX61" fmla="*/ 121512 w 4534854"/>
                <a:gd name="connsiteY61" fmla="*/ 1533110 h 5144775"/>
                <a:gd name="connsiteX62" fmla="*/ 3490882 w 4534854"/>
                <a:gd name="connsiteY62" fmla="*/ 5023685 h 5144775"/>
                <a:gd name="connsiteX63" fmla="*/ 3930140 w 4534854"/>
                <a:gd name="connsiteY63" fmla="*/ 4262840 h 5144775"/>
                <a:gd name="connsiteX64" fmla="*/ 4369398 w 4534854"/>
                <a:gd name="connsiteY64" fmla="*/ 5023685 h 5144775"/>
                <a:gd name="connsiteX65" fmla="*/ 3490882 w 4534854"/>
                <a:gd name="connsiteY65" fmla="*/ 5023685 h 514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534854" h="5144775">
                  <a:moveTo>
                    <a:pt x="4526102" y="5053773"/>
                  </a:moveTo>
                  <a:lnTo>
                    <a:pt x="3982404" y="4112019"/>
                  </a:lnTo>
                  <a:cubicBezTo>
                    <a:pt x="3960815" y="4074721"/>
                    <a:pt x="3899478" y="4074721"/>
                    <a:pt x="3877875" y="4112019"/>
                  </a:cubicBezTo>
                  <a:lnTo>
                    <a:pt x="3623992" y="4551774"/>
                  </a:lnTo>
                  <a:lnTo>
                    <a:pt x="1063343" y="4551774"/>
                  </a:lnTo>
                  <a:lnTo>
                    <a:pt x="1063343" y="3730575"/>
                  </a:lnTo>
                  <a:lnTo>
                    <a:pt x="1944820" y="3730575"/>
                  </a:lnTo>
                  <a:cubicBezTo>
                    <a:pt x="1978110" y="3730575"/>
                    <a:pt x="2005098" y="3703588"/>
                    <a:pt x="2005098" y="3670298"/>
                  </a:cubicBezTo>
                  <a:lnTo>
                    <a:pt x="2005098" y="2631964"/>
                  </a:lnTo>
                  <a:lnTo>
                    <a:pt x="3398947" y="2631964"/>
                  </a:lnTo>
                  <a:lnTo>
                    <a:pt x="3398947" y="3043253"/>
                  </a:lnTo>
                  <a:cubicBezTo>
                    <a:pt x="3398947" y="3076543"/>
                    <a:pt x="3425934" y="3103530"/>
                    <a:pt x="3459224" y="3103530"/>
                  </a:cubicBezTo>
                  <a:lnTo>
                    <a:pt x="4401055" y="3103530"/>
                  </a:lnTo>
                  <a:cubicBezTo>
                    <a:pt x="4434346" y="3103530"/>
                    <a:pt x="4461333" y="3076543"/>
                    <a:pt x="4461333" y="3043253"/>
                  </a:cubicBezTo>
                  <a:lnTo>
                    <a:pt x="4461333" y="2101498"/>
                  </a:lnTo>
                  <a:cubicBezTo>
                    <a:pt x="4461333" y="2068208"/>
                    <a:pt x="4434346" y="2041221"/>
                    <a:pt x="4401055" y="2041221"/>
                  </a:cubicBezTo>
                  <a:lnTo>
                    <a:pt x="3459224" y="2041221"/>
                  </a:lnTo>
                  <a:cubicBezTo>
                    <a:pt x="3425934" y="2041221"/>
                    <a:pt x="3398947" y="2068208"/>
                    <a:pt x="3398947" y="2101498"/>
                  </a:cubicBezTo>
                  <a:lnTo>
                    <a:pt x="3398947" y="2511396"/>
                  </a:lnTo>
                  <a:lnTo>
                    <a:pt x="2005098" y="2511396"/>
                  </a:lnTo>
                  <a:lnTo>
                    <a:pt x="2005098" y="1472820"/>
                  </a:lnTo>
                  <a:cubicBezTo>
                    <a:pt x="2005098" y="1439529"/>
                    <a:pt x="1978110" y="1412542"/>
                    <a:pt x="1944820" y="1412542"/>
                  </a:cubicBezTo>
                  <a:lnTo>
                    <a:pt x="1063994" y="1412542"/>
                  </a:lnTo>
                  <a:lnTo>
                    <a:pt x="1063994" y="591445"/>
                  </a:lnTo>
                  <a:lnTo>
                    <a:pt x="3402609" y="592326"/>
                  </a:lnTo>
                  <a:cubicBezTo>
                    <a:pt x="3432645" y="856965"/>
                    <a:pt x="3657576" y="1063266"/>
                    <a:pt x="3930140" y="1063266"/>
                  </a:cubicBezTo>
                  <a:cubicBezTo>
                    <a:pt x="4223093" y="1063266"/>
                    <a:pt x="4461333" y="825027"/>
                    <a:pt x="4461333" y="532073"/>
                  </a:cubicBezTo>
                  <a:cubicBezTo>
                    <a:pt x="4461333" y="239196"/>
                    <a:pt x="4223093" y="957"/>
                    <a:pt x="3930140" y="957"/>
                  </a:cubicBezTo>
                  <a:cubicBezTo>
                    <a:pt x="3657602" y="957"/>
                    <a:pt x="3432696" y="207220"/>
                    <a:pt x="3402621" y="471770"/>
                  </a:cubicBezTo>
                  <a:lnTo>
                    <a:pt x="1003716" y="470813"/>
                  </a:lnTo>
                  <a:cubicBezTo>
                    <a:pt x="987766" y="470813"/>
                    <a:pt x="972391" y="477117"/>
                    <a:pt x="961098" y="488473"/>
                  </a:cubicBezTo>
                  <a:cubicBezTo>
                    <a:pt x="949729" y="499753"/>
                    <a:pt x="943439" y="515052"/>
                    <a:pt x="943439" y="531078"/>
                  </a:cubicBezTo>
                  <a:lnTo>
                    <a:pt x="943439" y="1412555"/>
                  </a:lnTo>
                  <a:lnTo>
                    <a:pt x="61235" y="1412555"/>
                  </a:lnTo>
                  <a:cubicBezTo>
                    <a:pt x="27944" y="1412555"/>
                    <a:pt x="957" y="1439542"/>
                    <a:pt x="957" y="1472833"/>
                  </a:cubicBezTo>
                  <a:lnTo>
                    <a:pt x="957" y="3670310"/>
                  </a:lnTo>
                  <a:cubicBezTo>
                    <a:pt x="957" y="3703601"/>
                    <a:pt x="27944" y="3730588"/>
                    <a:pt x="61235" y="3730588"/>
                  </a:cubicBezTo>
                  <a:lnTo>
                    <a:pt x="942788" y="3730588"/>
                  </a:lnTo>
                  <a:lnTo>
                    <a:pt x="942788" y="4612065"/>
                  </a:lnTo>
                  <a:cubicBezTo>
                    <a:pt x="942788" y="4645355"/>
                    <a:pt x="969775" y="4672342"/>
                    <a:pt x="1003066" y="4672342"/>
                  </a:cubicBezTo>
                  <a:lnTo>
                    <a:pt x="3554400" y="4672342"/>
                  </a:lnTo>
                  <a:lnTo>
                    <a:pt x="3334178" y="5053786"/>
                  </a:lnTo>
                  <a:cubicBezTo>
                    <a:pt x="3323459" y="5072441"/>
                    <a:pt x="3323459" y="5095498"/>
                    <a:pt x="3334254" y="5114140"/>
                  </a:cubicBezTo>
                  <a:cubicBezTo>
                    <a:pt x="3344972" y="5132795"/>
                    <a:pt x="3364929" y="5144240"/>
                    <a:pt x="3386429" y="5144240"/>
                  </a:cubicBezTo>
                  <a:lnTo>
                    <a:pt x="4473837" y="5144240"/>
                  </a:lnTo>
                  <a:cubicBezTo>
                    <a:pt x="4495351" y="5144240"/>
                    <a:pt x="4515307" y="5132795"/>
                    <a:pt x="4526013" y="5114140"/>
                  </a:cubicBezTo>
                  <a:cubicBezTo>
                    <a:pt x="4536820" y="5095498"/>
                    <a:pt x="4536820" y="5072428"/>
                    <a:pt x="4526102" y="5053773"/>
                  </a:cubicBezTo>
                  <a:close/>
                  <a:moveTo>
                    <a:pt x="3519502" y="2161788"/>
                  </a:moveTo>
                  <a:lnTo>
                    <a:pt x="4340778" y="2161788"/>
                  </a:lnTo>
                  <a:lnTo>
                    <a:pt x="4340778" y="2982988"/>
                  </a:lnTo>
                  <a:lnTo>
                    <a:pt x="3519502" y="2982988"/>
                  </a:lnTo>
                  <a:lnTo>
                    <a:pt x="3519502" y="2161788"/>
                  </a:lnTo>
                  <a:close/>
                  <a:moveTo>
                    <a:pt x="3930140" y="121512"/>
                  </a:moveTo>
                  <a:cubicBezTo>
                    <a:pt x="4156525" y="121512"/>
                    <a:pt x="4340778" y="305688"/>
                    <a:pt x="4340778" y="532073"/>
                  </a:cubicBezTo>
                  <a:cubicBezTo>
                    <a:pt x="4340778" y="758459"/>
                    <a:pt x="4156512" y="942711"/>
                    <a:pt x="3930140" y="942711"/>
                  </a:cubicBezTo>
                  <a:cubicBezTo>
                    <a:pt x="3703754" y="942711"/>
                    <a:pt x="3519502" y="758446"/>
                    <a:pt x="3519502" y="532073"/>
                  </a:cubicBezTo>
                  <a:cubicBezTo>
                    <a:pt x="3519502" y="305701"/>
                    <a:pt x="3703767" y="121512"/>
                    <a:pt x="3930140" y="121512"/>
                  </a:cubicBezTo>
                  <a:close/>
                  <a:moveTo>
                    <a:pt x="121512" y="1533110"/>
                  </a:moveTo>
                  <a:lnTo>
                    <a:pt x="1884542" y="1533110"/>
                  </a:lnTo>
                  <a:lnTo>
                    <a:pt x="1884542" y="3610033"/>
                  </a:lnTo>
                  <a:lnTo>
                    <a:pt x="121512" y="3610033"/>
                  </a:lnTo>
                  <a:lnTo>
                    <a:pt x="121512" y="1533110"/>
                  </a:lnTo>
                  <a:close/>
                  <a:moveTo>
                    <a:pt x="3490882" y="5023685"/>
                  </a:moveTo>
                  <a:lnTo>
                    <a:pt x="3930140" y="4262840"/>
                  </a:lnTo>
                  <a:lnTo>
                    <a:pt x="4369398" y="5023685"/>
                  </a:lnTo>
                  <a:lnTo>
                    <a:pt x="3490882" y="5023685"/>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2" name="Freeform: Shape 21">
              <a:extLst>
                <a:ext uri="{FF2B5EF4-FFF2-40B4-BE49-F238E27FC236}">
                  <a16:creationId xmlns:a16="http://schemas.microsoft.com/office/drawing/2014/main" id="{FE16CB0A-D053-476A-B788-852A295BD7FE}"/>
                </a:ext>
              </a:extLst>
            </p:cNvPr>
            <p:cNvSpPr/>
            <p:nvPr/>
          </p:nvSpPr>
          <p:spPr>
            <a:xfrm>
              <a:off x="-5158002" y="2038503"/>
              <a:ext cx="1256846" cy="121219"/>
            </a:xfrm>
            <a:custGeom>
              <a:avLst/>
              <a:gdLst>
                <a:gd name="connsiteX0" fmla="*/ 957 w 1256846"/>
                <a:gd name="connsiteY0" fmla="*/ 957 h 121218"/>
                <a:gd name="connsiteX1" fmla="*/ 1256681 w 1256846"/>
                <a:gd name="connsiteY1" fmla="*/ 957 h 121218"/>
                <a:gd name="connsiteX2" fmla="*/ 1256681 w 1256846"/>
                <a:gd name="connsiteY2" fmla="*/ 121512 h 121218"/>
                <a:gd name="connsiteX3" fmla="*/ 957 w 1256846"/>
                <a:gd name="connsiteY3" fmla="*/ 121512 h 121218"/>
              </a:gdLst>
              <a:ahLst/>
              <a:cxnLst>
                <a:cxn ang="0">
                  <a:pos x="connsiteX0" y="connsiteY0"/>
                </a:cxn>
                <a:cxn ang="0">
                  <a:pos x="connsiteX1" y="connsiteY1"/>
                </a:cxn>
                <a:cxn ang="0">
                  <a:pos x="connsiteX2" y="connsiteY2"/>
                </a:cxn>
                <a:cxn ang="0">
                  <a:pos x="connsiteX3" y="connsiteY3"/>
                </a:cxn>
              </a:cxnLst>
              <a:rect l="l" t="t" r="r" b="b"/>
              <a:pathLst>
                <a:path w="1256846" h="121218">
                  <a:moveTo>
                    <a:pt x="957" y="957"/>
                  </a:moveTo>
                  <a:lnTo>
                    <a:pt x="1256681" y="957"/>
                  </a:lnTo>
                  <a:lnTo>
                    <a:pt x="1256681" y="121512"/>
                  </a:lnTo>
                  <a:lnTo>
                    <a:pt x="957" y="121512"/>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3" name="Freeform: Shape 22">
              <a:extLst>
                <a:ext uri="{FF2B5EF4-FFF2-40B4-BE49-F238E27FC236}">
                  <a16:creationId xmlns:a16="http://schemas.microsoft.com/office/drawing/2014/main" id="{774F07C8-C918-4BEB-A275-69FEB9C5C409}"/>
                </a:ext>
              </a:extLst>
            </p:cNvPr>
            <p:cNvSpPr/>
            <p:nvPr/>
          </p:nvSpPr>
          <p:spPr>
            <a:xfrm>
              <a:off x="-5158002" y="2509176"/>
              <a:ext cx="1256846" cy="121219"/>
            </a:xfrm>
            <a:custGeom>
              <a:avLst/>
              <a:gdLst>
                <a:gd name="connsiteX0" fmla="*/ 957 w 1256846"/>
                <a:gd name="connsiteY0" fmla="*/ 957 h 121218"/>
                <a:gd name="connsiteX1" fmla="*/ 1256681 w 1256846"/>
                <a:gd name="connsiteY1" fmla="*/ 957 h 121218"/>
                <a:gd name="connsiteX2" fmla="*/ 1256681 w 1256846"/>
                <a:gd name="connsiteY2" fmla="*/ 121512 h 121218"/>
                <a:gd name="connsiteX3" fmla="*/ 957 w 1256846"/>
                <a:gd name="connsiteY3" fmla="*/ 121512 h 121218"/>
              </a:gdLst>
              <a:ahLst/>
              <a:cxnLst>
                <a:cxn ang="0">
                  <a:pos x="connsiteX0" y="connsiteY0"/>
                </a:cxn>
                <a:cxn ang="0">
                  <a:pos x="connsiteX1" y="connsiteY1"/>
                </a:cxn>
                <a:cxn ang="0">
                  <a:pos x="connsiteX2" y="connsiteY2"/>
                </a:cxn>
                <a:cxn ang="0">
                  <a:pos x="connsiteX3" y="connsiteY3"/>
                </a:cxn>
              </a:cxnLst>
              <a:rect l="l" t="t" r="r" b="b"/>
              <a:pathLst>
                <a:path w="1256846" h="121218">
                  <a:moveTo>
                    <a:pt x="957" y="957"/>
                  </a:moveTo>
                  <a:lnTo>
                    <a:pt x="1256681" y="957"/>
                  </a:lnTo>
                  <a:lnTo>
                    <a:pt x="1256681" y="121512"/>
                  </a:lnTo>
                  <a:lnTo>
                    <a:pt x="957" y="121512"/>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4" name="Freeform: Shape 23">
              <a:extLst>
                <a:ext uri="{FF2B5EF4-FFF2-40B4-BE49-F238E27FC236}">
                  <a16:creationId xmlns:a16="http://schemas.microsoft.com/office/drawing/2014/main" id="{8D302734-B206-45A4-853A-4A23E76D6E78}"/>
                </a:ext>
              </a:extLst>
            </p:cNvPr>
            <p:cNvSpPr/>
            <p:nvPr/>
          </p:nvSpPr>
          <p:spPr>
            <a:xfrm>
              <a:off x="-5158002" y="2980257"/>
              <a:ext cx="1256846" cy="121219"/>
            </a:xfrm>
            <a:custGeom>
              <a:avLst/>
              <a:gdLst>
                <a:gd name="connsiteX0" fmla="*/ 957 w 1256846"/>
                <a:gd name="connsiteY0" fmla="*/ 957 h 121218"/>
                <a:gd name="connsiteX1" fmla="*/ 1256681 w 1256846"/>
                <a:gd name="connsiteY1" fmla="*/ 957 h 121218"/>
                <a:gd name="connsiteX2" fmla="*/ 1256681 w 1256846"/>
                <a:gd name="connsiteY2" fmla="*/ 121512 h 121218"/>
                <a:gd name="connsiteX3" fmla="*/ 957 w 1256846"/>
                <a:gd name="connsiteY3" fmla="*/ 121512 h 121218"/>
              </a:gdLst>
              <a:ahLst/>
              <a:cxnLst>
                <a:cxn ang="0">
                  <a:pos x="connsiteX0" y="connsiteY0"/>
                </a:cxn>
                <a:cxn ang="0">
                  <a:pos x="connsiteX1" y="connsiteY1"/>
                </a:cxn>
                <a:cxn ang="0">
                  <a:pos x="connsiteX2" y="connsiteY2"/>
                </a:cxn>
                <a:cxn ang="0">
                  <a:pos x="connsiteX3" y="connsiteY3"/>
                </a:cxn>
              </a:cxnLst>
              <a:rect l="l" t="t" r="r" b="b"/>
              <a:pathLst>
                <a:path w="1256846" h="121218">
                  <a:moveTo>
                    <a:pt x="957" y="957"/>
                  </a:moveTo>
                  <a:lnTo>
                    <a:pt x="1256681" y="957"/>
                  </a:lnTo>
                  <a:lnTo>
                    <a:pt x="1256681" y="121512"/>
                  </a:lnTo>
                  <a:lnTo>
                    <a:pt x="957" y="121512"/>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grpSp>
    </p:spTree>
    <p:extLst>
      <p:ext uri="{BB962C8B-B14F-4D97-AF65-F5344CB8AC3E}">
        <p14:creationId xmlns:p14="http://schemas.microsoft.com/office/powerpoint/2010/main" val="20596764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AFA606A7-0BCE-4E55-A232-82D2318AD906}"/>
              </a:ext>
            </a:extLst>
          </p:cNvPr>
          <p:cNvSpPr/>
          <p:nvPr/>
        </p:nvSpPr>
        <p:spPr>
          <a:xfrm>
            <a:off x="4798543" y="922638"/>
            <a:ext cx="4114798" cy="3568400"/>
          </a:xfrm>
          <a:prstGeom prst="rect">
            <a:avLst/>
          </a:prstGeom>
          <a:solidFill>
            <a:schemeClr val="bg2"/>
          </a:solid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58" name="Rectangle 157">
            <a:extLst>
              <a:ext uri="{FF2B5EF4-FFF2-40B4-BE49-F238E27FC236}">
                <a16:creationId xmlns:a16="http://schemas.microsoft.com/office/drawing/2014/main" id="{DF9EB861-5471-4FF9-A231-24A07D3CF15A}"/>
              </a:ext>
            </a:extLst>
          </p:cNvPr>
          <p:cNvSpPr/>
          <p:nvPr/>
        </p:nvSpPr>
        <p:spPr>
          <a:xfrm>
            <a:off x="5479845" y="2265025"/>
            <a:ext cx="1301520" cy="822764"/>
          </a:xfrm>
          <a:prstGeom prst="rect">
            <a:avLst/>
          </a:prstGeom>
          <a:solidFill>
            <a:schemeClr val="accent2"/>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34" name="Rectangle 33">
            <a:extLst>
              <a:ext uri="{FF2B5EF4-FFF2-40B4-BE49-F238E27FC236}">
                <a16:creationId xmlns:a16="http://schemas.microsoft.com/office/drawing/2014/main" id="{A4E09AAD-834E-453D-BA0F-542AE74FF2F7}"/>
              </a:ext>
            </a:extLst>
          </p:cNvPr>
          <p:cNvSpPr/>
          <p:nvPr/>
        </p:nvSpPr>
        <p:spPr>
          <a:xfrm>
            <a:off x="228602" y="922638"/>
            <a:ext cx="4114798" cy="3568400"/>
          </a:xfrm>
          <a:prstGeom prst="rect">
            <a:avLst/>
          </a:prstGeom>
          <a:solidFill>
            <a:schemeClr val="bg2"/>
          </a:solid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52" name="Rectangle 51">
            <a:extLst>
              <a:ext uri="{FF2B5EF4-FFF2-40B4-BE49-F238E27FC236}">
                <a16:creationId xmlns:a16="http://schemas.microsoft.com/office/drawing/2014/main" id="{A3524E6D-6716-40FB-AC38-7507656B4B0D}"/>
              </a:ext>
            </a:extLst>
          </p:cNvPr>
          <p:cNvSpPr/>
          <p:nvPr/>
        </p:nvSpPr>
        <p:spPr>
          <a:xfrm>
            <a:off x="535660" y="2015178"/>
            <a:ext cx="1301520" cy="651336"/>
          </a:xfrm>
          <a:prstGeom prst="rect">
            <a:avLst/>
          </a:prstGeom>
          <a:solidFill>
            <a:schemeClr val="accent2"/>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53" name="Rectangle 52">
            <a:extLst>
              <a:ext uri="{FF2B5EF4-FFF2-40B4-BE49-F238E27FC236}">
                <a16:creationId xmlns:a16="http://schemas.microsoft.com/office/drawing/2014/main" id="{03A5E5EF-BAC0-47A1-A70E-AB834F12209B}"/>
              </a:ext>
            </a:extLst>
          </p:cNvPr>
          <p:cNvSpPr/>
          <p:nvPr/>
        </p:nvSpPr>
        <p:spPr>
          <a:xfrm>
            <a:off x="771009" y="2099155"/>
            <a:ext cx="830822" cy="123111"/>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a:ea typeface="+mn-ea"/>
                <a:cs typeface="+mn-cs"/>
              </a:rPr>
              <a:t>Maximo</a:t>
            </a:r>
          </a:p>
        </p:txBody>
      </p:sp>
      <p:grpSp>
        <p:nvGrpSpPr>
          <p:cNvPr id="42" name="Group 41">
            <a:extLst>
              <a:ext uri="{FF2B5EF4-FFF2-40B4-BE49-F238E27FC236}">
                <a16:creationId xmlns:a16="http://schemas.microsoft.com/office/drawing/2014/main" id="{9BAF9ECB-A584-44EE-BFCB-61181E6A3D28}"/>
              </a:ext>
            </a:extLst>
          </p:cNvPr>
          <p:cNvGrpSpPr/>
          <p:nvPr/>
        </p:nvGrpSpPr>
        <p:grpSpPr>
          <a:xfrm>
            <a:off x="3244702" y="1934210"/>
            <a:ext cx="831333" cy="1395963"/>
            <a:chOff x="-1574229" y="1563228"/>
            <a:chExt cx="1201202" cy="2017043"/>
          </a:xfrm>
        </p:grpSpPr>
        <p:pic>
          <p:nvPicPr>
            <p:cNvPr id="38" name="Picture 37">
              <a:extLst>
                <a:ext uri="{FF2B5EF4-FFF2-40B4-BE49-F238E27FC236}">
                  <a16:creationId xmlns:a16="http://schemas.microsoft.com/office/drawing/2014/main" id="{9B9D84E8-4B6F-474E-91AE-C40A34BFD767}"/>
                </a:ext>
              </a:extLst>
            </p:cNvPr>
            <p:cNvPicPr>
              <a:picLocks noChangeAspect="1"/>
            </p:cNvPicPr>
            <p:nvPr/>
          </p:nvPicPr>
          <p:blipFill rotWithShape="1">
            <a:blip r:embed="rId3"/>
            <a:srcRect l="38546" t="20548" r="38546" b="21737"/>
            <a:stretch/>
          </p:blipFill>
          <p:spPr>
            <a:xfrm>
              <a:off x="-1574229" y="1563228"/>
              <a:ext cx="1201202" cy="2017043"/>
            </a:xfrm>
            <a:prstGeom prst="rect">
              <a:avLst/>
            </a:prstGeom>
          </p:spPr>
        </p:pic>
        <p:sp>
          <p:nvSpPr>
            <p:cNvPr id="40" name="Rectangle 39">
              <a:extLst>
                <a:ext uri="{FF2B5EF4-FFF2-40B4-BE49-F238E27FC236}">
                  <a16:creationId xmlns:a16="http://schemas.microsoft.com/office/drawing/2014/main" id="{C6715D7B-8165-4821-8563-6D1571C4B2AE}"/>
                </a:ext>
              </a:extLst>
            </p:cNvPr>
            <p:cNvSpPr/>
            <p:nvPr/>
          </p:nvSpPr>
          <p:spPr>
            <a:xfrm>
              <a:off x="-1370626" y="2384973"/>
              <a:ext cx="825153" cy="910654"/>
            </a:xfrm>
            <a:prstGeom prst="rect">
              <a:avLst/>
            </a:prstGeom>
            <a:solidFill>
              <a:schemeClr val="bg2"/>
            </a:solid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pic>
          <p:nvPicPr>
            <p:cNvPr id="36" name="Picture 35" descr="A close up of a computer&#10;&#10;Description automatically generated">
              <a:extLst>
                <a:ext uri="{FF2B5EF4-FFF2-40B4-BE49-F238E27FC236}">
                  <a16:creationId xmlns:a16="http://schemas.microsoft.com/office/drawing/2014/main" id="{FBB72054-F647-4550-8025-AF7A8623F4E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9613" t="14425" r="6329" b="40291"/>
            <a:stretch/>
          </p:blipFill>
          <p:spPr>
            <a:xfrm>
              <a:off x="-1370626" y="1843661"/>
              <a:ext cx="823882" cy="1333101"/>
            </a:xfrm>
            <a:prstGeom prst="rect">
              <a:avLst/>
            </a:prstGeom>
          </p:spPr>
        </p:pic>
      </p:grpSp>
      <p:sp>
        <p:nvSpPr>
          <p:cNvPr id="3" name="Slide Number Placeholder 2">
            <a:extLst>
              <a:ext uri="{FF2B5EF4-FFF2-40B4-BE49-F238E27FC236}">
                <a16:creationId xmlns:a16="http://schemas.microsoft.com/office/drawing/2014/main" id="{6724320C-35B5-984C-ABD8-251C1C3D947D}"/>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0BE6F14-FF48-0F4F-A8AA-2E3F25371E4A}" type="slidenum">
              <a:rPr kumimoji="0" lang="en-US" sz="600" b="0" i="0" u="none" strike="noStrike" kern="1200" cap="none" spc="0" normalizeH="0" baseline="0" noProof="0" smtClean="0">
                <a:ln>
                  <a:noFill/>
                </a:ln>
                <a:solidFill>
                  <a:srgbClr val="000000"/>
                </a:solidFill>
                <a:effectLst/>
                <a:uLnTx/>
                <a:uFillTx/>
                <a:latin typeface="IBM Plex Sans"/>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en-US" sz="600" b="0" i="0" u="none" strike="noStrike" kern="1200" cap="none" spc="0" normalizeH="0" baseline="0" noProof="0">
              <a:ln>
                <a:noFill/>
              </a:ln>
              <a:solidFill>
                <a:srgbClr val="000000"/>
              </a:solidFill>
              <a:effectLst/>
              <a:uLnTx/>
              <a:uFillTx/>
              <a:latin typeface="IBM Plex Sans"/>
              <a:cs typeface="Arial" charset="0"/>
            </a:endParaRPr>
          </a:p>
        </p:txBody>
      </p:sp>
      <p:sp>
        <p:nvSpPr>
          <p:cNvPr id="7" name="Footer Placeholder 6">
            <a:extLst>
              <a:ext uri="{FF2B5EF4-FFF2-40B4-BE49-F238E27FC236}">
                <a16:creationId xmlns:a16="http://schemas.microsoft.com/office/drawing/2014/main" id="{F7F3FD1D-4CC5-A942-9468-B837A39962E7}"/>
              </a:ext>
            </a:extLst>
          </p:cNvPr>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pt-BR" sz="600" b="0" i="0" u="none" strike="noStrike" kern="1200" cap="none" spc="0" normalizeH="0" baseline="0" noProof="0" dirty="0">
                <a:ln>
                  <a:noFill/>
                </a:ln>
                <a:solidFill>
                  <a:srgbClr val="000000"/>
                </a:solidFill>
                <a:effectLst/>
                <a:uLnTx/>
                <a:uFillTx/>
                <a:latin typeface="IBM Plex Sans"/>
                <a:cs typeface="Arial" charset="0"/>
              </a:rPr>
              <a:t>IBM Maximo / © 2020 IBM Corporation</a:t>
            </a:r>
            <a:endParaRPr kumimoji="0" lang="en-US" sz="600" b="0" i="0" u="none" strike="noStrike" kern="1200" cap="none" spc="0" normalizeH="0" baseline="0" noProof="0" dirty="0">
              <a:ln>
                <a:noFill/>
              </a:ln>
              <a:solidFill>
                <a:srgbClr val="000000"/>
              </a:solidFill>
              <a:effectLst/>
              <a:uLnTx/>
              <a:uFillTx/>
              <a:latin typeface="IBM Plex Sans"/>
              <a:cs typeface="Arial" charset="0"/>
            </a:endParaRPr>
          </a:p>
        </p:txBody>
      </p:sp>
      <p:sp>
        <p:nvSpPr>
          <p:cNvPr id="22" name="Title 1">
            <a:extLst>
              <a:ext uri="{FF2B5EF4-FFF2-40B4-BE49-F238E27FC236}">
                <a16:creationId xmlns:a16="http://schemas.microsoft.com/office/drawing/2014/main" id="{61518B40-917C-4298-8AF2-0769AF3C22F6}"/>
              </a:ext>
            </a:extLst>
          </p:cNvPr>
          <p:cNvSpPr>
            <a:spLocks noGrp="1"/>
          </p:cNvSpPr>
          <p:nvPr>
            <p:ph type="title"/>
          </p:nvPr>
        </p:nvSpPr>
        <p:spPr>
          <a:xfrm>
            <a:off x="228599" y="201168"/>
            <a:ext cx="4114801" cy="855726"/>
          </a:xfrm>
        </p:spPr>
        <p:txBody>
          <a:bodyPr/>
          <a:lstStyle/>
          <a:p>
            <a:r>
              <a:rPr lang="en-US" dirty="0"/>
              <a:t>Architecture...</a:t>
            </a:r>
            <a:r>
              <a:rPr lang="en-US" dirty="0">
                <a:solidFill>
                  <a:schemeClr val="accent2"/>
                </a:solidFill>
              </a:rPr>
              <a:t>simplified</a:t>
            </a:r>
          </a:p>
        </p:txBody>
      </p:sp>
      <p:sp>
        <p:nvSpPr>
          <p:cNvPr id="26" name="Rectangle 25">
            <a:extLst>
              <a:ext uri="{FF2B5EF4-FFF2-40B4-BE49-F238E27FC236}">
                <a16:creationId xmlns:a16="http://schemas.microsoft.com/office/drawing/2014/main" id="{EA4C3CF1-2831-4DE1-8547-0A9D49A1C015}"/>
              </a:ext>
            </a:extLst>
          </p:cNvPr>
          <p:cNvSpPr/>
          <p:nvPr/>
        </p:nvSpPr>
        <p:spPr>
          <a:xfrm>
            <a:off x="426310" y="1097280"/>
            <a:ext cx="3564852" cy="246221"/>
          </a:xfrm>
          <a:prstGeom prst="rect">
            <a:avLst/>
          </a:prstGeom>
        </p:spPr>
        <p:txBody>
          <a:bodyPr wrap="square" lIns="0" tIns="0" rIns="0" bIns="0" anchor="t">
            <a:spAutoFit/>
          </a:bodyPr>
          <a:lstStyle/>
          <a:p>
            <a:pPr marL="0" marR="0" lvl="0" indent="0" algn="l" defTabSz="685800" rtl="0" eaLnBrk="1" fontAlgn="base" latinLnBrk="0" hangingPunct="1">
              <a:lnSpc>
                <a:spcPct val="100000"/>
              </a:lnSpc>
              <a:spcBef>
                <a:spcPts val="3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IBM Plex Sans"/>
                <a:ea typeface="IBM Plex Sans" charset="0"/>
                <a:cs typeface="IBM Plex Sans" charset="0"/>
              </a:rPr>
              <a:t>Prior Anywhere releases</a:t>
            </a:r>
          </a:p>
        </p:txBody>
      </p:sp>
      <p:sp>
        <p:nvSpPr>
          <p:cNvPr id="28" name="Rectangle 27">
            <a:extLst>
              <a:ext uri="{FF2B5EF4-FFF2-40B4-BE49-F238E27FC236}">
                <a16:creationId xmlns:a16="http://schemas.microsoft.com/office/drawing/2014/main" id="{B94A4466-63A4-4F38-A188-06C49CBBB165}"/>
              </a:ext>
            </a:extLst>
          </p:cNvPr>
          <p:cNvSpPr/>
          <p:nvPr/>
        </p:nvSpPr>
        <p:spPr>
          <a:xfrm>
            <a:off x="4998308" y="1097280"/>
            <a:ext cx="3564852" cy="246221"/>
          </a:xfrm>
          <a:prstGeom prst="rect">
            <a:avLst/>
          </a:prstGeom>
        </p:spPr>
        <p:txBody>
          <a:bodyPr wrap="square" lIns="0" tIns="0" rIns="0" bIns="0" anchor="t">
            <a:spAutoFit/>
          </a:bodyPr>
          <a:lstStyle/>
          <a:p>
            <a:pPr marL="0" marR="0" lvl="0" indent="0" algn="l" defTabSz="685800" rtl="0" eaLnBrk="1" fontAlgn="base" latinLnBrk="0" hangingPunct="1">
              <a:lnSpc>
                <a:spcPct val="100000"/>
              </a:lnSpc>
              <a:spcBef>
                <a:spcPts val="3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IBM Plex Sans"/>
                <a:ea typeface="IBM Plex Sans" charset="0"/>
                <a:cs typeface="IBM Plex Sans" charset="0"/>
              </a:rPr>
              <a:t>Anywhere 7.6.4</a:t>
            </a:r>
          </a:p>
        </p:txBody>
      </p:sp>
      <p:sp>
        <p:nvSpPr>
          <p:cNvPr id="31" name="Rectangle 30">
            <a:extLst>
              <a:ext uri="{FF2B5EF4-FFF2-40B4-BE49-F238E27FC236}">
                <a16:creationId xmlns:a16="http://schemas.microsoft.com/office/drawing/2014/main" id="{6E13AE83-4CDD-4F46-84A7-C594300C2B0C}"/>
              </a:ext>
            </a:extLst>
          </p:cNvPr>
          <p:cNvSpPr/>
          <p:nvPr/>
        </p:nvSpPr>
        <p:spPr>
          <a:xfrm>
            <a:off x="3186331" y="4077112"/>
            <a:ext cx="983810" cy="123111"/>
          </a:xfrm>
          <a:prstGeom prst="rect">
            <a:avLst/>
          </a:prstGeom>
        </p:spPr>
        <p:txBody>
          <a:bodyPr wrap="square" lIns="0" tIns="0" rIns="0" bIns="0" anchor="t">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a:ea typeface="IBM Plex Sans" charset="0"/>
                <a:cs typeface="IBM Plex Sans" charset="0"/>
              </a:rPr>
              <a:t>Device database</a:t>
            </a:r>
          </a:p>
        </p:txBody>
      </p:sp>
      <p:sp>
        <p:nvSpPr>
          <p:cNvPr id="19" name="Graphic 17">
            <a:extLst>
              <a:ext uri="{FF2B5EF4-FFF2-40B4-BE49-F238E27FC236}">
                <a16:creationId xmlns:a16="http://schemas.microsoft.com/office/drawing/2014/main" id="{BE32BFE5-9CA6-4F16-AF21-F74865F5AB04}"/>
              </a:ext>
            </a:extLst>
          </p:cNvPr>
          <p:cNvSpPr/>
          <p:nvPr/>
        </p:nvSpPr>
        <p:spPr>
          <a:xfrm>
            <a:off x="3241840" y="3673610"/>
            <a:ext cx="872792" cy="345824"/>
          </a:xfrm>
          <a:custGeom>
            <a:avLst/>
            <a:gdLst>
              <a:gd name="connsiteX0" fmla="*/ 255937 w 504825"/>
              <a:gd name="connsiteY0" fmla="*/ 7144 h 200025"/>
              <a:gd name="connsiteX1" fmla="*/ 7144 w 504825"/>
              <a:gd name="connsiteY1" fmla="*/ 42958 h 200025"/>
              <a:gd name="connsiteX2" fmla="*/ 7144 w 504825"/>
              <a:gd name="connsiteY2" fmla="*/ 153448 h 200025"/>
              <a:gd name="connsiteX3" fmla="*/ 255937 w 504825"/>
              <a:gd name="connsiteY3" fmla="*/ 195834 h 200025"/>
              <a:gd name="connsiteX4" fmla="*/ 504730 w 504825"/>
              <a:gd name="connsiteY4" fmla="*/ 153448 h 200025"/>
              <a:gd name="connsiteX5" fmla="*/ 504730 w 504825"/>
              <a:gd name="connsiteY5" fmla="*/ 42958 h 200025"/>
              <a:gd name="connsiteX6" fmla="*/ 255937 w 504825"/>
              <a:gd name="connsiteY6" fmla="*/ 7144 h 200025"/>
              <a:gd name="connsiteX7" fmla="*/ 255937 w 504825"/>
              <a:gd name="connsiteY7" fmla="*/ 14002 h 200025"/>
              <a:gd name="connsiteX8" fmla="*/ 497872 w 504825"/>
              <a:gd name="connsiteY8" fmla="*/ 42958 h 200025"/>
              <a:gd name="connsiteX9" fmla="*/ 255937 w 504825"/>
              <a:gd name="connsiteY9" fmla="*/ 71914 h 200025"/>
              <a:gd name="connsiteX10" fmla="*/ 14002 w 504825"/>
              <a:gd name="connsiteY10" fmla="*/ 42958 h 200025"/>
              <a:gd name="connsiteX11" fmla="*/ 255937 w 504825"/>
              <a:gd name="connsiteY11" fmla="*/ 14002 h 200025"/>
              <a:gd name="connsiteX12" fmla="*/ 255937 w 504825"/>
              <a:gd name="connsiteY12" fmla="*/ 188976 h 200025"/>
              <a:gd name="connsiteX13" fmla="*/ 14002 w 504825"/>
              <a:gd name="connsiteY13" fmla="*/ 153448 h 200025"/>
              <a:gd name="connsiteX14" fmla="*/ 14002 w 504825"/>
              <a:gd name="connsiteY14" fmla="*/ 52197 h 200025"/>
              <a:gd name="connsiteX15" fmla="*/ 255937 w 504825"/>
              <a:gd name="connsiteY15" fmla="*/ 78772 h 200025"/>
              <a:gd name="connsiteX16" fmla="*/ 497872 w 504825"/>
              <a:gd name="connsiteY16" fmla="*/ 52197 h 200025"/>
              <a:gd name="connsiteX17" fmla="*/ 497872 w 504825"/>
              <a:gd name="connsiteY17" fmla="*/ 153448 h 200025"/>
              <a:gd name="connsiteX18" fmla="*/ 255937 w 504825"/>
              <a:gd name="connsiteY18" fmla="*/ 18897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4825" h="200025">
                <a:moveTo>
                  <a:pt x="255937" y="7144"/>
                </a:moveTo>
                <a:cubicBezTo>
                  <a:pt x="155924" y="7144"/>
                  <a:pt x="7144" y="16669"/>
                  <a:pt x="7144" y="42958"/>
                </a:cubicBezTo>
                <a:lnTo>
                  <a:pt x="7144" y="153448"/>
                </a:lnTo>
                <a:cubicBezTo>
                  <a:pt x="7144" y="180975"/>
                  <a:pt x="135350" y="195834"/>
                  <a:pt x="255937" y="195834"/>
                </a:cubicBezTo>
                <a:cubicBezTo>
                  <a:pt x="376523" y="195834"/>
                  <a:pt x="504730" y="180975"/>
                  <a:pt x="504730" y="153448"/>
                </a:cubicBezTo>
                <a:lnTo>
                  <a:pt x="504730" y="42958"/>
                </a:lnTo>
                <a:cubicBezTo>
                  <a:pt x="504730" y="16669"/>
                  <a:pt x="355949" y="7144"/>
                  <a:pt x="255937" y="7144"/>
                </a:cubicBezTo>
                <a:close/>
                <a:moveTo>
                  <a:pt x="255937" y="14002"/>
                </a:moveTo>
                <a:cubicBezTo>
                  <a:pt x="405860" y="14002"/>
                  <a:pt x="497872" y="30861"/>
                  <a:pt x="497872" y="42958"/>
                </a:cubicBezTo>
                <a:cubicBezTo>
                  <a:pt x="497872" y="55055"/>
                  <a:pt x="405860" y="71914"/>
                  <a:pt x="255937" y="71914"/>
                </a:cubicBezTo>
                <a:cubicBezTo>
                  <a:pt x="106013" y="71914"/>
                  <a:pt x="14002" y="54959"/>
                  <a:pt x="14002" y="42958"/>
                </a:cubicBezTo>
                <a:cubicBezTo>
                  <a:pt x="14002" y="30956"/>
                  <a:pt x="106013" y="14002"/>
                  <a:pt x="255937" y="14002"/>
                </a:cubicBezTo>
                <a:close/>
                <a:moveTo>
                  <a:pt x="255937" y="188976"/>
                </a:moveTo>
                <a:cubicBezTo>
                  <a:pt x="100203" y="188976"/>
                  <a:pt x="14002" y="167926"/>
                  <a:pt x="14002" y="153448"/>
                </a:cubicBezTo>
                <a:lnTo>
                  <a:pt x="14002" y="52197"/>
                </a:lnTo>
                <a:cubicBezTo>
                  <a:pt x="44291" y="71533"/>
                  <a:pt x="168688" y="78772"/>
                  <a:pt x="255937" y="78772"/>
                </a:cubicBezTo>
                <a:cubicBezTo>
                  <a:pt x="343186" y="78772"/>
                  <a:pt x="467582" y="71533"/>
                  <a:pt x="497872" y="52197"/>
                </a:cubicBezTo>
                <a:lnTo>
                  <a:pt x="497872" y="153448"/>
                </a:lnTo>
                <a:cubicBezTo>
                  <a:pt x="497872" y="167926"/>
                  <a:pt x="411671" y="188976"/>
                  <a:pt x="255937" y="188976"/>
                </a:cubicBezTo>
                <a:close/>
              </a:path>
            </a:pathLst>
          </a:custGeom>
          <a:solidFill>
            <a:srgbClr val="0064F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IBM Plex Sans"/>
              <a:ea typeface="+mn-ea"/>
              <a:cs typeface="+mn-cs"/>
            </a:endParaRPr>
          </a:p>
        </p:txBody>
      </p:sp>
      <p:sp>
        <p:nvSpPr>
          <p:cNvPr id="47" name="Rectangle 46">
            <a:extLst>
              <a:ext uri="{FF2B5EF4-FFF2-40B4-BE49-F238E27FC236}">
                <a16:creationId xmlns:a16="http://schemas.microsoft.com/office/drawing/2014/main" id="{2048CEE4-F3E8-4675-85BC-4EA7AE036366}"/>
              </a:ext>
            </a:extLst>
          </p:cNvPr>
          <p:cNvSpPr/>
          <p:nvPr/>
        </p:nvSpPr>
        <p:spPr>
          <a:xfrm>
            <a:off x="1263232" y="4206877"/>
            <a:ext cx="983810" cy="123111"/>
          </a:xfrm>
          <a:prstGeom prst="rect">
            <a:avLst/>
          </a:prstGeom>
        </p:spPr>
        <p:txBody>
          <a:bodyPr wrap="square" lIns="0" tIns="0" rIns="0" bIns="0" anchor="t">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a:ea typeface="IBM Plex Sans" charset="0"/>
                <a:cs typeface="IBM Plex Sans" charset="0"/>
              </a:rPr>
              <a:t>Middleware database</a:t>
            </a:r>
          </a:p>
        </p:txBody>
      </p:sp>
      <p:sp>
        <p:nvSpPr>
          <p:cNvPr id="48" name="Graphic 17">
            <a:extLst>
              <a:ext uri="{FF2B5EF4-FFF2-40B4-BE49-F238E27FC236}">
                <a16:creationId xmlns:a16="http://schemas.microsoft.com/office/drawing/2014/main" id="{6D2B8C5B-A287-4973-9C20-B1F37925E41F}"/>
              </a:ext>
            </a:extLst>
          </p:cNvPr>
          <p:cNvSpPr/>
          <p:nvPr/>
        </p:nvSpPr>
        <p:spPr>
          <a:xfrm>
            <a:off x="1318741" y="3803375"/>
            <a:ext cx="872792" cy="345824"/>
          </a:xfrm>
          <a:custGeom>
            <a:avLst/>
            <a:gdLst>
              <a:gd name="connsiteX0" fmla="*/ 255937 w 504825"/>
              <a:gd name="connsiteY0" fmla="*/ 7144 h 200025"/>
              <a:gd name="connsiteX1" fmla="*/ 7144 w 504825"/>
              <a:gd name="connsiteY1" fmla="*/ 42958 h 200025"/>
              <a:gd name="connsiteX2" fmla="*/ 7144 w 504825"/>
              <a:gd name="connsiteY2" fmla="*/ 153448 h 200025"/>
              <a:gd name="connsiteX3" fmla="*/ 255937 w 504825"/>
              <a:gd name="connsiteY3" fmla="*/ 195834 h 200025"/>
              <a:gd name="connsiteX4" fmla="*/ 504730 w 504825"/>
              <a:gd name="connsiteY4" fmla="*/ 153448 h 200025"/>
              <a:gd name="connsiteX5" fmla="*/ 504730 w 504825"/>
              <a:gd name="connsiteY5" fmla="*/ 42958 h 200025"/>
              <a:gd name="connsiteX6" fmla="*/ 255937 w 504825"/>
              <a:gd name="connsiteY6" fmla="*/ 7144 h 200025"/>
              <a:gd name="connsiteX7" fmla="*/ 255937 w 504825"/>
              <a:gd name="connsiteY7" fmla="*/ 14002 h 200025"/>
              <a:gd name="connsiteX8" fmla="*/ 497872 w 504825"/>
              <a:gd name="connsiteY8" fmla="*/ 42958 h 200025"/>
              <a:gd name="connsiteX9" fmla="*/ 255937 w 504825"/>
              <a:gd name="connsiteY9" fmla="*/ 71914 h 200025"/>
              <a:gd name="connsiteX10" fmla="*/ 14002 w 504825"/>
              <a:gd name="connsiteY10" fmla="*/ 42958 h 200025"/>
              <a:gd name="connsiteX11" fmla="*/ 255937 w 504825"/>
              <a:gd name="connsiteY11" fmla="*/ 14002 h 200025"/>
              <a:gd name="connsiteX12" fmla="*/ 255937 w 504825"/>
              <a:gd name="connsiteY12" fmla="*/ 188976 h 200025"/>
              <a:gd name="connsiteX13" fmla="*/ 14002 w 504825"/>
              <a:gd name="connsiteY13" fmla="*/ 153448 h 200025"/>
              <a:gd name="connsiteX14" fmla="*/ 14002 w 504825"/>
              <a:gd name="connsiteY14" fmla="*/ 52197 h 200025"/>
              <a:gd name="connsiteX15" fmla="*/ 255937 w 504825"/>
              <a:gd name="connsiteY15" fmla="*/ 78772 h 200025"/>
              <a:gd name="connsiteX16" fmla="*/ 497872 w 504825"/>
              <a:gd name="connsiteY16" fmla="*/ 52197 h 200025"/>
              <a:gd name="connsiteX17" fmla="*/ 497872 w 504825"/>
              <a:gd name="connsiteY17" fmla="*/ 153448 h 200025"/>
              <a:gd name="connsiteX18" fmla="*/ 255937 w 504825"/>
              <a:gd name="connsiteY18" fmla="*/ 18897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4825" h="200025">
                <a:moveTo>
                  <a:pt x="255937" y="7144"/>
                </a:moveTo>
                <a:cubicBezTo>
                  <a:pt x="155924" y="7144"/>
                  <a:pt x="7144" y="16669"/>
                  <a:pt x="7144" y="42958"/>
                </a:cubicBezTo>
                <a:lnTo>
                  <a:pt x="7144" y="153448"/>
                </a:lnTo>
                <a:cubicBezTo>
                  <a:pt x="7144" y="180975"/>
                  <a:pt x="135350" y="195834"/>
                  <a:pt x="255937" y="195834"/>
                </a:cubicBezTo>
                <a:cubicBezTo>
                  <a:pt x="376523" y="195834"/>
                  <a:pt x="504730" y="180975"/>
                  <a:pt x="504730" y="153448"/>
                </a:cubicBezTo>
                <a:lnTo>
                  <a:pt x="504730" y="42958"/>
                </a:lnTo>
                <a:cubicBezTo>
                  <a:pt x="504730" y="16669"/>
                  <a:pt x="355949" y="7144"/>
                  <a:pt x="255937" y="7144"/>
                </a:cubicBezTo>
                <a:close/>
                <a:moveTo>
                  <a:pt x="255937" y="14002"/>
                </a:moveTo>
                <a:cubicBezTo>
                  <a:pt x="405860" y="14002"/>
                  <a:pt x="497872" y="30861"/>
                  <a:pt x="497872" y="42958"/>
                </a:cubicBezTo>
                <a:cubicBezTo>
                  <a:pt x="497872" y="55055"/>
                  <a:pt x="405860" y="71914"/>
                  <a:pt x="255937" y="71914"/>
                </a:cubicBezTo>
                <a:cubicBezTo>
                  <a:pt x="106013" y="71914"/>
                  <a:pt x="14002" y="54959"/>
                  <a:pt x="14002" y="42958"/>
                </a:cubicBezTo>
                <a:cubicBezTo>
                  <a:pt x="14002" y="30956"/>
                  <a:pt x="106013" y="14002"/>
                  <a:pt x="255937" y="14002"/>
                </a:cubicBezTo>
                <a:close/>
                <a:moveTo>
                  <a:pt x="255937" y="188976"/>
                </a:moveTo>
                <a:cubicBezTo>
                  <a:pt x="100203" y="188976"/>
                  <a:pt x="14002" y="167926"/>
                  <a:pt x="14002" y="153448"/>
                </a:cubicBezTo>
                <a:lnTo>
                  <a:pt x="14002" y="52197"/>
                </a:lnTo>
                <a:cubicBezTo>
                  <a:pt x="44291" y="71533"/>
                  <a:pt x="168688" y="78772"/>
                  <a:pt x="255937" y="78772"/>
                </a:cubicBezTo>
                <a:cubicBezTo>
                  <a:pt x="343186" y="78772"/>
                  <a:pt x="467582" y="71533"/>
                  <a:pt x="497872" y="52197"/>
                </a:cubicBezTo>
                <a:lnTo>
                  <a:pt x="497872" y="153448"/>
                </a:lnTo>
                <a:cubicBezTo>
                  <a:pt x="497872" y="167926"/>
                  <a:pt x="411671" y="188976"/>
                  <a:pt x="255937" y="188976"/>
                </a:cubicBezTo>
                <a:close/>
              </a:path>
            </a:pathLst>
          </a:custGeom>
          <a:solidFill>
            <a:srgbClr val="0064F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IBM Plex Sans"/>
              <a:ea typeface="+mn-ea"/>
              <a:cs typeface="+mn-cs"/>
            </a:endParaRPr>
          </a:p>
        </p:txBody>
      </p:sp>
      <p:sp>
        <p:nvSpPr>
          <p:cNvPr id="49" name="Rectangle 48">
            <a:extLst>
              <a:ext uri="{FF2B5EF4-FFF2-40B4-BE49-F238E27FC236}">
                <a16:creationId xmlns:a16="http://schemas.microsoft.com/office/drawing/2014/main" id="{3B1B57B7-C0B4-4481-96EF-C679D30CFEEC}"/>
              </a:ext>
            </a:extLst>
          </p:cNvPr>
          <p:cNvSpPr/>
          <p:nvPr/>
        </p:nvSpPr>
        <p:spPr>
          <a:xfrm>
            <a:off x="2049036" y="2462280"/>
            <a:ext cx="983810" cy="123111"/>
          </a:xfrm>
          <a:prstGeom prst="rect">
            <a:avLst/>
          </a:prstGeom>
        </p:spPr>
        <p:txBody>
          <a:bodyPr wrap="square" lIns="0" tIns="0" rIns="0" bIns="0" anchor="t">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a:ea typeface="IBM Plex Sans" charset="0"/>
                <a:cs typeface="IBM Plex Sans" charset="0"/>
              </a:rPr>
              <a:t>Maximo database</a:t>
            </a:r>
          </a:p>
        </p:txBody>
      </p:sp>
      <p:sp>
        <p:nvSpPr>
          <p:cNvPr id="50" name="Graphic 17">
            <a:extLst>
              <a:ext uri="{FF2B5EF4-FFF2-40B4-BE49-F238E27FC236}">
                <a16:creationId xmlns:a16="http://schemas.microsoft.com/office/drawing/2014/main" id="{679178FE-AA60-492D-B7C4-968BB466CFE7}"/>
              </a:ext>
            </a:extLst>
          </p:cNvPr>
          <p:cNvSpPr/>
          <p:nvPr/>
        </p:nvSpPr>
        <p:spPr>
          <a:xfrm>
            <a:off x="2104545" y="2058778"/>
            <a:ext cx="872792" cy="345824"/>
          </a:xfrm>
          <a:custGeom>
            <a:avLst/>
            <a:gdLst>
              <a:gd name="connsiteX0" fmla="*/ 255937 w 504825"/>
              <a:gd name="connsiteY0" fmla="*/ 7144 h 200025"/>
              <a:gd name="connsiteX1" fmla="*/ 7144 w 504825"/>
              <a:gd name="connsiteY1" fmla="*/ 42958 h 200025"/>
              <a:gd name="connsiteX2" fmla="*/ 7144 w 504825"/>
              <a:gd name="connsiteY2" fmla="*/ 153448 h 200025"/>
              <a:gd name="connsiteX3" fmla="*/ 255937 w 504825"/>
              <a:gd name="connsiteY3" fmla="*/ 195834 h 200025"/>
              <a:gd name="connsiteX4" fmla="*/ 504730 w 504825"/>
              <a:gd name="connsiteY4" fmla="*/ 153448 h 200025"/>
              <a:gd name="connsiteX5" fmla="*/ 504730 w 504825"/>
              <a:gd name="connsiteY5" fmla="*/ 42958 h 200025"/>
              <a:gd name="connsiteX6" fmla="*/ 255937 w 504825"/>
              <a:gd name="connsiteY6" fmla="*/ 7144 h 200025"/>
              <a:gd name="connsiteX7" fmla="*/ 255937 w 504825"/>
              <a:gd name="connsiteY7" fmla="*/ 14002 h 200025"/>
              <a:gd name="connsiteX8" fmla="*/ 497872 w 504825"/>
              <a:gd name="connsiteY8" fmla="*/ 42958 h 200025"/>
              <a:gd name="connsiteX9" fmla="*/ 255937 w 504825"/>
              <a:gd name="connsiteY9" fmla="*/ 71914 h 200025"/>
              <a:gd name="connsiteX10" fmla="*/ 14002 w 504825"/>
              <a:gd name="connsiteY10" fmla="*/ 42958 h 200025"/>
              <a:gd name="connsiteX11" fmla="*/ 255937 w 504825"/>
              <a:gd name="connsiteY11" fmla="*/ 14002 h 200025"/>
              <a:gd name="connsiteX12" fmla="*/ 255937 w 504825"/>
              <a:gd name="connsiteY12" fmla="*/ 188976 h 200025"/>
              <a:gd name="connsiteX13" fmla="*/ 14002 w 504825"/>
              <a:gd name="connsiteY13" fmla="*/ 153448 h 200025"/>
              <a:gd name="connsiteX14" fmla="*/ 14002 w 504825"/>
              <a:gd name="connsiteY14" fmla="*/ 52197 h 200025"/>
              <a:gd name="connsiteX15" fmla="*/ 255937 w 504825"/>
              <a:gd name="connsiteY15" fmla="*/ 78772 h 200025"/>
              <a:gd name="connsiteX16" fmla="*/ 497872 w 504825"/>
              <a:gd name="connsiteY16" fmla="*/ 52197 h 200025"/>
              <a:gd name="connsiteX17" fmla="*/ 497872 w 504825"/>
              <a:gd name="connsiteY17" fmla="*/ 153448 h 200025"/>
              <a:gd name="connsiteX18" fmla="*/ 255937 w 504825"/>
              <a:gd name="connsiteY18" fmla="*/ 18897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4825" h="200025">
                <a:moveTo>
                  <a:pt x="255937" y="7144"/>
                </a:moveTo>
                <a:cubicBezTo>
                  <a:pt x="155924" y="7144"/>
                  <a:pt x="7144" y="16669"/>
                  <a:pt x="7144" y="42958"/>
                </a:cubicBezTo>
                <a:lnTo>
                  <a:pt x="7144" y="153448"/>
                </a:lnTo>
                <a:cubicBezTo>
                  <a:pt x="7144" y="180975"/>
                  <a:pt x="135350" y="195834"/>
                  <a:pt x="255937" y="195834"/>
                </a:cubicBezTo>
                <a:cubicBezTo>
                  <a:pt x="376523" y="195834"/>
                  <a:pt x="504730" y="180975"/>
                  <a:pt x="504730" y="153448"/>
                </a:cubicBezTo>
                <a:lnTo>
                  <a:pt x="504730" y="42958"/>
                </a:lnTo>
                <a:cubicBezTo>
                  <a:pt x="504730" y="16669"/>
                  <a:pt x="355949" y="7144"/>
                  <a:pt x="255937" y="7144"/>
                </a:cubicBezTo>
                <a:close/>
                <a:moveTo>
                  <a:pt x="255937" y="14002"/>
                </a:moveTo>
                <a:cubicBezTo>
                  <a:pt x="405860" y="14002"/>
                  <a:pt x="497872" y="30861"/>
                  <a:pt x="497872" y="42958"/>
                </a:cubicBezTo>
                <a:cubicBezTo>
                  <a:pt x="497872" y="55055"/>
                  <a:pt x="405860" y="71914"/>
                  <a:pt x="255937" y="71914"/>
                </a:cubicBezTo>
                <a:cubicBezTo>
                  <a:pt x="106013" y="71914"/>
                  <a:pt x="14002" y="54959"/>
                  <a:pt x="14002" y="42958"/>
                </a:cubicBezTo>
                <a:cubicBezTo>
                  <a:pt x="14002" y="30956"/>
                  <a:pt x="106013" y="14002"/>
                  <a:pt x="255937" y="14002"/>
                </a:cubicBezTo>
                <a:close/>
                <a:moveTo>
                  <a:pt x="255937" y="188976"/>
                </a:moveTo>
                <a:cubicBezTo>
                  <a:pt x="100203" y="188976"/>
                  <a:pt x="14002" y="167926"/>
                  <a:pt x="14002" y="153448"/>
                </a:cubicBezTo>
                <a:lnTo>
                  <a:pt x="14002" y="52197"/>
                </a:lnTo>
                <a:cubicBezTo>
                  <a:pt x="44291" y="71533"/>
                  <a:pt x="168688" y="78772"/>
                  <a:pt x="255937" y="78772"/>
                </a:cubicBezTo>
                <a:cubicBezTo>
                  <a:pt x="343186" y="78772"/>
                  <a:pt x="467582" y="71533"/>
                  <a:pt x="497872" y="52197"/>
                </a:cubicBezTo>
                <a:lnTo>
                  <a:pt x="497872" y="153448"/>
                </a:lnTo>
                <a:cubicBezTo>
                  <a:pt x="497872" y="167926"/>
                  <a:pt x="411671" y="188976"/>
                  <a:pt x="255937" y="188976"/>
                </a:cubicBezTo>
                <a:close/>
              </a:path>
            </a:pathLst>
          </a:custGeom>
          <a:solidFill>
            <a:srgbClr val="0064F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IBM Plex Sans"/>
              <a:ea typeface="+mn-ea"/>
              <a:cs typeface="+mn-cs"/>
            </a:endParaRPr>
          </a:p>
        </p:txBody>
      </p:sp>
      <p:sp>
        <p:nvSpPr>
          <p:cNvPr id="51" name="Rectangle 50">
            <a:extLst>
              <a:ext uri="{FF2B5EF4-FFF2-40B4-BE49-F238E27FC236}">
                <a16:creationId xmlns:a16="http://schemas.microsoft.com/office/drawing/2014/main" id="{91952C73-F08D-4488-8BF6-F56287756125}"/>
              </a:ext>
            </a:extLst>
          </p:cNvPr>
          <p:cNvSpPr/>
          <p:nvPr/>
        </p:nvSpPr>
        <p:spPr>
          <a:xfrm>
            <a:off x="535660" y="3281045"/>
            <a:ext cx="1301520" cy="259715"/>
          </a:xfrm>
          <a:prstGeom prst="rect">
            <a:avLst/>
          </a:prstGeom>
          <a:solidFill>
            <a:schemeClr val="accent2"/>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a:ea typeface="+mn-ea"/>
                <a:cs typeface="+mn-cs"/>
              </a:rPr>
              <a:t>Middleware</a:t>
            </a:r>
          </a:p>
        </p:txBody>
      </p:sp>
      <p:sp>
        <p:nvSpPr>
          <p:cNvPr id="54" name="Rectangle 53">
            <a:extLst>
              <a:ext uri="{FF2B5EF4-FFF2-40B4-BE49-F238E27FC236}">
                <a16:creationId xmlns:a16="http://schemas.microsoft.com/office/drawing/2014/main" id="{F3C7EEA9-B933-48FB-B58B-C8157ECC1E76}"/>
              </a:ext>
            </a:extLst>
          </p:cNvPr>
          <p:cNvSpPr/>
          <p:nvPr/>
        </p:nvSpPr>
        <p:spPr>
          <a:xfrm>
            <a:off x="595587" y="2367716"/>
            <a:ext cx="558662" cy="221755"/>
          </a:xfrm>
          <a:prstGeom prst="rect">
            <a:avLst/>
          </a:prstGeom>
          <a:solidFill>
            <a:schemeClr val="tx1"/>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a:ea typeface="+mn-ea"/>
                <a:cs typeface="+mn-cs"/>
              </a:rPr>
              <a:t>MBOs</a:t>
            </a:r>
          </a:p>
        </p:txBody>
      </p:sp>
      <p:sp>
        <p:nvSpPr>
          <p:cNvPr id="55" name="Rectangle 54">
            <a:extLst>
              <a:ext uri="{FF2B5EF4-FFF2-40B4-BE49-F238E27FC236}">
                <a16:creationId xmlns:a16="http://schemas.microsoft.com/office/drawing/2014/main" id="{E73326B9-5C1C-432B-A9C4-172508639BE6}"/>
              </a:ext>
            </a:extLst>
          </p:cNvPr>
          <p:cNvSpPr/>
          <p:nvPr/>
        </p:nvSpPr>
        <p:spPr>
          <a:xfrm>
            <a:off x="1218592" y="2367716"/>
            <a:ext cx="558662" cy="221755"/>
          </a:xfrm>
          <a:prstGeom prst="rect">
            <a:avLst/>
          </a:prstGeom>
          <a:solidFill>
            <a:schemeClr val="tx1"/>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a:ea typeface="+mn-ea"/>
                <a:cs typeface="+mn-cs"/>
              </a:rPr>
              <a:t>REST APIs</a:t>
            </a:r>
          </a:p>
        </p:txBody>
      </p:sp>
      <p:grpSp>
        <p:nvGrpSpPr>
          <p:cNvPr id="60" name="Graphic 58">
            <a:extLst>
              <a:ext uri="{FF2B5EF4-FFF2-40B4-BE49-F238E27FC236}">
                <a16:creationId xmlns:a16="http://schemas.microsoft.com/office/drawing/2014/main" id="{119F6D65-806B-4616-A1AE-D3768AA1EBB7}"/>
              </a:ext>
            </a:extLst>
          </p:cNvPr>
          <p:cNvGrpSpPr/>
          <p:nvPr/>
        </p:nvGrpSpPr>
        <p:grpSpPr>
          <a:xfrm>
            <a:off x="1018785" y="1518412"/>
            <a:ext cx="335271" cy="379001"/>
            <a:chOff x="-1298259" y="849630"/>
            <a:chExt cx="390123" cy="441008"/>
          </a:xfrm>
          <a:solidFill>
            <a:schemeClr val="accent2"/>
          </a:solidFill>
        </p:grpSpPr>
        <p:sp>
          <p:nvSpPr>
            <p:cNvPr id="61" name="Freeform: Shape 60">
              <a:extLst>
                <a:ext uri="{FF2B5EF4-FFF2-40B4-BE49-F238E27FC236}">
                  <a16:creationId xmlns:a16="http://schemas.microsoft.com/office/drawing/2014/main" id="{8FF027CF-8A3B-4251-B05F-304E945F60F2}"/>
                </a:ext>
              </a:extLst>
            </p:cNvPr>
            <p:cNvSpPr/>
            <p:nvPr/>
          </p:nvSpPr>
          <p:spPr>
            <a:xfrm>
              <a:off x="-1320383" y="827506"/>
              <a:ext cx="424047" cy="474932"/>
            </a:xfrm>
            <a:custGeom>
              <a:avLst/>
              <a:gdLst>
                <a:gd name="connsiteX0" fmla="*/ 22124 w 424046"/>
                <a:gd name="connsiteY0" fmla="*/ 22124 h 474931"/>
                <a:gd name="connsiteX1" fmla="*/ 22124 w 424046"/>
                <a:gd name="connsiteY1" fmla="*/ 451598 h 474931"/>
                <a:gd name="connsiteX2" fmla="*/ 28230 w 424046"/>
                <a:gd name="connsiteY2" fmla="*/ 457704 h 474931"/>
                <a:gd name="connsiteX3" fmla="*/ 401392 w 424046"/>
                <a:gd name="connsiteY3" fmla="*/ 457704 h 474931"/>
                <a:gd name="connsiteX4" fmla="*/ 407498 w 424046"/>
                <a:gd name="connsiteY4" fmla="*/ 451598 h 474931"/>
                <a:gd name="connsiteX5" fmla="*/ 407498 w 424046"/>
                <a:gd name="connsiteY5" fmla="*/ 22124 h 474931"/>
                <a:gd name="connsiteX6" fmla="*/ 22124 w 424046"/>
                <a:gd name="connsiteY6" fmla="*/ 22124 h 474931"/>
                <a:gd name="connsiteX7" fmla="*/ 395285 w 424046"/>
                <a:gd name="connsiteY7" fmla="*/ 445492 h 474931"/>
                <a:gd name="connsiteX8" fmla="*/ 34337 w 424046"/>
                <a:gd name="connsiteY8" fmla="*/ 445492 h 474931"/>
                <a:gd name="connsiteX9" fmla="*/ 34337 w 424046"/>
                <a:gd name="connsiteY9" fmla="*/ 372895 h 474931"/>
                <a:gd name="connsiteX10" fmla="*/ 395285 w 424046"/>
                <a:gd name="connsiteY10" fmla="*/ 372895 h 474931"/>
                <a:gd name="connsiteX11" fmla="*/ 395285 w 424046"/>
                <a:gd name="connsiteY11" fmla="*/ 445492 h 474931"/>
                <a:gd name="connsiteX12" fmla="*/ 395285 w 424046"/>
                <a:gd name="connsiteY12" fmla="*/ 360683 h 474931"/>
                <a:gd name="connsiteX13" fmla="*/ 34337 w 424046"/>
                <a:gd name="connsiteY13" fmla="*/ 360683 h 474931"/>
                <a:gd name="connsiteX14" fmla="*/ 34337 w 424046"/>
                <a:gd name="connsiteY14" fmla="*/ 288086 h 474931"/>
                <a:gd name="connsiteX15" fmla="*/ 395285 w 424046"/>
                <a:gd name="connsiteY15" fmla="*/ 288086 h 474931"/>
                <a:gd name="connsiteX16" fmla="*/ 395285 w 424046"/>
                <a:gd name="connsiteY16" fmla="*/ 360683 h 474931"/>
                <a:gd name="connsiteX17" fmla="*/ 395285 w 424046"/>
                <a:gd name="connsiteY17" fmla="*/ 275873 h 474931"/>
                <a:gd name="connsiteX18" fmla="*/ 34337 w 424046"/>
                <a:gd name="connsiteY18" fmla="*/ 275873 h 474931"/>
                <a:gd name="connsiteX19" fmla="*/ 34337 w 424046"/>
                <a:gd name="connsiteY19" fmla="*/ 203277 h 474931"/>
                <a:gd name="connsiteX20" fmla="*/ 395285 w 424046"/>
                <a:gd name="connsiteY20" fmla="*/ 203277 h 474931"/>
                <a:gd name="connsiteX21" fmla="*/ 395285 w 424046"/>
                <a:gd name="connsiteY21" fmla="*/ 275873 h 474931"/>
                <a:gd name="connsiteX22" fmla="*/ 395285 w 424046"/>
                <a:gd name="connsiteY22" fmla="*/ 191064 h 474931"/>
                <a:gd name="connsiteX23" fmla="*/ 34337 w 424046"/>
                <a:gd name="connsiteY23" fmla="*/ 191064 h 474931"/>
                <a:gd name="connsiteX24" fmla="*/ 34337 w 424046"/>
                <a:gd name="connsiteY24" fmla="*/ 118467 h 474931"/>
                <a:gd name="connsiteX25" fmla="*/ 395285 w 424046"/>
                <a:gd name="connsiteY25" fmla="*/ 118467 h 474931"/>
                <a:gd name="connsiteX26" fmla="*/ 395285 w 424046"/>
                <a:gd name="connsiteY26" fmla="*/ 191064 h 474931"/>
                <a:gd name="connsiteX27" fmla="*/ 395285 w 424046"/>
                <a:gd name="connsiteY27" fmla="*/ 106255 h 474931"/>
                <a:gd name="connsiteX28" fmla="*/ 34337 w 424046"/>
                <a:gd name="connsiteY28" fmla="*/ 106255 h 474931"/>
                <a:gd name="connsiteX29" fmla="*/ 34337 w 424046"/>
                <a:gd name="connsiteY29" fmla="*/ 33658 h 474931"/>
                <a:gd name="connsiteX30" fmla="*/ 395285 w 424046"/>
                <a:gd name="connsiteY30" fmla="*/ 33658 h 474931"/>
                <a:gd name="connsiteX31" fmla="*/ 395285 w 424046"/>
                <a:gd name="connsiteY31" fmla="*/ 106255 h 474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4046" h="474931">
                  <a:moveTo>
                    <a:pt x="22124" y="22124"/>
                  </a:moveTo>
                  <a:lnTo>
                    <a:pt x="22124" y="451598"/>
                  </a:lnTo>
                  <a:cubicBezTo>
                    <a:pt x="22124" y="454990"/>
                    <a:pt x="24838" y="457704"/>
                    <a:pt x="28230" y="457704"/>
                  </a:cubicBezTo>
                  <a:lnTo>
                    <a:pt x="401392" y="457704"/>
                  </a:lnTo>
                  <a:cubicBezTo>
                    <a:pt x="404784" y="457704"/>
                    <a:pt x="407498" y="454990"/>
                    <a:pt x="407498" y="451598"/>
                  </a:cubicBezTo>
                  <a:lnTo>
                    <a:pt x="407498" y="22124"/>
                  </a:lnTo>
                  <a:lnTo>
                    <a:pt x="22124" y="22124"/>
                  </a:lnTo>
                  <a:close/>
                  <a:moveTo>
                    <a:pt x="395285" y="445492"/>
                  </a:moveTo>
                  <a:lnTo>
                    <a:pt x="34337" y="445492"/>
                  </a:lnTo>
                  <a:lnTo>
                    <a:pt x="34337" y="372895"/>
                  </a:lnTo>
                  <a:lnTo>
                    <a:pt x="395285" y="372895"/>
                  </a:lnTo>
                  <a:lnTo>
                    <a:pt x="395285" y="445492"/>
                  </a:lnTo>
                  <a:close/>
                  <a:moveTo>
                    <a:pt x="395285" y="360683"/>
                  </a:moveTo>
                  <a:lnTo>
                    <a:pt x="34337" y="360683"/>
                  </a:lnTo>
                  <a:lnTo>
                    <a:pt x="34337" y="288086"/>
                  </a:lnTo>
                  <a:lnTo>
                    <a:pt x="395285" y="288086"/>
                  </a:lnTo>
                  <a:lnTo>
                    <a:pt x="395285" y="360683"/>
                  </a:lnTo>
                  <a:close/>
                  <a:moveTo>
                    <a:pt x="395285" y="275873"/>
                  </a:moveTo>
                  <a:lnTo>
                    <a:pt x="34337" y="275873"/>
                  </a:lnTo>
                  <a:lnTo>
                    <a:pt x="34337" y="203277"/>
                  </a:lnTo>
                  <a:lnTo>
                    <a:pt x="395285" y="203277"/>
                  </a:lnTo>
                  <a:lnTo>
                    <a:pt x="395285" y="275873"/>
                  </a:lnTo>
                  <a:close/>
                  <a:moveTo>
                    <a:pt x="395285" y="191064"/>
                  </a:moveTo>
                  <a:lnTo>
                    <a:pt x="34337" y="191064"/>
                  </a:lnTo>
                  <a:lnTo>
                    <a:pt x="34337" y="118467"/>
                  </a:lnTo>
                  <a:lnTo>
                    <a:pt x="395285" y="118467"/>
                  </a:lnTo>
                  <a:lnTo>
                    <a:pt x="395285" y="191064"/>
                  </a:lnTo>
                  <a:close/>
                  <a:moveTo>
                    <a:pt x="395285" y="106255"/>
                  </a:moveTo>
                  <a:lnTo>
                    <a:pt x="34337" y="106255"/>
                  </a:lnTo>
                  <a:lnTo>
                    <a:pt x="34337" y="33658"/>
                  </a:lnTo>
                  <a:lnTo>
                    <a:pt x="395285" y="33658"/>
                  </a:lnTo>
                  <a:lnTo>
                    <a:pt x="395285" y="106255"/>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62" name="Freeform: Shape 61">
              <a:extLst>
                <a:ext uri="{FF2B5EF4-FFF2-40B4-BE49-F238E27FC236}">
                  <a16:creationId xmlns:a16="http://schemas.microsoft.com/office/drawing/2014/main" id="{F90233B0-497F-4381-A49C-C34325DEE480}"/>
                </a:ext>
              </a:extLst>
            </p:cNvPr>
            <p:cNvSpPr/>
            <p:nvPr/>
          </p:nvSpPr>
          <p:spPr>
            <a:xfrm>
              <a:off x="-1076811" y="1199988"/>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63" name="Freeform: Shape 62">
              <a:extLst>
                <a:ext uri="{FF2B5EF4-FFF2-40B4-BE49-F238E27FC236}">
                  <a16:creationId xmlns:a16="http://schemas.microsoft.com/office/drawing/2014/main" id="{BC983929-EB86-46E0-9405-2181912C5410}"/>
                </a:ext>
              </a:extLst>
            </p:cNvPr>
            <p:cNvSpPr/>
            <p:nvPr/>
          </p:nvSpPr>
          <p:spPr>
            <a:xfrm>
              <a:off x="-1212506"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64" name="Freeform: Shape 63">
              <a:extLst>
                <a:ext uri="{FF2B5EF4-FFF2-40B4-BE49-F238E27FC236}">
                  <a16:creationId xmlns:a16="http://schemas.microsoft.com/office/drawing/2014/main" id="{5EE63D6A-2D56-479A-ABF5-2987F82E993C}"/>
                </a:ext>
              </a:extLst>
            </p:cNvPr>
            <p:cNvSpPr/>
            <p:nvPr/>
          </p:nvSpPr>
          <p:spPr>
            <a:xfrm>
              <a:off x="-1246429"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65" name="Freeform: Shape 64">
              <a:extLst>
                <a:ext uri="{FF2B5EF4-FFF2-40B4-BE49-F238E27FC236}">
                  <a16:creationId xmlns:a16="http://schemas.microsoft.com/office/drawing/2014/main" id="{E1D5813E-EA1D-45D1-83E6-DF855ABC98D2}"/>
                </a:ext>
              </a:extLst>
            </p:cNvPr>
            <p:cNvSpPr/>
            <p:nvPr/>
          </p:nvSpPr>
          <p:spPr>
            <a:xfrm>
              <a:off x="-1280353"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66" name="Freeform: Shape 65">
              <a:extLst>
                <a:ext uri="{FF2B5EF4-FFF2-40B4-BE49-F238E27FC236}">
                  <a16:creationId xmlns:a16="http://schemas.microsoft.com/office/drawing/2014/main" id="{89181364-CD28-4511-BAE5-B33EFFDBB639}"/>
                </a:ext>
              </a:extLst>
            </p:cNvPr>
            <p:cNvSpPr/>
            <p:nvPr/>
          </p:nvSpPr>
          <p:spPr>
            <a:xfrm>
              <a:off x="-1076811" y="1115179"/>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67" name="Freeform: Shape 66">
              <a:extLst>
                <a:ext uri="{FF2B5EF4-FFF2-40B4-BE49-F238E27FC236}">
                  <a16:creationId xmlns:a16="http://schemas.microsoft.com/office/drawing/2014/main" id="{9E3C7DCC-39E8-436E-A09D-F46CE2967C3A}"/>
                </a:ext>
              </a:extLst>
            </p:cNvPr>
            <p:cNvSpPr/>
            <p:nvPr/>
          </p:nvSpPr>
          <p:spPr>
            <a:xfrm>
              <a:off x="-1212506"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68" name="Freeform: Shape 67">
              <a:extLst>
                <a:ext uri="{FF2B5EF4-FFF2-40B4-BE49-F238E27FC236}">
                  <a16:creationId xmlns:a16="http://schemas.microsoft.com/office/drawing/2014/main" id="{0243C0CC-E073-4AEF-8421-481D30C0CD8C}"/>
                </a:ext>
              </a:extLst>
            </p:cNvPr>
            <p:cNvSpPr/>
            <p:nvPr/>
          </p:nvSpPr>
          <p:spPr>
            <a:xfrm>
              <a:off x="-1246429"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69" name="Freeform: Shape 68">
              <a:extLst>
                <a:ext uri="{FF2B5EF4-FFF2-40B4-BE49-F238E27FC236}">
                  <a16:creationId xmlns:a16="http://schemas.microsoft.com/office/drawing/2014/main" id="{CDD68AD5-58FF-4EFD-97A6-5A61CF45260D}"/>
                </a:ext>
              </a:extLst>
            </p:cNvPr>
            <p:cNvSpPr/>
            <p:nvPr/>
          </p:nvSpPr>
          <p:spPr>
            <a:xfrm>
              <a:off x="-1280353"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70" name="Freeform: Shape 69">
              <a:extLst>
                <a:ext uri="{FF2B5EF4-FFF2-40B4-BE49-F238E27FC236}">
                  <a16:creationId xmlns:a16="http://schemas.microsoft.com/office/drawing/2014/main" id="{C09EEEB4-1F25-4ACB-A708-466968F86814}"/>
                </a:ext>
              </a:extLst>
            </p:cNvPr>
            <p:cNvSpPr/>
            <p:nvPr/>
          </p:nvSpPr>
          <p:spPr>
            <a:xfrm>
              <a:off x="-1076811" y="1030370"/>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71" name="Freeform: Shape 70">
              <a:extLst>
                <a:ext uri="{FF2B5EF4-FFF2-40B4-BE49-F238E27FC236}">
                  <a16:creationId xmlns:a16="http://schemas.microsoft.com/office/drawing/2014/main" id="{8AE8BF42-22FF-439E-972B-9064F8E59F88}"/>
                </a:ext>
              </a:extLst>
            </p:cNvPr>
            <p:cNvSpPr/>
            <p:nvPr/>
          </p:nvSpPr>
          <p:spPr>
            <a:xfrm>
              <a:off x="-1212506"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72" name="Freeform: Shape 71">
              <a:extLst>
                <a:ext uri="{FF2B5EF4-FFF2-40B4-BE49-F238E27FC236}">
                  <a16:creationId xmlns:a16="http://schemas.microsoft.com/office/drawing/2014/main" id="{F6B78F92-852F-49A4-B8E5-969FC1BC4D54}"/>
                </a:ext>
              </a:extLst>
            </p:cNvPr>
            <p:cNvSpPr/>
            <p:nvPr/>
          </p:nvSpPr>
          <p:spPr>
            <a:xfrm>
              <a:off x="-1246429"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73" name="Freeform: Shape 72">
              <a:extLst>
                <a:ext uri="{FF2B5EF4-FFF2-40B4-BE49-F238E27FC236}">
                  <a16:creationId xmlns:a16="http://schemas.microsoft.com/office/drawing/2014/main" id="{EFC078E0-5E3E-4671-B28C-A90FE4D4BE7C}"/>
                </a:ext>
              </a:extLst>
            </p:cNvPr>
            <p:cNvSpPr/>
            <p:nvPr/>
          </p:nvSpPr>
          <p:spPr>
            <a:xfrm>
              <a:off x="-1280353"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74" name="Freeform: Shape 73">
              <a:extLst>
                <a:ext uri="{FF2B5EF4-FFF2-40B4-BE49-F238E27FC236}">
                  <a16:creationId xmlns:a16="http://schemas.microsoft.com/office/drawing/2014/main" id="{B6DEB1EE-4240-4374-AE48-221028C3C240}"/>
                </a:ext>
              </a:extLst>
            </p:cNvPr>
            <p:cNvSpPr/>
            <p:nvPr/>
          </p:nvSpPr>
          <p:spPr>
            <a:xfrm>
              <a:off x="-1076811" y="945560"/>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75" name="Freeform: Shape 74">
              <a:extLst>
                <a:ext uri="{FF2B5EF4-FFF2-40B4-BE49-F238E27FC236}">
                  <a16:creationId xmlns:a16="http://schemas.microsoft.com/office/drawing/2014/main" id="{2DCE33C5-459B-47B9-9D92-25AECE363E5D}"/>
                </a:ext>
              </a:extLst>
            </p:cNvPr>
            <p:cNvSpPr/>
            <p:nvPr/>
          </p:nvSpPr>
          <p:spPr>
            <a:xfrm>
              <a:off x="-1212506"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76" name="Freeform: Shape 75">
              <a:extLst>
                <a:ext uri="{FF2B5EF4-FFF2-40B4-BE49-F238E27FC236}">
                  <a16:creationId xmlns:a16="http://schemas.microsoft.com/office/drawing/2014/main" id="{46F72C35-92FB-4806-9E23-7F89937EBBC4}"/>
                </a:ext>
              </a:extLst>
            </p:cNvPr>
            <p:cNvSpPr/>
            <p:nvPr/>
          </p:nvSpPr>
          <p:spPr>
            <a:xfrm>
              <a:off x="-1246429"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77" name="Freeform: Shape 76">
              <a:extLst>
                <a:ext uri="{FF2B5EF4-FFF2-40B4-BE49-F238E27FC236}">
                  <a16:creationId xmlns:a16="http://schemas.microsoft.com/office/drawing/2014/main" id="{68445282-4333-4E91-8E9B-56699C49AB74}"/>
                </a:ext>
              </a:extLst>
            </p:cNvPr>
            <p:cNvSpPr/>
            <p:nvPr/>
          </p:nvSpPr>
          <p:spPr>
            <a:xfrm>
              <a:off x="-1280353"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78" name="Freeform: Shape 77">
              <a:extLst>
                <a:ext uri="{FF2B5EF4-FFF2-40B4-BE49-F238E27FC236}">
                  <a16:creationId xmlns:a16="http://schemas.microsoft.com/office/drawing/2014/main" id="{DD7C5300-CC5B-4E7A-8481-D6780311C60F}"/>
                </a:ext>
              </a:extLst>
            </p:cNvPr>
            <p:cNvSpPr/>
            <p:nvPr/>
          </p:nvSpPr>
          <p:spPr>
            <a:xfrm>
              <a:off x="-1076811" y="860751"/>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79" name="Freeform: Shape 78">
              <a:extLst>
                <a:ext uri="{FF2B5EF4-FFF2-40B4-BE49-F238E27FC236}">
                  <a16:creationId xmlns:a16="http://schemas.microsoft.com/office/drawing/2014/main" id="{0A1DBB80-1D5D-450C-9726-1ADE4C966D11}"/>
                </a:ext>
              </a:extLst>
            </p:cNvPr>
            <p:cNvSpPr/>
            <p:nvPr/>
          </p:nvSpPr>
          <p:spPr>
            <a:xfrm>
              <a:off x="-1212506"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0" name="Freeform: Shape 79">
              <a:extLst>
                <a:ext uri="{FF2B5EF4-FFF2-40B4-BE49-F238E27FC236}">
                  <a16:creationId xmlns:a16="http://schemas.microsoft.com/office/drawing/2014/main" id="{15D62536-26BC-4E67-AEDD-325E159E443A}"/>
                </a:ext>
              </a:extLst>
            </p:cNvPr>
            <p:cNvSpPr/>
            <p:nvPr/>
          </p:nvSpPr>
          <p:spPr>
            <a:xfrm>
              <a:off x="-1246429"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1" name="Freeform: Shape 80">
              <a:extLst>
                <a:ext uri="{FF2B5EF4-FFF2-40B4-BE49-F238E27FC236}">
                  <a16:creationId xmlns:a16="http://schemas.microsoft.com/office/drawing/2014/main" id="{EC97C861-B0FC-49D5-81EC-994B24ECE4BA}"/>
                </a:ext>
              </a:extLst>
            </p:cNvPr>
            <p:cNvSpPr/>
            <p:nvPr/>
          </p:nvSpPr>
          <p:spPr>
            <a:xfrm>
              <a:off x="-1280353"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grpSp>
      <p:grpSp>
        <p:nvGrpSpPr>
          <p:cNvPr id="82" name="Graphic 58">
            <a:extLst>
              <a:ext uri="{FF2B5EF4-FFF2-40B4-BE49-F238E27FC236}">
                <a16:creationId xmlns:a16="http://schemas.microsoft.com/office/drawing/2014/main" id="{5FF4C6D3-72EA-4F0C-A835-1F84ABF6DA42}"/>
              </a:ext>
            </a:extLst>
          </p:cNvPr>
          <p:cNvGrpSpPr/>
          <p:nvPr/>
        </p:nvGrpSpPr>
        <p:grpSpPr>
          <a:xfrm>
            <a:off x="1018785" y="2805503"/>
            <a:ext cx="335271" cy="379001"/>
            <a:chOff x="-1298259" y="849630"/>
            <a:chExt cx="390123" cy="441008"/>
          </a:xfrm>
          <a:solidFill>
            <a:schemeClr val="accent2"/>
          </a:solidFill>
        </p:grpSpPr>
        <p:sp>
          <p:nvSpPr>
            <p:cNvPr id="83" name="Freeform: Shape 82">
              <a:extLst>
                <a:ext uri="{FF2B5EF4-FFF2-40B4-BE49-F238E27FC236}">
                  <a16:creationId xmlns:a16="http://schemas.microsoft.com/office/drawing/2014/main" id="{45974A0C-1969-4E44-B142-2D9898DBA968}"/>
                </a:ext>
              </a:extLst>
            </p:cNvPr>
            <p:cNvSpPr/>
            <p:nvPr/>
          </p:nvSpPr>
          <p:spPr>
            <a:xfrm>
              <a:off x="-1320383" y="827506"/>
              <a:ext cx="424047" cy="474932"/>
            </a:xfrm>
            <a:custGeom>
              <a:avLst/>
              <a:gdLst>
                <a:gd name="connsiteX0" fmla="*/ 22124 w 424046"/>
                <a:gd name="connsiteY0" fmla="*/ 22124 h 474931"/>
                <a:gd name="connsiteX1" fmla="*/ 22124 w 424046"/>
                <a:gd name="connsiteY1" fmla="*/ 451598 h 474931"/>
                <a:gd name="connsiteX2" fmla="*/ 28230 w 424046"/>
                <a:gd name="connsiteY2" fmla="*/ 457704 h 474931"/>
                <a:gd name="connsiteX3" fmla="*/ 401392 w 424046"/>
                <a:gd name="connsiteY3" fmla="*/ 457704 h 474931"/>
                <a:gd name="connsiteX4" fmla="*/ 407498 w 424046"/>
                <a:gd name="connsiteY4" fmla="*/ 451598 h 474931"/>
                <a:gd name="connsiteX5" fmla="*/ 407498 w 424046"/>
                <a:gd name="connsiteY5" fmla="*/ 22124 h 474931"/>
                <a:gd name="connsiteX6" fmla="*/ 22124 w 424046"/>
                <a:gd name="connsiteY6" fmla="*/ 22124 h 474931"/>
                <a:gd name="connsiteX7" fmla="*/ 395285 w 424046"/>
                <a:gd name="connsiteY7" fmla="*/ 445492 h 474931"/>
                <a:gd name="connsiteX8" fmla="*/ 34337 w 424046"/>
                <a:gd name="connsiteY8" fmla="*/ 445492 h 474931"/>
                <a:gd name="connsiteX9" fmla="*/ 34337 w 424046"/>
                <a:gd name="connsiteY9" fmla="*/ 372895 h 474931"/>
                <a:gd name="connsiteX10" fmla="*/ 395285 w 424046"/>
                <a:gd name="connsiteY10" fmla="*/ 372895 h 474931"/>
                <a:gd name="connsiteX11" fmla="*/ 395285 w 424046"/>
                <a:gd name="connsiteY11" fmla="*/ 445492 h 474931"/>
                <a:gd name="connsiteX12" fmla="*/ 395285 w 424046"/>
                <a:gd name="connsiteY12" fmla="*/ 360683 h 474931"/>
                <a:gd name="connsiteX13" fmla="*/ 34337 w 424046"/>
                <a:gd name="connsiteY13" fmla="*/ 360683 h 474931"/>
                <a:gd name="connsiteX14" fmla="*/ 34337 w 424046"/>
                <a:gd name="connsiteY14" fmla="*/ 288086 h 474931"/>
                <a:gd name="connsiteX15" fmla="*/ 395285 w 424046"/>
                <a:gd name="connsiteY15" fmla="*/ 288086 h 474931"/>
                <a:gd name="connsiteX16" fmla="*/ 395285 w 424046"/>
                <a:gd name="connsiteY16" fmla="*/ 360683 h 474931"/>
                <a:gd name="connsiteX17" fmla="*/ 395285 w 424046"/>
                <a:gd name="connsiteY17" fmla="*/ 275873 h 474931"/>
                <a:gd name="connsiteX18" fmla="*/ 34337 w 424046"/>
                <a:gd name="connsiteY18" fmla="*/ 275873 h 474931"/>
                <a:gd name="connsiteX19" fmla="*/ 34337 w 424046"/>
                <a:gd name="connsiteY19" fmla="*/ 203277 h 474931"/>
                <a:gd name="connsiteX20" fmla="*/ 395285 w 424046"/>
                <a:gd name="connsiteY20" fmla="*/ 203277 h 474931"/>
                <a:gd name="connsiteX21" fmla="*/ 395285 w 424046"/>
                <a:gd name="connsiteY21" fmla="*/ 275873 h 474931"/>
                <a:gd name="connsiteX22" fmla="*/ 395285 w 424046"/>
                <a:gd name="connsiteY22" fmla="*/ 191064 h 474931"/>
                <a:gd name="connsiteX23" fmla="*/ 34337 w 424046"/>
                <a:gd name="connsiteY23" fmla="*/ 191064 h 474931"/>
                <a:gd name="connsiteX24" fmla="*/ 34337 w 424046"/>
                <a:gd name="connsiteY24" fmla="*/ 118467 h 474931"/>
                <a:gd name="connsiteX25" fmla="*/ 395285 w 424046"/>
                <a:gd name="connsiteY25" fmla="*/ 118467 h 474931"/>
                <a:gd name="connsiteX26" fmla="*/ 395285 w 424046"/>
                <a:gd name="connsiteY26" fmla="*/ 191064 h 474931"/>
                <a:gd name="connsiteX27" fmla="*/ 395285 w 424046"/>
                <a:gd name="connsiteY27" fmla="*/ 106255 h 474931"/>
                <a:gd name="connsiteX28" fmla="*/ 34337 w 424046"/>
                <a:gd name="connsiteY28" fmla="*/ 106255 h 474931"/>
                <a:gd name="connsiteX29" fmla="*/ 34337 w 424046"/>
                <a:gd name="connsiteY29" fmla="*/ 33658 h 474931"/>
                <a:gd name="connsiteX30" fmla="*/ 395285 w 424046"/>
                <a:gd name="connsiteY30" fmla="*/ 33658 h 474931"/>
                <a:gd name="connsiteX31" fmla="*/ 395285 w 424046"/>
                <a:gd name="connsiteY31" fmla="*/ 106255 h 474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4046" h="474931">
                  <a:moveTo>
                    <a:pt x="22124" y="22124"/>
                  </a:moveTo>
                  <a:lnTo>
                    <a:pt x="22124" y="451598"/>
                  </a:lnTo>
                  <a:cubicBezTo>
                    <a:pt x="22124" y="454990"/>
                    <a:pt x="24838" y="457704"/>
                    <a:pt x="28230" y="457704"/>
                  </a:cubicBezTo>
                  <a:lnTo>
                    <a:pt x="401392" y="457704"/>
                  </a:lnTo>
                  <a:cubicBezTo>
                    <a:pt x="404784" y="457704"/>
                    <a:pt x="407498" y="454990"/>
                    <a:pt x="407498" y="451598"/>
                  </a:cubicBezTo>
                  <a:lnTo>
                    <a:pt x="407498" y="22124"/>
                  </a:lnTo>
                  <a:lnTo>
                    <a:pt x="22124" y="22124"/>
                  </a:lnTo>
                  <a:close/>
                  <a:moveTo>
                    <a:pt x="395285" y="445492"/>
                  </a:moveTo>
                  <a:lnTo>
                    <a:pt x="34337" y="445492"/>
                  </a:lnTo>
                  <a:lnTo>
                    <a:pt x="34337" y="372895"/>
                  </a:lnTo>
                  <a:lnTo>
                    <a:pt x="395285" y="372895"/>
                  </a:lnTo>
                  <a:lnTo>
                    <a:pt x="395285" y="445492"/>
                  </a:lnTo>
                  <a:close/>
                  <a:moveTo>
                    <a:pt x="395285" y="360683"/>
                  </a:moveTo>
                  <a:lnTo>
                    <a:pt x="34337" y="360683"/>
                  </a:lnTo>
                  <a:lnTo>
                    <a:pt x="34337" y="288086"/>
                  </a:lnTo>
                  <a:lnTo>
                    <a:pt x="395285" y="288086"/>
                  </a:lnTo>
                  <a:lnTo>
                    <a:pt x="395285" y="360683"/>
                  </a:lnTo>
                  <a:close/>
                  <a:moveTo>
                    <a:pt x="395285" y="275873"/>
                  </a:moveTo>
                  <a:lnTo>
                    <a:pt x="34337" y="275873"/>
                  </a:lnTo>
                  <a:lnTo>
                    <a:pt x="34337" y="203277"/>
                  </a:lnTo>
                  <a:lnTo>
                    <a:pt x="395285" y="203277"/>
                  </a:lnTo>
                  <a:lnTo>
                    <a:pt x="395285" y="275873"/>
                  </a:lnTo>
                  <a:close/>
                  <a:moveTo>
                    <a:pt x="395285" y="191064"/>
                  </a:moveTo>
                  <a:lnTo>
                    <a:pt x="34337" y="191064"/>
                  </a:lnTo>
                  <a:lnTo>
                    <a:pt x="34337" y="118467"/>
                  </a:lnTo>
                  <a:lnTo>
                    <a:pt x="395285" y="118467"/>
                  </a:lnTo>
                  <a:lnTo>
                    <a:pt x="395285" y="191064"/>
                  </a:lnTo>
                  <a:close/>
                  <a:moveTo>
                    <a:pt x="395285" y="106255"/>
                  </a:moveTo>
                  <a:lnTo>
                    <a:pt x="34337" y="106255"/>
                  </a:lnTo>
                  <a:lnTo>
                    <a:pt x="34337" y="33658"/>
                  </a:lnTo>
                  <a:lnTo>
                    <a:pt x="395285" y="33658"/>
                  </a:lnTo>
                  <a:lnTo>
                    <a:pt x="395285" y="106255"/>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4" name="Freeform: Shape 83">
              <a:extLst>
                <a:ext uri="{FF2B5EF4-FFF2-40B4-BE49-F238E27FC236}">
                  <a16:creationId xmlns:a16="http://schemas.microsoft.com/office/drawing/2014/main" id="{47B06962-16B8-4E8D-A91C-17719CDFB3A1}"/>
                </a:ext>
              </a:extLst>
            </p:cNvPr>
            <p:cNvSpPr/>
            <p:nvPr/>
          </p:nvSpPr>
          <p:spPr>
            <a:xfrm>
              <a:off x="-1076811" y="1199988"/>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5" name="Freeform: Shape 84">
              <a:extLst>
                <a:ext uri="{FF2B5EF4-FFF2-40B4-BE49-F238E27FC236}">
                  <a16:creationId xmlns:a16="http://schemas.microsoft.com/office/drawing/2014/main" id="{67062E34-7BC8-413F-B814-159CE440D046}"/>
                </a:ext>
              </a:extLst>
            </p:cNvPr>
            <p:cNvSpPr/>
            <p:nvPr/>
          </p:nvSpPr>
          <p:spPr>
            <a:xfrm>
              <a:off x="-1212506"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6" name="Freeform: Shape 85">
              <a:extLst>
                <a:ext uri="{FF2B5EF4-FFF2-40B4-BE49-F238E27FC236}">
                  <a16:creationId xmlns:a16="http://schemas.microsoft.com/office/drawing/2014/main" id="{AD86199A-D636-4167-91BC-F08818FADF27}"/>
                </a:ext>
              </a:extLst>
            </p:cNvPr>
            <p:cNvSpPr/>
            <p:nvPr/>
          </p:nvSpPr>
          <p:spPr>
            <a:xfrm>
              <a:off x="-1246429"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7" name="Freeform: Shape 86">
              <a:extLst>
                <a:ext uri="{FF2B5EF4-FFF2-40B4-BE49-F238E27FC236}">
                  <a16:creationId xmlns:a16="http://schemas.microsoft.com/office/drawing/2014/main" id="{6CA437F7-8858-450F-84B7-63C3113405E2}"/>
                </a:ext>
              </a:extLst>
            </p:cNvPr>
            <p:cNvSpPr/>
            <p:nvPr/>
          </p:nvSpPr>
          <p:spPr>
            <a:xfrm>
              <a:off x="-1280353"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8" name="Freeform: Shape 87">
              <a:extLst>
                <a:ext uri="{FF2B5EF4-FFF2-40B4-BE49-F238E27FC236}">
                  <a16:creationId xmlns:a16="http://schemas.microsoft.com/office/drawing/2014/main" id="{0C431EB8-DD91-4579-84C5-86119C85675F}"/>
                </a:ext>
              </a:extLst>
            </p:cNvPr>
            <p:cNvSpPr/>
            <p:nvPr/>
          </p:nvSpPr>
          <p:spPr>
            <a:xfrm>
              <a:off x="-1076811" y="1115179"/>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9" name="Freeform: Shape 88">
              <a:extLst>
                <a:ext uri="{FF2B5EF4-FFF2-40B4-BE49-F238E27FC236}">
                  <a16:creationId xmlns:a16="http://schemas.microsoft.com/office/drawing/2014/main" id="{4049C1D4-4883-4660-8795-A53E2AD85FD1}"/>
                </a:ext>
              </a:extLst>
            </p:cNvPr>
            <p:cNvSpPr/>
            <p:nvPr/>
          </p:nvSpPr>
          <p:spPr>
            <a:xfrm>
              <a:off x="-1212506"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90" name="Freeform: Shape 89">
              <a:extLst>
                <a:ext uri="{FF2B5EF4-FFF2-40B4-BE49-F238E27FC236}">
                  <a16:creationId xmlns:a16="http://schemas.microsoft.com/office/drawing/2014/main" id="{8F6378B3-7816-4767-97E4-F2A7A6E94631}"/>
                </a:ext>
              </a:extLst>
            </p:cNvPr>
            <p:cNvSpPr/>
            <p:nvPr/>
          </p:nvSpPr>
          <p:spPr>
            <a:xfrm>
              <a:off x="-1246429"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91" name="Freeform: Shape 90">
              <a:extLst>
                <a:ext uri="{FF2B5EF4-FFF2-40B4-BE49-F238E27FC236}">
                  <a16:creationId xmlns:a16="http://schemas.microsoft.com/office/drawing/2014/main" id="{DC68A50E-3A9C-42C4-AB59-E65185F1E835}"/>
                </a:ext>
              </a:extLst>
            </p:cNvPr>
            <p:cNvSpPr/>
            <p:nvPr/>
          </p:nvSpPr>
          <p:spPr>
            <a:xfrm>
              <a:off x="-1280353"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92" name="Freeform: Shape 91">
              <a:extLst>
                <a:ext uri="{FF2B5EF4-FFF2-40B4-BE49-F238E27FC236}">
                  <a16:creationId xmlns:a16="http://schemas.microsoft.com/office/drawing/2014/main" id="{E32B96A9-669B-4160-A273-D928B269364B}"/>
                </a:ext>
              </a:extLst>
            </p:cNvPr>
            <p:cNvSpPr/>
            <p:nvPr/>
          </p:nvSpPr>
          <p:spPr>
            <a:xfrm>
              <a:off x="-1076811" y="1030370"/>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93" name="Freeform: Shape 92">
              <a:extLst>
                <a:ext uri="{FF2B5EF4-FFF2-40B4-BE49-F238E27FC236}">
                  <a16:creationId xmlns:a16="http://schemas.microsoft.com/office/drawing/2014/main" id="{84F45342-14E7-429B-B8CA-502F0CE39451}"/>
                </a:ext>
              </a:extLst>
            </p:cNvPr>
            <p:cNvSpPr/>
            <p:nvPr/>
          </p:nvSpPr>
          <p:spPr>
            <a:xfrm>
              <a:off x="-1212506"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94" name="Freeform: Shape 93">
              <a:extLst>
                <a:ext uri="{FF2B5EF4-FFF2-40B4-BE49-F238E27FC236}">
                  <a16:creationId xmlns:a16="http://schemas.microsoft.com/office/drawing/2014/main" id="{783AB934-8B6B-4250-A143-75A4402296B7}"/>
                </a:ext>
              </a:extLst>
            </p:cNvPr>
            <p:cNvSpPr/>
            <p:nvPr/>
          </p:nvSpPr>
          <p:spPr>
            <a:xfrm>
              <a:off x="-1246429"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95" name="Freeform: Shape 94">
              <a:extLst>
                <a:ext uri="{FF2B5EF4-FFF2-40B4-BE49-F238E27FC236}">
                  <a16:creationId xmlns:a16="http://schemas.microsoft.com/office/drawing/2014/main" id="{56C98121-F007-4601-B2C8-6A3563E3C430}"/>
                </a:ext>
              </a:extLst>
            </p:cNvPr>
            <p:cNvSpPr/>
            <p:nvPr/>
          </p:nvSpPr>
          <p:spPr>
            <a:xfrm>
              <a:off x="-1280353"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96" name="Freeform: Shape 95">
              <a:extLst>
                <a:ext uri="{FF2B5EF4-FFF2-40B4-BE49-F238E27FC236}">
                  <a16:creationId xmlns:a16="http://schemas.microsoft.com/office/drawing/2014/main" id="{3E8F6307-1E95-40CB-B382-9369D4988209}"/>
                </a:ext>
              </a:extLst>
            </p:cNvPr>
            <p:cNvSpPr/>
            <p:nvPr/>
          </p:nvSpPr>
          <p:spPr>
            <a:xfrm>
              <a:off x="-1076811" y="945560"/>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97" name="Freeform: Shape 96">
              <a:extLst>
                <a:ext uri="{FF2B5EF4-FFF2-40B4-BE49-F238E27FC236}">
                  <a16:creationId xmlns:a16="http://schemas.microsoft.com/office/drawing/2014/main" id="{A2FD74DB-D0CF-475E-A91D-006FF52C3762}"/>
                </a:ext>
              </a:extLst>
            </p:cNvPr>
            <p:cNvSpPr/>
            <p:nvPr/>
          </p:nvSpPr>
          <p:spPr>
            <a:xfrm>
              <a:off x="-1212506"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98" name="Freeform: Shape 97">
              <a:extLst>
                <a:ext uri="{FF2B5EF4-FFF2-40B4-BE49-F238E27FC236}">
                  <a16:creationId xmlns:a16="http://schemas.microsoft.com/office/drawing/2014/main" id="{D9F2BECC-FCDE-4E7C-BE3C-2C9E0914ADE8}"/>
                </a:ext>
              </a:extLst>
            </p:cNvPr>
            <p:cNvSpPr/>
            <p:nvPr/>
          </p:nvSpPr>
          <p:spPr>
            <a:xfrm>
              <a:off x="-1246429"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99" name="Freeform: Shape 98">
              <a:extLst>
                <a:ext uri="{FF2B5EF4-FFF2-40B4-BE49-F238E27FC236}">
                  <a16:creationId xmlns:a16="http://schemas.microsoft.com/office/drawing/2014/main" id="{ECB5C802-10C4-4E1B-94E4-14875613CA88}"/>
                </a:ext>
              </a:extLst>
            </p:cNvPr>
            <p:cNvSpPr/>
            <p:nvPr/>
          </p:nvSpPr>
          <p:spPr>
            <a:xfrm>
              <a:off x="-1280353"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00" name="Freeform: Shape 99">
              <a:extLst>
                <a:ext uri="{FF2B5EF4-FFF2-40B4-BE49-F238E27FC236}">
                  <a16:creationId xmlns:a16="http://schemas.microsoft.com/office/drawing/2014/main" id="{F1E88DAA-DFDC-4E15-B38C-A36B1E7C0C58}"/>
                </a:ext>
              </a:extLst>
            </p:cNvPr>
            <p:cNvSpPr/>
            <p:nvPr/>
          </p:nvSpPr>
          <p:spPr>
            <a:xfrm>
              <a:off x="-1076811" y="860751"/>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01" name="Freeform: Shape 100">
              <a:extLst>
                <a:ext uri="{FF2B5EF4-FFF2-40B4-BE49-F238E27FC236}">
                  <a16:creationId xmlns:a16="http://schemas.microsoft.com/office/drawing/2014/main" id="{65BB0250-0A6F-4A6B-96DA-44F088B347DE}"/>
                </a:ext>
              </a:extLst>
            </p:cNvPr>
            <p:cNvSpPr/>
            <p:nvPr/>
          </p:nvSpPr>
          <p:spPr>
            <a:xfrm>
              <a:off x="-1212506"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02" name="Freeform: Shape 101">
              <a:extLst>
                <a:ext uri="{FF2B5EF4-FFF2-40B4-BE49-F238E27FC236}">
                  <a16:creationId xmlns:a16="http://schemas.microsoft.com/office/drawing/2014/main" id="{ED1617D7-8386-4649-ADA2-9053732CF497}"/>
                </a:ext>
              </a:extLst>
            </p:cNvPr>
            <p:cNvSpPr/>
            <p:nvPr/>
          </p:nvSpPr>
          <p:spPr>
            <a:xfrm>
              <a:off x="-1246429"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03" name="Freeform: Shape 102">
              <a:extLst>
                <a:ext uri="{FF2B5EF4-FFF2-40B4-BE49-F238E27FC236}">
                  <a16:creationId xmlns:a16="http://schemas.microsoft.com/office/drawing/2014/main" id="{EFF2B0E0-E35A-4B67-A0DF-C50C3F3B3B8F}"/>
                </a:ext>
              </a:extLst>
            </p:cNvPr>
            <p:cNvSpPr/>
            <p:nvPr/>
          </p:nvSpPr>
          <p:spPr>
            <a:xfrm>
              <a:off x="-1280353"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grpSp>
      <p:cxnSp>
        <p:nvCxnSpPr>
          <p:cNvPr id="104" name="Straight Arrow Connector 103">
            <a:extLst>
              <a:ext uri="{FF2B5EF4-FFF2-40B4-BE49-F238E27FC236}">
                <a16:creationId xmlns:a16="http://schemas.microsoft.com/office/drawing/2014/main" id="{BCC89E36-C9D4-4CF6-BA49-22311EDEAC99}"/>
              </a:ext>
            </a:extLst>
          </p:cNvPr>
          <p:cNvCxnSpPr>
            <a:cxnSpLocks/>
          </p:cNvCxnSpPr>
          <p:nvPr/>
        </p:nvCxnSpPr>
        <p:spPr>
          <a:xfrm flipH="1">
            <a:off x="1646006" y="2222884"/>
            <a:ext cx="403030" cy="0"/>
          </a:xfrm>
          <a:prstGeom prst="straightConnector1">
            <a:avLst/>
          </a:prstGeom>
          <a:ln w="9525">
            <a:solidFill>
              <a:schemeClr val="tx1"/>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07" name="Straight Arrow Connector 106">
            <a:extLst>
              <a:ext uri="{FF2B5EF4-FFF2-40B4-BE49-F238E27FC236}">
                <a16:creationId xmlns:a16="http://schemas.microsoft.com/office/drawing/2014/main" id="{A7514910-69C8-4352-8C3D-72FC0A127D6D}"/>
              </a:ext>
            </a:extLst>
          </p:cNvPr>
          <p:cNvCxnSpPr>
            <a:cxnSpLocks/>
          </p:cNvCxnSpPr>
          <p:nvPr/>
        </p:nvCxnSpPr>
        <p:spPr>
          <a:xfrm flipV="1">
            <a:off x="1638979" y="2589472"/>
            <a:ext cx="0" cy="792538"/>
          </a:xfrm>
          <a:prstGeom prst="straightConnector1">
            <a:avLst/>
          </a:prstGeom>
          <a:ln w="9525">
            <a:solidFill>
              <a:schemeClr val="tx1"/>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10" name="Straight Arrow Connector 109">
            <a:extLst>
              <a:ext uri="{FF2B5EF4-FFF2-40B4-BE49-F238E27FC236}">
                <a16:creationId xmlns:a16="http://schemas.microsoft.com/office/drawing/2014/main" id="{8E67CCDF-9D96-4104-81CA-CD8576A666F5}"/>
              </a:ext>
            </a:extLst>
          </p:cNvPr>
          <p:cNvCxnSpPr>
            <a:cxnSpLocks/>
          </p:cNvCxnSpPr>
          <p:nvPr/>
        </p:nvCxnSpPr>
        <p:spPr>
          <a:xfrm flipV="1">
            <a:off x="1638979" y="3429635"/>
            <a:ext cx="0" cy="348646"/>
          </a:xfrm>
          <a:prstGeom prst="straightConnector1">
            <a:avLst/>
          </a:prstGeom>
          <a:ln w="9525">
            <a:solidFill>
              <a:schemeClr val="tx1"/>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15" name="Connector: Elbow 114">
            <a:extLst>
              <a:ext uri="{FF2B5EF4-FFF2-40B4-BE49-F238E27FC236}">
                <a16:creationId xmlns:a16="http://schemas.microsoft.com/office/drawing/2014/main" id="{0664CC75-CBC1-492D-856B-3AE9C1AC89FF}"/>
              </a:ext>
            </a:extLst>
          </p:cNvPr>
          <p:cNvCxnSpPr>
            <a:cxnSpLocks/>
            <a:stCxn id="51" idx="3"/>
          </p:cNvCxnSpPr>
          <p:nvPr/>
        </p:nvCxnSpPr>
        <p:spPr>
          <a:xfrm flipV="1">
            <a:off x="1837180" y="2905909"/>
            <a:ext cx="1447773" cy="504994"/>
          </a:xfrm>
          <a:prstGeom prst="bentConnector3">
            <a:avLst/>
          </a:prstGeom>
          <a:ln w="9525">
            <a:solidFill>
              <a:schemeClr val="tx1"/>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18" name="Straight Arrow Connector 117">
            <a:extLst>
              <a:ext uri="{FF2B5EF4-FFF2-40B4-BE49-F238E27FC236}">
                <a16:creationId xmlns:a16="http://schemas.microsoft.com/office/drawing/2014/main" id="{F621E926-22B0-49A3-B8CA-8E718B9660F4}"/>
              </a:ext>
            </a:extLst>
          </p:cNvPr>
          <p:cNvCxnSpPr>
            <a:cxnSpLocks/>
          </p:cNvCxnSpPr>
          <p:nvPr/>
        </p:nvCxnSpPr>
        <p:spPr>
          <a:xfrm flipV="1">
            <a:off x="3681596" y="3311525"/>
            <a:ext cx="0" cy="348646"/>
          </a:xfrm>
          <a:prstGeom prst="straightConnector1">
            <a:avLst/>
          </a:prstGeom>
          <a:ln w="9525">
            <a:solidFill>
              <a:schemeClr val="tx1"/>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grpSp>
        <p:nvGrpSpPr>
          <p:cNvPr id="120" name="Group 119">
            <a:extLst>
              <a:ext uri="{FF2B5EF4-FFF2-40B4-BE49-F238E27FC236}">
                <a16:creationId xmlns:a16="http://schemas.microsoft.com/office/drawing/2014/main" id="{A9A9C159-81DA-42BF-94EA-838E9BE61FA5}"/>
              </a:ext>
            </a:extLst>
          </p:cNvPr>
          <p:cNvGrpSpPr/>
          <p:nvPr/>
        </p:nvGrpSpPr>
        <p:grpSpPr>
          <a:xfrm>
            <a:off x="7466053" y="1934210"/>
            <a:ext cx="831333" cy="1395963"/>
            <a:chOff x="-1574229" y="1563228"/>
            <a:chExt cx="1201202" cy="2017043"/>
          </a:xfrm>
        </p:grpSpPr>
        <p:pic>
          <p:nvPicPr>
            <p:cNvPr id="121" name="Picture 120">
              <a:extLst>
                <a:ext uri="{FF2B5EF4-FFF2-40B4-BE49-F238E27FC236}">
                  <a16:creationId xmlns:a16="http://schemas.microsoft.com/office/drawing/2014/main" id="{50FAEDAE-8E72-4994-B30F-7496628CBFC5}"/>
                </a:ext>
              </a:extLst>
            </p:cNvPr>
            <p:cNvPicPr>
              <a:picLocks noChangeAspect="1"/>
            </p:cNvPicPr>
            <p:nvPr/>
          </p:nvPicPr>
          <p:blipFill rotWithShape="1">
            <a:blip r:embed="rId3"/>
            <a:srcRect l="38546" t="20548" r="38546" b="21737"/>
            <a:stretch/>
          </p:blipFill>
          <p:spPr>
            <a:xfrm>
              <a:off x="-1574229" y="1563228"/>
              <a:ext cx="1201202" cy="2017043"/>
            </a:xfrm>
            <a:prstGeom prst="rect">
              <a:avLst/>
            </a:prstGeom>
          </p:spPr>
        </p:pic>
        <p:sp>
          <p:nvSpPr>
            <p:cNvPr id="122" name="Rectangle 121">
              <a:extLst>
                <a:ext uri="{FF2B5EF4-FFF2-40B4-BE49-F238E27FC236}">
                  <a16:creationId xmlns:a16="http://schemas.microsoft.com/office/drawing/2014/main" id="{9FBC57A4-44DA-4C6B-8360-FD3D030C42F2}"/>
                </a:ext>
              </a:extLst>
            </p:cNvPr>
            <p:cNvSpPr/>
            <p:nvPr/>
          </p:nvSpPr>
          <p:spPr>
            <a:xfrm>
              <a:off x="-1370626" y="2384973"/>
              <a:ext cx="825153" cy="910654"/>
            </a:xfrm>
            <a:prstGeom prst="rect">
              <a:avLst/>
            </a:prstGeom>
            <a:solidFill>
              <a:schemeClr val="bg2"/>
            </a:solid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pic>
          <p:nvPicPr>
            <p:cNvPr id="123" name="Picture 122" descr="A close up of a computer&#10;&#10;Description automatically generated">
              <a:extLst>
                <a:ext uri="{FF2B5EF4-FFF2-40B4-BE49-F238E27FC236}">
                  <a16:creationId xmlns:a16="http://schemas.microsoft.com/office/drawing/2014/main" id="{01CC2D00-9705-4BAE-95C4-C39F6BF5A40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9613" t="14425" r="6329" b="40291"/>
            <a:stretch/>
          </p:blipFill>
          <p:spPr>
            <a:xfrm>
              <a:off x="-1370626" y="1843661"/>
              <a:ext cx="823882" cy="1333101"/>
            </a:xfrm>
            <a:prstGeom prst="rect">
              <a:avLst/>
            </a:prstGeom>
          </p:spPr>
        </p:pic>
      </p:grpSp>
      <p:sp>
        <p:nvSpPr>
          <p:cNvPr id="126" name="Rectangle 125">
            <a:extLst>
              <a:ext uri="{FF2B5EF4-FFF2-40B4-BE49-F238E27FC236}">
                <a16:creationId xmlns:a16="http://schemas.microsoft.com/office/drawing/2014/main" id="{FCD8164D-8CCD-4998-93AD-A0950FE06E0D}"/>
              </a:ext>
            </a:extLst>
          </p:cNvPr>
          <p:cNvSpPr/>
          <p:nvPr/>
        </p:nvSpPr>
        <p:spPr>
          <a:xfrm>
            <a:off x="5539772" y="2788991"/>
            <a:ext cx="558662" cy="221755"/>
          </a:xfrm>
          <a:prstGeom prst="rect">
            <a:avLst/>
          </a:prstGeom>
          <a:solidFill>
            <a:schemeClr val="tx1"/>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a:ea typeface="+mn-ea"/>
                <a:cs typeface="+mn-cs"/>
              </a:rPr>
              <a:t>MBOs</a:t>
            </a:r>
          </a:p>
        </p:txBody>
      </p:sp>
      <p:sp>
        <p:nvSpPr>
          <p:cNvPr id="127" name="Rectangle 126">
            <a:extLst>
              <a:ext uri="{FF2B5EF4-FFF2-40B4-BE49-F238E27FC236}">
                <a16:creationId xmlns:a16="http://schemas.microsoft.com/office/drawing/2014/main" id="{D045E48E-BA98-4396-B2E5-25404B9798E7}"/>
              </a:ext>
            </a:extLst>
          </p:cNvPr>
          <p:cNvSpPr/>
          <p:nvPr/>
        </p:nvSpPr>
        <p:spPr>
          <a:xfrm>
            <a:off x="6162777" y="2788991"/>
            <a:ext cx="558662" cy="221755"/>
          </a:xfrm>
          <a:prstGeom prst="rect">
            <a:avLst/>
          </a:prstGeom>
          <a:solidFill>
            <a:schemeClr val="tx1"/>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a:ea typeface="+mn-ea"/>
                <a:cs typeface="+mn-cs"/>
              </a:rPr>
              <a:t>REST APIs</a:t>
            </a:r>
          </a:p>
        </p:txBody>
      </p:sp>
      <p:grpSp>
        <p:nvGrpSpPr>
          <p:cNvPr id="128" name="Graphic 58">
            <a:extLst>
              <a:ext uri="{FF2B5EF4-FFF2-40B4-BE49-F238E27FC236}">
                <a16:creationId xmlns:a16="http://schemas.microsoft.com/office/drawing/2014/main" id="{52127608-4A10-4B91-8C60-EAB732300798}"/>
              </a:ext>
            </a:extLst>
          </p:cNvPr>
          <p:cNvGrpSpPr/>
          <p:nvPr/>
        </p:nvGrpSpPr>
        <p:grpSpPr>
          <a:xfrm>
            <a:off x="5962970" y="1778272"/>
            <a:ext cx="335271" cy="379001"/>
            <a:chOff x="-1298259" y="849630"/>
            <a:chExt cx="390123" cy="441008"/>
          </a:xfrm>
          <a:solidFill>
            <a:schemeClr val="accent2"/>
          </a:solidFill>
        </p:grpSpPr>
        <p:sp>
          <p:nvSpPr>
            <p:cNvPr id="129" name="Freeform: Shape 128">
              <a:extLst>
                <a:ext uri="{FF2B5EF4-FFF2-40B4-BE49-F238E27FC236}">
                  <a16:creationId xmlns:a16="http://schemas.microsoft.com/office/drawing/2014/main" id="{EBF8EC9D-1A0F-4374-A3A1-942C41AB4CAD}"/>
                </a:ext>
              </a:extLst>
            </p:cNvPr>
            <p:cNvSpPr/>
            <p:nvPr/>
          </p:nvSpPr>
          <p:spPr>
            <a:xfrm>
              <a:off x="-1320383" y="827506"/>
              <a:ext cx="424047" cy="474932"/>
            </a:xfrm>
            <a:custGeom>
              <a:avLst/>
              <a:gdLst>
                <a:gd name="connsiteX0" fmla="*/ 22124 w 424046"/>
                <a:gd name="connsiteY0" fmla="*/ 22124 h 474931"/>
                <a:gd name="connsiteX1" fmla="*/ 22124 w 424046"/>
                <a:gd name="connsiteY1" fmla="*/ 451598 h 474931"/>
                <a:gd name="connsiteX2" fmla="*/ 28230 w 424046"/>
                <a:gd name="connsiteY2" fmla="*/ 457704 h 474931"/>
                <a:gd name="connsiteX3" fmla="*/ 401392 w 424046"/>
                <a:gd name="connsiteY3" fmla="*/ 457704 h 474931"/>
                <a:gd name="connsiteX4" fmla="*/ 407498 w 424046"/>
                <a:gd name="connsiteY4" fmla="*/ 451598 h 474931"/>
                <a:gd name="connsiteX5" fmla="*/ 407498 w 424046"/>
                <a:gd name="connsiteY5" fmla="*/ 22124 h 474931"/>
                <a:gd name="connsiteX6" fmla="*/ 22124 w 424046"/>
                <a:gd name="connsiteY6" fmla="*/ 22124 h 474931"/>
                <a:gd name="connsiteX7" fmla="*/ 395285 w 424046"/>
                <a:gd name="connsiteY7" fmla="*/ 445492 h 474931"/>
                <a:gd name="connsiteX8" fmla="*/ 34337 w 424046"/>
                <a:gd name="connsiteY8" fmla="*/ 445492 h 474931"/>
                <a:gd name="connsiteX9" fmla="*/ 34337 w 424046"/>
                <a:gd name="connsiteY9" fmla="*/ 372895 h 474931"/>
                <a:gd name="connsiteX10" fmla="*/ 395285 w 424046"/>
                <a:gd name="connsiteY10" fmla="*/ 372895 h 474931"/>
                <a:gd name="connsiteX11" fmla="*/ 395285 w 424046"/>
                <a:gd name="connsiteY11" fmla="*/ 445492 h 474931"/>
                <a:gd name="connsiteX12" fmla="*/ 395285 w 424046"/>
                <a:gd name="connsiteY12" fmla="*/ 360683 h 474931"/>
                <a:gd name="connsiteX13" fmla="*/ 34337 w 424046"/>
                <a:gd name="connsiteY13" fmla="*/ 360683 h 474931"/>
                <a:gd name="connsiteX14" fmla="*/ 34337 w 424046"/>
                <a:gd name="connsiteY14" fmla="*/ 288086 h 474931"/>
                <a:gd name="connsiteX15" fmla="*/ 395285 w 424046"/>
                <a:gd name="connsiteY15" fmla="*/ 288086 h 474931"/>
                <a:gd name="connsiteX16" fmla="*/ 395285 w 424046"/>
                <a:gd name="connsiteY16" fmla="*/ 360683 h 474931"/>
                <a:gd name="connsiteX17" fmla="*/ 395285 w 424046"/>
                <a:gd name="connsiteY17" fmla="*/ 275873 h 474931"/>
                <a:gd name="connsiteX18" fmla="*/ 34337 w 424046"/>
                <a:gd name="connsiteY18" fmla="*/ 275873 h 474931"/>
                <a:gd name="connsiteX19" fmla="*/ 34337 w 424046"/>
                <a:gd name="connsiteY19" fmla="*/ 203277 h 474931"/>
                <a:gd name="connsiteX20" fmla="*/ 395285 w 424046"/>
                <a:gd name="connsiteY20" fmla="*/ 203277 h 474931"/>
                <a:gd name="connsiteX21" fmla="*/ 395285 w 424046"/>
                <a:gd name="connsiteY21" fmla="*/ 275873 h 474931"/>
                <a:gd name="connsiteX22" fmla="*/ 395285 w 424046"/>
                <a:gd name="connsiteY22" fmla="*/ 191064 h 474931"/>
                <a:gd name="connsiteX23" fmla="*/ 34337 w 424046"/>
                <a:gd name="connsiteY23" fmla="*/ 191064 h 474931"/>
                <a:gd name="connsiteX24" fmla="*/ 34337 w 424046"/>
                <a:gd name="connsiteY24" fmla="*/ 118467 h 474931"/>
                <a:gd name="connsiteX25" fmla="*/ 395285 w 424046"/>
                <a:gd name="connsiteY25" fmla="*/ 118467 h 474931"/>
                <a:gd name="connsiteX26" fmla="*/ 395285 w 424046"/>
                <a:gd name="connsiteY26" fmla="*/ 191064 h 474931"/>
                <a:gd name="connsiteX27" fmla="*/ 395285 w 424046"/>
                <a:gd name="connsiteY27" fmla="*/ 106255 h 474931"/>
                <a:gd name="connsiteX28" fmla="*/ 34337 w 424046"/>
                <a:gd name="connsiteY28" fmla="*/ 106255 h 474931"/>
                <a:gd name="connsiteX29" fmla="*/ 34337 w 424046"/>
                <a:gd name="connsiteY29" fmla="*/ 33658 h 474931"/>
                <a:gd name="connsiteX30" fmla="*/ 395285 w 424046"/>
                <a:gd name="connsiteY30" fmla="*/ 33658 h 474931"/>
                <a:gd name="connsiteX31" fmla="*/ 395285 w 424046"/>
                <a:gd name="connsiteY31" fmla="*/ 106255 h 474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4046" h="474931">
                  <a:moveTo>
                    <a:pt x="22124" y="22124"/>
                  </a:moveTo>
                  <a:lnTo>
                    <a:pt x="22124" y="451598"/>
                  </a:lnTo>
                  <a:cubicBezTo>
                    <a:pt x="22124" y="454990"/>
                    <a:pt x="24838" y="457704"/>
                    <a:pt x="28230" y="457704"/>
                  </a:cubicBezTo>
                  <a:lnTo>
                    <a:pt x="401392" y="457704"/>
                  </a:lnTo>
                  <a:cubicBezTo>
                    <a:pt x="404784" y="457704"/>
                    <a:pt x="407498" y="454990"/>
                    <a:pt x="407498" y="451598"/>
                  </a:cubicBezTo>
                  <a:lnTo>
                    <a:pt x="407498" y="22124"/>
                  </a:lnTo>
                  <a:lnTo>
                    <a:pt x="22124" y="22124"/>
                  </a:lnTo>
                  <a:close/>
                  <a:moveTo>
                    <a:pt x="395285" y="445492"/>
                  </a:moveTo>
                  <a:lnTo>
                    <a:pt x="34337" y="445492"/>
                  </a:lnTo>
                  <a:lnTo>
                    <a:pt x="34337" y="372895"/>
                  </a:lnTo>
                  <a:lnTo>
                    <a:pt x="395285" y="372895"/>
                  </a:lnTo>
                  <a:lnTo>
                    <a:pt x="395285" y="445492"/>
                  </a:lnTo>
                  <a:close/>
                  <a:moveTo>
                    <a:pt x="395285" y="360683"/>
                  </a:moveTo>
                  <a:lnTo>
                    <a:pt x="34337" y="360683"/>
                  </a:lnTo>
                  <a:lnTo>
                    <a:pt x="34337" y="288086"/>
                  </a:lnTo>
                  <a:lnTo>
                    <a:pt x="395285" y="288086"/>
                  </a:lnTo>
                  <a:lnTo>
                    <a:pt x="395285" y="360683"/>
                  </a:lnTo>
                  <a:close/>
                  <a:moveTo>
                    <a:pt x="395285" y="275873"/>
                  </a:moveTo>
                  <a:lnTo>
                    <a:pt x="34337" y="275873"/>
                  </a:lnTo>
                  <a:lnTo>
                    <a:pt x="34337" y="203277"/>
                  </a:lnTo>
                  <a:lnTo>
                    <a:pt x="395285" y="203277"/>
                  </a:lnTo>
                  <a:lnTo>
                    <a:pt x="395285" y="275873"/>
                  </a:lnTo>
                  <a:close/>
                  <a:moveTo>
                    <a:pt x="395285" y="191064"/>
                  </a:moveTo>
                  <a:lnTo>
                    <a:pt x="34337" y="191064"/>
                  </a:lnTo>
                  <a:lnTo>
                    <a:pt x="34337" y="118467"/>
                  </a:lnTo>
                  <a:lnTo>
                    <a:pt x="395285" y="118467"/>
                  </a:lnTo>
                  <a:lnTo>
                    <a:pt x="395285" y="191064"/>
                  </a:lnTo>
                  <a:close/>
                  <a:moveTo>
                    <a:pt x="395285" y="106255"/>
                  </a:moveTo>
                  <a:lnTo>
                    <a:pt x="34337" y="106255"/>
                  </a:lnTo>
                  <a:lnTo>
                    <a:pt x="34337" y="33658"/>
                  </a:lnTo>
                  <a:lnTo>
                    <a:pt x="395285" y="33658"/>
                  </a:lnTo>
                  <a:lnTo>
                    <a:pt x="395285" y="106255"/>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30" name="Freeform: Shape 129">
              <a:extLst>
                <a:ext uri="{FF2B5EF4-FFF2-40B4-BE49-F238E27FC236}">
                  <a16:creationId xmlns:a16="http://schemas.microsoft.com/office/drawing/2014/main" id="{627D70E6-776C-494E-B73C-3FA453558992}"/>
                </a:ext>
              </a:extLst>
            </p:cNvPr>
            <p:cNvSpPr/>
            <p:nvPr/>
          </p:nvSpPr>
          <p:spPr>
            <a:xfrm>
              <a:off x="-1076811" y="1199988"/>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31" name="Freeform: Shape 130">
              <a:extLst>
                <a:ext uri="{FF2B5EF4-FFF2-40B4-BE49-F238E27FC236}">
                  <a16:creationId xmlns:a16="http://schemas.microsoft.com/office/drawing/2014/main" id="{90B1E80F-EC60-436E-A957-4814A2FE7853}"/>
                </a:ext>
              </a:extLst>
            </p:cNvPr>
            <p:cNvSpPr/>
            <p:nvPr/>
          </p:nvSpPr>
          <p:spPr>
            <a:xfrm>
              <a:off x="-1212506"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32" name="Freeform: Shape 131">
              <a:extLst>
                <a:ext uri="{FF2B5EF4-FFF2-40B4-BE49-F238E27FC236}">
                  <a16:creationId xmlns:a16="http://schemas.microsoft.com/office/drawing/2014/main" id="{0B2D6C60-4ED3-42E0-8284-DF4EB9849C71}"/>
                </a:ext>
              </a:extLst>
            </p:cNvPr>
            <p:cNvSpPr/>
            <p:nvPr/>
          </p:nvSpPr>
          <p:spPr>
            <a:xfrm>
              <a:off x="-1246429"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33" name="Freeform: Shape 132">
              <a:extLst>
                <a:ext uri="{FF2B5EF4-FFF2-40B4-BE49-F238E27FC236}">
                  <a16:creationId xmlns:a16="http://schemas.microsoft.com/office/drawing/2014/main" id="{D43E4376-D492-4E47-B331-CBA3407596B1}"/>
                </a:ext>
              </a:extLst>
            </p:cNvPr>
            <p:cNvSpPr/>
            <p:nvPr/>
          </p:nvSpPr>
          <p:spPr>
            <a:xfrm>
              <a:off x="-1280353"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34" name="Freeform: Shape 133">
              <a:extLst>
                <a:ext uri="{FF2B5EF4-FFF2-40B4-BE49-F238E27FC236}">
                  <a16:creationId xmlns:a16="http://schemas.microsoft.com/office/drawing/2014/main" id="{B1AC167B-07AB-4881-B3A6-5FFA2A1058B8}"/>
                </a:ext>
              </a:extLst>
            </p:cNvPr>
            <p:cNvSpPr/>
            <p:nvPr/>
          </p:nvSpPr>
          <p:spPr>
            <a:xfrm>
              <a:off x="-1076811" y="1115179"/>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35" name="Freeform: Shape 134">
              <a:extLst>
                <a:ext uri="{FF2B5EF4-FFF2-40B4-BE49-F238E27FC236}">
                  <a16:creationId xmlns:a16="http://schemas.microsoft.com/office/drawing/2014/main" id="{D8269F3A-5B27-43B2-A6F9-E8DB88C3FAA2}"/>
                </a:ext>
              </a:extLst>
            </p:cNvPr>
            <p:cNvSpPr/>
            <p:nvPr/>
          </p:nvSpPr>
          <p:spPr>
            <a:xfrm>
              <a:off x="-1212506"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36" name="Freeform: Shape 135">
              <a:extLst>
                <a:ext uri="{FF2B5EF4-FFF2-40B4-BE49-F238E27FC236}">
                  <a16:creationId xmlns:a16="http://schemas.microsoft.com/office/drawing/2014/main" id="{26F72CDF-6BEF-4989-A547-CD1691CFB5BE}"/>
                </a:ext>
              </a:extLst>
            </p:cNvPr>
            <p:cNvSpPr/>
            <p:nvPr/>
          </p:nvSpPr>
          <p:spPr>
            <a:xfrm>
              <a:off x="-1246429"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37" name="Freeform: Shape 136">
              <a:extLst>
                <a:ext uri="{FF2B5EF4-FFF2-40B4-BE49-F238E27FC236}">
                  <a16:creationId xmlns:a16="http://schemas.microsoft.com/office/drawing/2014/main" id="{C04D7656-5910-4138-8EF1-DDE3C11E90DB}"/>
                </a:ext>
              </a:extLst>
            </p:cNvPr>
            <p:cNvSpPr/>
            <p:nvPr/>
          </p:nvSpPr>
          <p:spPr>
            <a:xfrm>
              <a:off x="-1280353"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38" name="Freeform: Shape 137">
              <a:extLst>
                <a:ext uri="{FF2B5EF4-FFF2-40B4-BE49-F238E27FC236}">
                  <a16:creationId xmlns:a16="http://schemas.microsoft.com/office/drawing/2014/main" id="{DA3BBCB1-069C-4170-A4DC-AC109F25E565}"/>
                </a:ext>
              </a:extLst>
            </p:cNvPr>
            <p:cNvSpPr/>
            <p:nvPr/>
          </p:nvSpPr>
          <p:spPr>
            <a:xfrm>
              <a:off x="-1076811" y="1030370"/>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39" name="Freeform: Shape 138">
              <a:extLst>
                <a:ext uri="{FF2B5EF4-FFF2-40B4-BE49-F238E27FC236}">
                  <a16:creationId xmlns:a16="http://schemas.microsoft.com/office/drawing/2014/main" id="{10F3DBED-ADE2-43EE-BC1C-0C7A4F4AB8CA}"/>
                </a:ext>
              </a:extLst>
            </p:cNvPr>
            <p:cNvSpPr/>
            <p:nvPr/>
          </p:nvSpPr>
          <p:spPr>
            <a:xfrm>
              <a:off x="-1212506"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40" name="Freeform: Shape 139">
              <a:extLst>
                <a:ext uri="{FF2B5EF4-FFF2-40B4-BE49-F238E27FC236}">
                  <a16:creationId xmlns:a16="http://schemas.microsoft.com/office/drawing/2014/main" id="{934A712A-AB86-4C2D-A2A4-025F729BBD0D}"/>
                </a:ext>
              </a:extLst>
            </p:cNvPr>
            <p:cNvSpPr/>
            <p:nvPr/>
          </p:nvSpPr>
          <p:spPr>
            <a:xfrm>
              <a:off x="-1246429"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41" name="Freeform: Shape 140">
              <a:extLst>
                <a:ext uri="{FF2B5EF4-FFF2-40B4-BE49-F238E27FC236}">
                  <a16:creationId xmlns:a16="http://schemas.microsoft.com/office/drawing/2014/main" id="{2587D22B-D3D2-49DF-A2EB-66BBD4AF1744}"/>
                </a:ext>
              </a:extLst>
            </p:cNvPr>
            <p:cNvSpPr/>
            <p:nvPr/>
          </p:nvSpPr>
          <p:spPr>
            <a:xfrm>
              <a:off x="-1280353"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42" name="Freeform: Shape 141">
              <a:extLst>
                <a:ext uri="{FF2B5EF4-FFF2-40B4-BE49-F238E27FC236}">
                  <a16:creationId xmlns:a16="http://schemas.microsoft.com/office/drawing/2014/main" id="{2ECC88BB-2070-4861-8F1E-4E1D9796557A}"/>
                </a:ext>
              </a:extLst>
            </p:cNvPr>
            <p:cNvSpPr/>
            <p:nvPr/>
          </p:nvSpPr>
          <p:spPr>
            <a:xfrm>
              <a:off x="-1076811" y="945560"/>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43" name="Freeform: Shape 142">
              <a:extLst>
                <a:ext uri="{FF2B5EF4-FFF2-40B4-BE49-F238E27FC236}">
                  <a16:creationId xmlns:a16="http://schemas.microsoft.com/office/drawing/2014/main" id="{6B68A998-2F8B-4957-8477-4FE4CBD2BAD1}"/>
                </a:ext>
              </a:extLst>
            </p:cNvPr>
            <p:cNvSpPr/>
            <p:nvPr/>
          </p:nvSpPr>
          <p:spPr>
            <a:xfrm>
              <a:off x="-1212506"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44" name="Freeform: Shape 143">
              <a:extLst>
                <a:ext uri="{FF2B5EF4-FFF2-40B4-BE49-F238E27FC236}">
                  <a16:creationId xmlns:a16="http://schemas.microsoft.com/office/drawing/2014/main" id="{BD76A0B0-1C66-4F6F-9793-62B52412326E}"/>
                </a:ext>
              </a:extLst>
            </p:cNvPr>
            <p:cNvSpPr/>
            <p:nvPr/>
          </p:nvSpPr>
          <p:spPr>
            <a:xfrm>
              <a:off x="-1246429"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45" name="Freeform: Shape 144">
              <a:extLst>
                <a:ext uri="{FF2B5EF4-FFF2-40B4-BE49-F238E27FC236}">
                  <a16:creationId xmlns:a16="http://schemas.microsoft.com/office/drawing/2014/main" id="{8D8336B8-CB34-4C43-9111-6AA81327D4CB}"/>
                </a:ext>
              </a:extLst>
            </p:cNvPr>
            <p:cNvSpPr/>
            <p:nvPr/>
          </p:nvSpPr>
          <p:spPr>
            <a:xfrm>
              <a:off x="-1280353"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46" name="Freeform: Shape 145">
              <a:extLst>
                <a:ext uri="{FF2B5EF4-FFF2-40B4-BE49-F238E27FC236}">
                  <a16:creationId xmlns:a16="http://schemas.microsoft.com/office/drawing/2014/main" id="{376A2DF9-24C0-48C8-B1BD-C6A52F3BE236}"/>
                </a:ext>
              </a:extLst>
            </p:cNvPr>
            <p:cNvSpPr/>
            <p:nvPr/>
          </p:nvSpPr>
          <p:spPr>
            <a:xfrm>
              <a:off x="-1076811" y="860751"/>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47" name="Freeform: Shape 146">
              <a:extLst>
                <a:ext uri="{FF2B5EF4-FFF2-40B4-BE49-F238E27FC236}">
                  <a16:creationId xmlns:a16="http://schemas.microsoft.com/office/drawing/2014/main" id="{904D614E-02E9-4BC7-AAC5-14D0B01ACB1B}"/>
                </a:ext>
              </a:extLst>
            </p:cNvPr>
            <p:cNvSpPr/>
            <p:nvPr/>
          </p:nvSpPr>
          <p:spPr>
            <a:xfrm>
              <a:off x="-1212506"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48" name="Freeform: Shape 147">
              <a:extLst>
                <a:ext uri="{FF2B5EF4-FFF2-40B4-BE49-F238E27FC236}">
                  <a16:creationId xmlns:a16="http://schemas.microsoft.com/office/drawing/2014/main" id="{C429A5A3-DB0B-425F-B51B-F063D2FDBB64}"/>
                </a:ext>
              </a:extLst>
            </p:cNvPr>
            <p:cNvSpPr/>
            <p:nvPr/>
          </p:nvSpPr>
          <p:spPr>
            <a:xfrm>
              <a:off x="-1246429"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49" name="Freeform: Shape 148">
              <a:extLst>
                <a:ext uri="{FF2B5EF4-FFF2-40B4-BE49-F238E27FC236}">
                  <a16:creationId xmlns:a16="http://schemas.microsoft.com/office/drawing/2014/main" id="{CCE8732B-B0B9-447F-A7D3-E88DF8DD287E}"/>
                </a:ext>
              </a:extLst>
            </p:cNvPr>
            <p:cNvSpPr/>
            <p:nvPr/>
          </p:nvSpPr>
          <p:spPr>
            <a:xfrm>
              <a:off x="-1280353"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grpSp>
      <p:sp>
        <p:nvSpPr>
          <p:cNvPr id="150" name="Rectangle 149">
            <a:extLst>
              <a:ext uri="{FF2B5EF4-FFF2-40B4-BE49-F238E27FC236}">
                <a16:creationId xmlns:a16="http://schemas.microsoft.com/office/drawing/2014/main" id="{6DC52CAB-E285-492A-85AB-CFD03903C541}"/>
              </a:ext>
            </a:extLst>
          </p:cNvPr>
          <p:cNvSpPr/>
          <p:nvPr/>
        </p:nvSpPr>
        <p:spPr>
          <a:xfrm>
            <a:off x="5638700" y="3889398"/>
            <a:ext cx="983810" cy="123111"/>
          </a:xfrm>
          <a:prstGeom prst="rect">
            <a:avLst/>
          </a:prstGeom>
        </p:spPr>
        <p:txBody>
          <a:bodyPr wrap="square" lIns="0" tIns="0" rIns="0" bIns="0" anchor="t">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a:ea typeface="IBM Plex Sans" charset="0"/>
                <a:cs typeface="IBM Plex Sans" charset="0"/>
              </a:rPr>
              <a:t>Maximo database</a:t>
            </a:r>
          </a:p>
        </p:txBody>
      </p:sp>
      <p:sp>
        <p:nvSpPr>
          <p:cNvPr id="151" name="Graphic 17">
            <a:extLst>
              <a:ext uri="{FF2B5EF4-FFF2-40B4-BE49-F238E27FC236}">
                <a16:creationId xmlns:a16="http://schemas.microsoft.com/office/drawing/2014/main" id="{E727ADDA-9AE5-408D-927B-412A0931D811}"/>
              </a:ext>
            </a:extLst>
          </p:cNvPr>
          <p:cNvSpPr/>
          <p:nvPr/>
        </p:nvSpPr>
        <p:spPr>
          <a:xfrm>
            <a:off x="5694209" y="3485896"/>
            <a:ext cx="872792" cy="345824"/>
          </a:xfrm>
          <a:custGeom>
            <a:avLst/>
            <a:gdLst>
              <a:gd name="connsiteX0" fmla="*/ 255937 w 504825"/>
              <a:gd name="connsiteY0" fmla="*/ 7144 h 200025"/>
              <a:gd name="connsiteX1" fmla="*/ 7144 w 504825"/>
              <a:gd name="connsiteY1" fmla="*/ 42958 h 200025"/>
              <a:gd name="connsiteX2" fmla="*/ 7144 w 504825"/>
              <a:gd name="connsiteY2" fmla="*/ 153448 h 200025"/>
              <a:gd name="connsiteX3" fmla="*/ 255937 w 504825"/>
              <a:gd name="connsiteY3" fmla="*/ 195834 h 200025"/>
              <a:gd name="connsiteX4" fmla="*/ 504730 w 504825"/>
              <a:gd name="connsiteY4" fmla="*/ 153448 h 200025"/>
              <a:gd name="connsiteX5" fmla="*/ 504730 w 504825"/>
              <a:gd name="connsiteY5" fmla="*/ 42958 h 200025"/>
              <a:gd name="connsiteX6" fmla="*/ 255937 w 504825"/>
              <a:gd name="connsiteY6" fmla="*/ 7144 h 200025"/>
              <a:gd name="connsiteX7" fmla="*/ 255937 w 504825"/>
              <a:gd name="connsiteY7" fmla="*/ 14002 h 200025"/>
              <a:gd name="connsiteX8" fmla="*/ 497872 w 504825"/>
              <a:gd name="connsiteY8" fmla="*/ 42958 h 200025"/>
              <a:gd name="connsiteX9" fmla="*/ 255937 w 504825"/>
              <a:gd name="connsiteY9" fmla="*/ 71914 h 200025"/>
              <a:gd name="connsiteX10" fmla="*/ 14002 w 504825"/>
              <a:gd name="connsiteY10" fmla="*/ 42958 h 200025"/>
              <a:gd name="connsiteX11" fmla="*/ 255937 w 504825"/>
              <a:gd name="connsiteY11" fmla="*/ 14002 h 200025"/>
              <a:gd name="connsiteX12" fmla="*/ 255937 w 504825"/>
              <a:gd name="connsiteY12" fmla="*/ 188976 h 200025"/>
              <a:gd name="connsiteX13" fmla="*/ 14002 w 504825"/>
              <a:gd name="connsiteY13" fmla="*/ 153448 h 200025"/>
              <a:gd name="connsiteX14" fmla="*/ 14002 w 504825"/>
              <a:gd name="connsiteY14" fmla="*/ 52197 h 200025"/>
              <a:gd name="connsiteX15" fmla="*/ 255937 w 504825"/>
              <a:gd name="connsiteY15" fmla="*/ 78772 h 200025"/>
              <a:gd name="connsiteX16" fmla="*/ 497872 w 504825"/>
              <a:gd name="connsiteY16" fmla="*/ 52197 h 200025"/>
              <a:gd name="connsiteX17" fmla="*/ 497872 w 504825"/>
              <a:gd name="connsiteY17" fmla="*/ 153448 h 200025"/>
              <a:gd name="connsiteX18" fmla="*/ 255937 w 504825"/>
              <a:gd name="connsiteY18" fmla="*/ 18897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4825" h="200025">
                <a:moveTo>
                  <a:pt x="255937" y="7144"/>
                </a:moveTo>
                <a:cubicBezTo>
                  <a:pt x="155924" y="7144"/>
                  <a:pt x="7144" y="16669"/>
                  <a:pt x="7144" y="42958"/>
                </a:cubicBezTo>
                <a:lnTo>
                  <a:pt x="7144" y="153448"/>
                </a:lnTo>
                <a:cubicBezTo>
                  <a:pt x="7144" y="180975"/>
                  <a:pt x="135350" y="195834"/>
                  <a:pt x="255937" y="195834"/>
                </a:cubicBezTo>
                <a:cubicBezTo>
                  <a:pt x="376523" y="195834"/>
                  <a:pt x="504730" y="180975"/>
                  <a:pt x="504730" y="153448"/>
                </a:cubicBezTo>
                <a:lnTo>
                  <a:pt x="504730" y="42958"/>
                </a:lnTo>
                <a:cubicBezTo>
                  <a:pt x="504730" y="16669"/>
                  <a:pt x="355949" y="7144"/>
                  <a:pt x="255937" y="7144"/>
                </a:cubicBezTo>
                <a:close/>
                <a:moveTo>
                  <a:pt x="255937" y="14002"/>
                </a:moveTo>
                <a:cubicBezTo>
                  <a:pt x="405860" y="14002"/>
                  <a:pt x="497872" y="30861"/>
                  <a:pt x="497872" y="42958"/>
                </a:cubicBezTo>
                <a:cubicBezTo>
                  <a:pt x="497872" y="55055"/>
                  <a:pt x="405860" y="71914"/>
                  <a:pt x="255937" y="71914"/>
                </a:cubicBezTo>
                <a:cubicBezTo>
                  <a:pt x="106013" y="71914"/>
                  <a:pt x="14002" y="54959"/>
                  <a:pt x="14002" y="42958"/>
                </a:cubicBezTo>
                <a:cubicBezTo>
                  <a:pt x="14002" y="30956"/>
                  <a:pt x="106013" y="14002"/>
                  <a:pt x="255937" y="14002"/>
                </a:cubicBezTo>
                <a:close/>
                <a:moveTo>
                  <a:pt x="255937" y="188976"/>
                </a:moveTo>
                <a:cubicBezTo>
                  <a:pt x="100203" y="188976"/>
                  <a:pt x="14002" y="167926"/>
                  <a:pt x="14002" y="153448"/>
                </a:cubicBezTo>
                <a:lnTo>
                  <a:pt x="14002" y="52197"/>
                </a:lnTo>
                <a:cubicBezTo>
                  <a:pt x="44291" y="71533"/>
                  <a:pt x="168688" y="78772"/>
                  <a:pt x="255937" y="78772"/>
                </a:cubicBezTo>
                <a:cubicBezTo>
                  <a:pt x="343186" y="78772"/>
                  <a:pt x="467582" y="71533"/>
                  <a:pt x="497872" y="52197"/>
                </a:cubicBezTo>
                <a:lnTo>
                  <a:pt x="497872" y="153448"/>
                </a:lnTo>
                <a:cubicBezTo>
                  <a:pt x="497872" y="167926"/>
                  <a:pt x="411671" y="188976"/>
                  <a:pt x="255937" y="188976"/>
                </a:cubicBezTo>
                <a:close/>
              </a:path>
            </a:pathLst>
          </a:custGeom>
          <a:solidFill>
            <a:srgbClr val="0064F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IBM Plex Sans"/>
              <a:ea typeface="+mn-ea"/>
              <a:cs typeface="+mn-cs"/>
            </a:endParaRPr>
          </a:p>
        </p:txBody>
      </p:sp>
      <p:sp>
        <p:nvSpPr>
          <p:cNvPr id="152" name="Rectangle 151">
            <a:extLst>
              <a:ext uri="{FF2B5EF4-FFF2-40B4-BE49-F238E27FC236}">
                <a16:creationId xmlns:a16="http://schemas.microsoft.com/office/drawing/2014/main" id="{DC30F708-5EEC-4DEE-9E47-48C6B7EF169A}"/>
              </a:ext>
            </a:extLst>
          </p:cNvPr>
          <p:cNvSpPr/>
          <p:nvPr/>
        </p:nvSpPr>
        <p:spPr>
          <a:xfrm>
            <a:off x="7410544" y="4077112"/>
            <a:ext cx="983810" cy="123111"/>
          </a:xfrm>
          <a:prstGeom prst="rect">
            <a:avLst/>
          </a:prstGeom>
        </p:spPr>
        <p:txBody>
          <a:bodyPr wrap="square" lIns="0" tIns="0" rIns="0" bIns="0" anchor="t">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a:ea typeface="IBM Plex Sans" charset="0"/>
                <a:cs typeface="IBM Plex Sans" charset="0"/>
              </a:rPr>
              <a:t>Device database</a:t>
            </a:r>
          </a:p>
        </p:txBody>
      </p:sp>
      <p:sp>
        <p:nvSpPr>
          <p:cNvPr id="153" name="Graphic 17">
            <a:extLst>
              <a:ext uri="{FF2B5EF4-FFF2-40B4-BE49-F238E27FC236}">
                <a16:creationId xmlns:a16="http://schemas.microsoft.com/office/drawing/2014/main" id="{EE76942A-1D0C-4401-A3F1-2B61EF93EB49}"/>
              </a:ext>
            </a:extLst>
          </p:cNvPr>
          <p:cNvSpPr/>
          <p:nvPr/>
        </p:nvSpPr>
        <p:spPr>
          <a:xfrm>
            <a:off x="7466053" y="3673610"/>
            <a:ext cx="872792" cy="345824"/>
          </a:xfrm>
          <a:custGeom>
            <a:avLst/>
            <a:gdLst>
              <a:gd name="connsiteX0" fmla="*/ 255937 w 504825"/>
              <a:gd name="connsiteY0" fmla="*/ 7144 h 200025"/>
              <a:gd name="connsiteX1" fmla="*/ 7144 w 504825"/>
              <a:gd name="connsiteY1" fmla="*/ 42958 h 200025"/>
              <a:gd name="connsiteX2" fmla="*/ 7144 w 504825"/>
              <a:gd name="connsiteY2" fmla="*/ 153448 h 200025"/>
              <a:gd name="connsiteX3" fmla="*/ 255937 w 504825"/>
              <a:gd name="connsiteY3" fmla="*/ 195834 h 200025"/>
              <a:gd name="connsiteX4" fmla="*/ 504730 w 504825"/>
              <a:gd name="connsiteY4" fmla="*/ 153448 h 200025"/>
              <a:gd name="connsiteX5" fmla="*/ 504730 w 504825"/>
              <a:gd name="connsiteY5" fmla="*/ 42958 h 200025"/>
              <a:gd name="connsiteX6" fmla="*/ 255937 w 504825"/>
              <a:gd name="connsiteY6" fmla="*/ 7144 h 200025"/>
              <a:gd name="connsiteX7" fmla="*/ 255937 w 504825"/>
              <a:gd name="connsiteY7" fmla="*/ 14002 h 200025"/>
              <a:gd name="connsiteX8" fmla="*/ 497872 w 504825"/>
              <a:gd name="connsiteY8" fmla="*/ 42958 h 200025"/>
              <a:gd name="connsiteX9" fmla="*/ 255937 w 504825"/>
              <a:gd name="connsiteY9" fmla="*/ 71914 h 200025"/>
              <a:gd name="connsiteX10" fmla="*/ 14002 w 504825"/>
              <a:gd name="connsiteY10" fmla="*/ 42958 h 200025"/>
              <a:gd name="connsiteX11" fmla="*/ 255937 w 504825"/>
              <a:gd name="connsiteY11" fmla="*/ 14002 h 200025"/>
              <a:gd name="connsiteX12" fmla="*/ 255937 w 504825"/>
              <a:gd name="connsiteY12" fmla="*/ 188976 h 200025"/>
              <a:gd name="connsiteX13" fmla="*/ 14002 w 504825"/>
              <a:gd name="connsiteY13" fmla="*/ 153448 h 200025"/>
              <a:gd name="connsiteX14" fmla="*/ 14002 w 504825"/>
              <a:gd name="connsiteY14" fmla="*/ 52197 h 200025"/>
              <a:gd name="connsiteX15" fmla="*/ 255937 w 504825"/>
              <a:gd name="connsiteY15" fmla="*/ 78772 h 200025"/>
              <a:gd name="connsiteX16" fmla="*/ 497872 w 504825"/>
              <a:gd name="connsiteY16" fmla="*/ 52197 h 200025"/>
              <a:gd name="connsiteX17" fmla="*/ 497872 w 504825"/>
              <a:gd name="connsiteY17" fmla="*/ 153448 h 200025"/>
              <a:gd name="connsiteX18" fmla="*/ 255937 w 504825"/>
              <a:gd name="connsiteY18" fmla="*/ 18897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04825" h="200025">
                <a:moveTo>
                  <a:pt x="255937" y="7144"/>
                </a:moveTo>
                <a:cubicBezTo>
                  <a:pt x="155924" y="7144"/>
                  <a:pt x="7144" y="16669"/>
                  <a:pt x="7144" y="42958"/>
                </a:cubicBezTo>
                <a:lnTo>
                  <a:pt x="7144" y="153448"/>
                </a:lnTo>
                <a:cubicBezTo>
                  <a:pt x="7144" y="180975"/>
                  <a:pt x="135350" y="195834"/>
                  <a:pt x="255937" y="195834"/>
                </a:cubicBezTo>
                <a:cubicBezTo>
                  <a:pt x="376523" y="195834"/>
                  <a:pt x="504730" y="180975"/>
                  <a:pt x="504730" y="153448"/>
                </a:cubicBezTo>
                <a:lnTo>
                  <a:pt x="504730" y="42958"/>
                </a:lnTo>
                <a:cubicBezTo>
                  <a:pt x="504730" y="16669"/>
                  <a:pt x="355949" y="7144"/>
                  <a:pt x="255937" y="7144"/>
                </a:cubicBezTo>
                <a:close/>
                <a:moveTo>
                  <a:pt x="255937" y="14002"/>
                </a:moveTo>
                <a:cubicBezTo>
                  <a:pt x="405860" y="14002"/>
                  <a:pt x="497872" y="30861"/>
                  <a:pt x="497872" y="42958"/>
                </a:cubicBezTo>
                <a:cubicBezTo>
                  <a:pt x="497872" y="55055"/>
                  <a:pt x="405860" y="71914"/>
                  <a:pt x="255937" y="71914"/>
                </a:cubicBezTo>
                <a:cubicBezTo>
                  <a:pt x="106013" y="71914"/>
                  <a:pt x="14002" y="54959"/>
                  <a:pt x="14002" y="42958"/>
                </a:cubicBezTo>
                <a:cubicBezTo>
                  <a:pt x="14002" y="30956"/>
                  <a:pt x="106013" y="14002"/>
                  <a:pt x="255937" y="14002"/>
                </a:cubicBezTo>
                <a:close/>
                <a:moveTo>
                  <a:pt x="255937" y="188976"/>
                </a:moveTo>
                <a:cubicBezTo>
                  <a:pt x="100203" y="188976"/>
                  <a:pt x="14002" y="167926"/>
                  <a:pt x="14002" y="153448"/>
                </a:cubicBezTo>
                <a:lnTo>
                  <a:pt x="14002" y="52197"/>
                </a:lnTo>
                <a:cubicBezTo>
                  <a:pt x="44291" y="71533"/>
                  <a:pt x="168688" y="78772"/>
                  <a:pt x="255937" y="78772"/>
                </a:cubicBezTo>
                <a:cubicBezTo>
                  <a:pt x="343186" y="78772"/>
                  <a:pt x="467582" y="71533"/>
                  <a:pt x="497872" y="52197"/>
                </a:cubicBezTo>
                <a:lnTo>
                  <a:pt x="497872" y="153448"/>
                </a:lnTo>
                <a:cubicBezTo>
                  <a:pt x="497872" y="167926"/>
                  <a:pt x="411671" y="188976"/>
                  <a:pt x="255937" y="188976"/>
                </a:cubicBezTo>
                <a:close/>
              </a:path>
            </a:pathLst>
          </a:custGeom>
          <a:solidFill>
            <a:srgbClr val="0064F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IBM Plex Sans"/>
              <a:ea typeface="+mn-ea"/>
              <a:cs typeface="+mn-cs"/>
            </a:endParaRPr>
          </a:p>
        </p:txBody>
      </p:sp>
      <p:cxnSp>
        <p:nvCxnSpPr>
          <p:cNvPr id="154" name="Straight Arrow Connector 153">
            <a:extLst>
              <a:ext uri="{FF2B5EF4-FFF2-40B4-BE49-F238E27FC236}">
                <a16:creationId xmlns:a16="http://schemas.microsoft.com/office/drawing/2014/main" id="{07297C5A-3EC0-4DB5-9C0D-A59739CD954A}"/>
              </a:ext>
            </a:extLst>
          </p:cNvPr>
          <p:cNvCxnSpPr>
            <a:cxnSpLocks/>
          </p:cNvCxnSpPr>
          <p:nvPr/>
        </p:nvCxnSpPr>
        <p:spPr>
          <a:xfrm flipV="1">
            <a:off x="7905809" y="3311525"/>
            <a:ext cx="0" cy="348646"/>
          </a:xfrm>
          <a:prstGeom prst="straightConnector1">
            <a:avLst/>
          </a:prstGeom>
          <a:ln w="9525">
            <a:solidFill>
              <a:schemeClr val="tx1"/>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sp>
        <p:nvSpPr>
          <p:cNvPr id="159" name="Rectangle 158">
            <a:extLst>
              <a:ext uri="{FF2B5EF4-FFF2-40B4-BE49-F238E27FC236}">
                <a16:creationId xmlns:a16="http://schemas.microsoft.com/office/drawing/2014/main" id="{47EA2872-6E7D-4DA0-9FFA-375721CD87AA}"/>
              </a:ext>
            </a:extLst>
          </p:cNvPr>
          <p:cNvSpPr/>
          <p:nvPr/>
        </p:nvSpPr>
        <p:spPr>
          <a:xfrm>
            <a:off x="5715194" y="2349002"/>
            <a:ext cx="830822" cy="123111"/>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IBM Plex Sans"/>
                <a:ea typeface="+mn-ea"/>
                <a:cs typeface="+mn-cs"/>
              </a:rPr>
              <a:t>Maximo</a:t>
            </a:r>
          </a:p>
        </p:txBody>
      </p:sp>
      <p:sp>
        <p:nvSpPr>
          <p:cNvPr id="160" name="Rectangle 159">
            <a:extLst>
              <a:ext uri="{FF2B5EF4-FFF2-40B4-BE49-F238E27FC236}">
                <a16:creationId xmlns:a16="http://schemas.microsoft.com/office/drawing/2014/main" id="{C6F86B68-F853-4E34-80DF-1D4232401739}"/>
              </a:ext>
            </a:extLst>
          </p:cNvPr>
          <p:cNvSpPr/>
          <p:nvPr/>
        </p:nvSpPr>
        <p:spPr>
          <a:xfrm>
            <a:off x="5539772" y="2522535"/>
            <a:ext cx="1181667" cy="221755"/>
          </a:xfrm>
          <a:prstGeom prst="rect">
            <a:avLst/>
          </a:prstGeom>
          <a:solidFill>
            <a:schemeClr val="bg2"/>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a:ea typeface="+mn-ea"/>
                <a:cs typeface="+mn-cs"/>
              </a:rPr>
              <a:t>Anywhere</a:t>
            </a:r>
          </a:p>
        </p:txBody>
      </p:sp>
      <p:cxnSp>
        <p:nvCxnSpPr>
          <p:cNvPr id="163" name="Straight Arrow Connector 162">
            <a:extLst>
              <a:ext uri="{FF2B5EF4-FFF2-40B4-BE49-F238E27FC236}">
                <a16:creationId xmlns:a16="http://schemas.microsoft.com/office/drawing/2014/main" id="{E853342B-ECA2-438C-B4F6-FAE8F25A4DE3}"/>
              </a:ext>
            </a:extLst>
          </p:cNvPr>
          <p:cNvCxnSpPr>
            <a:cxnSpLocks/>
          </p:cNvCxnSpPr>
          <p:nvPr/>
        </p:nvCxnSpPr>
        <p:spPr>
          <a:xfrm rot="5400000" flipV="1">
            <a:off x="7117708" y="2235922"/>
            <a:ext cx="0" cy="792538"/>
          </a:xfrm>
          <a:prstGeom prst="straightConnector1">
            <a:avLst/>
          </a:prstGeom>
          <a:ln w="9525">
            <a:solidFill>
              <a:schemeClr val="tx1"/>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cxnSp>
        <p:nvCxnSpPr>
          <p:cNvPr id="164" name="Straight Arrow Connector 163">
            <a:extLst>
              <a:ext uri="{FF2B5EF4-FFF2-40B4-BE49-F238E27FC236}">
                <a16:creationId xmlns:a16="http://schemas.microsoft.com/office/drawing/2014/main" id="{F4A954BB-43A9-4F98-A7C0-67DEBFBA9E89}"/>
              </a:ext>
            </a:extLst>
          </p:cNvPr>
          <p:cNvCxnSpPr>
            <a:cxnSpLocks/>
          </p:cNvCxnSpPr>
          <p:nvPr/>
        </p:nvCxnSpPr>
        <p:spPr>
          <a:xfrm flipV="1">
            <a:off x="6130605" y="3102101"/>
            <a:ext cx="0" cy="348646"/>
          </a:xfrm>
          <a:prstGeom prst="straightConnector1">
            <a:avLst/>
          </a:prstGeom>
          <a:ln w="9525">
            <a:solidFill>
              <a:schemeClr val="tx1"/>
            </a:solidFill>
            <a:headEnd type="triangle" w="sm" len="sm"/>
            <a:tailEnd type="triangle" w="sm" len="sm"/>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897490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4E09AAD-834E-453D-BA0F-542AE74FF2F7}"/>
              </a:ext>
            </a:extLst>
          </p:cNvPr>
          <p:cNvSpPr/>
          <p:nvPr/>
        </p:nvSpPr>
        <p:spPr>
          <a:xfrm>
            <a:off x="228602" y="922638"/>
            <a:ext cx="4114798" cy="3568400"/>
          </a:xfrm>
          <a:prstGeom prst="rect">
            <a:avLst/>
          </a:prstGeom>
          <a:solidFill>
            <a:schemeClr val="bg2"/>
          </a:solid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166" name="Rectangle 165">
            <a:extLst>
              <a:ext uri="{FF2B5EF4-FFF2-40B4-BE49-F238E27FC236}">
                <a16:creationId xmlns:a16="http://schemas.microsoft.com/office/drawing/2014/main" id="{5303C1B9-BA85-42F5-B79D-9AD95F44C94C}"/>
              </a:ext>
            </a:extLst>
          </p:cNvPr>
          <p:cNvSpPr/>
          <p:nvPr/>
        </p:nvSpPr>
        <p:spPr>
          <a:xfrm>
            <a:off x="1707700" y="1933974"/>
            <a:ext cx="1156602" cy="2205685"/>
          </a:xfrm>
          <a:prstGeom prst="rect">
            <a:avLst/>
          </a:prstGeom>
          <a:solidFill>
            <a:schemeClr val="tx1"/>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167" name="Rectangle 166">
            <a:extLst>
              <a:ext uri="{FF2B5EF4-FFF2-40B4-BE49-F238E27FC236}">
                <a16:creationId xmlns:a16="http://schemas.microsoft.com/office/drawing/2014/main" id="{ACDB5B82-2779-4F70-8632-B41E6651EA59}"/>
              </a:ext>
            </a:extLst>
          </p:cNvPr>
          <p:cNvSpPr/>
          <p:nvPr/>
        </p:nvSpPr>
        <p:spPr>
          <a:xfrm>
            <a:off x="1779272" y="2165639"/>
            <a:ext cx="1013458" cy="458402"/>
          </a:xfrm>
          <a:prstGeom prst="rect">
            <a:avLst/>
          </a:prstGeom>
          <a:solidFill>
            <a:schemeClr val="accent2"/>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EAEAEA"/>
              </a:solidFill>
              <a:effectLst/>
              <a:uLnTx/>
              <a:uFillTx/>
              <a:latin typeface="IBM Plex Sans"/>
              <a:ea typeface="+mn-ea"/>
              <a:cs typeface="+mn-cs"/>
            </a:endParaRPr>
          </a:p>
        </p:txBody>
      </p:sp>
      <p:sp>
        <p:nvSpPr>
          <p:cNvPr id="173" name="Rectangle 172">
            <a:extLst>
              <a:ext uri="{FF2B5EF4-FFF2-40B4-BE49-F238E27FC236}">
                <a16:creationId xmlns:a16="http://schemas.microsoft.com/office/drawing/2014/main" id="{1EBF1BD0-6489-4205-983C-9381CF0A731B}"/>
              </a:ext>
            </a:extLst>
          </p:cNvPr>
          <p:cNvSpPr/>
          <p:nvPr/>
        </p:nvSpPr>
        <p:spPr>
          <a:xfrm>
            <a:off x="1779272" y="2807616"/>
            <a:ext cx="1013458" cy="458402"/>
          </a:xfrm>
          <a:prstGeom prst="rect">
            <a:avLst/>
          </a:prstGeom>
          <a:solidFill>
            <a:schemeClr val="accent2"/>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116" name="Footer Placeholder 6">
            <a:extLst>
              <a:ext uri="{FF2B5EF4-FFF2-40B4-BE49-F238E27FC236}">
                <a16:creationId xmlns:a16="http://schemas.microsoft.com/office/drawing/2014/main" id="{4A735F52-A6CF-46C6-906A-7ED9644DD6EF}"/>
              </a:ext>
            </a:extLst>
          </p:cNvPr>
          <p:cNvSpPr txBox="1">
            <a:spLocks/>
          </p:cNvSpPr>
          <p:nvPr/>
        </p:nvSpPr>
        <p:spPr>
          <a:xfrm>
            <a:off x="228600" y="4567341"/>
            <a:ext cx="6400800" cy="189712"/>
          </a:xfrm>
          <a:prstGeom prst="rect">
            <a:avLst/>
          </a:prstGeom>
        </p:spPr>
        <p:txBody>
          <a:bodyPr vert="horz" lIns="0" tIns="0" rIns="0" bIns="0" rtlCol="0" anchor="ctr"/>
          <a:lstStyle>
            <a:defPPr>
              <a:defRPr lang="en-US"/>
            </a:defPPr>
            <a:lvl1pPr marL="0" algn="l"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IBM Plex Sans"/>
                <a:cs typeface="Arial" charset="0"/>
              </a:rPr>
              <a:t>Anywhere install demo:  20 minutes | </a:t>
            </a:r>
            <a:r>
              <a:rPr kumimoji="0" lang="en-US" sz="600" b="0" i="0" u="none" strike="noStrike" kern="1200" cap="none" spc="0" normalizeH="0" baseline="0" noProof="0" dirty="0">
                <a:ln>
                  <a:noFill/>
                </a:ln>
                <a:solidFill>
                  <a:srgbClr val="0064FF"/>
                </a:solidFill>
                <a:effectLst/>
                <a:uLnTx/>
                <a:uFillTx/>
                <a:latin typeface="IBM Plex Sans"/>
                <a:cs typeface="Arial" charset="0"/>
              </a:rPr>
              <a:t>https://ibm.co/2UM5FMK</a:t>
            </a:r>
          </a:p>
        </p:txBody>
      </p:sp>
      <p:sp>
        <p:nvSpPr>
          <p:cNvPr id="4" name="Rectangle 3">
            <a:hlinkClick r:id="rId3"/>
            <a:extLst>
              <a:ext uri="{FF2B5EF4-FFF2-40B4-BE49-F238E27FC236}">
                <a16:creationId xmlns:a16="http://schemas.microsoft.com/office/drawing/2014/main" id="{7746E1A7-ED1B-4C5A-BF5C-D3DA4628D5A9}"/>
              </a:ext>
            </a:extLst>
          </p:cNvPr>
          <p:cNvSpPr/>
          <p:nvPr/>
        </p:nvSpPr>
        <p:spPr>
          <a:xfrm>
            <a:off x="1496060" y="4607560"/>
            <a:ext cx="924560" cy="122873"/>
          </a:xfrm>
          <a:prstGeom prst="rect">
            <a:avLst/>
          </a:prstGeom>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35" name="Rectangle 34">
            <a:extLst>
              <a:ext uri="{FF2B5EF4-FFF2-40B4-BE49-F238E27FC236}">
                <a16:creationId xmlns:a16="http://schemas.microsoft.com/office/drawing/2014/main" id="{AFA606A7-0BCE-4E55-A232-82D2318AD906}"/>
              </a:ext>
            </a:extLst>
          </p:cNvPr>
          <p:cNvSpPr/>
          <p:nvPr/>
        </p:nvSpPr>
        <p:spPr>
          <a:xfrm>
            <a:off x="4798543" y="922638"/>
            <a:ext cx="4114798" cy="3568400"/>
          </a:xfrm>
          <a:prstGeom prst="rect">
            <a:avLst/>
          </a:prstGeom>
          <a:solidFill>
            <a:schemeClr val="bg2"/>
          </a:solid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3" name="Slide Number Placeholder 2">
            <a:extLst>
              <a:ext uri="{FF2B5EF4-FFF2-40B4-BE49-F238E27FC236}">
                <a16:creationId xmlns:a16="http://schemas.microsoft.com/office/drawing/2014/main" id="{6724320C-35B5-984C-ABD8-251C1C3D947D}"/>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0BE6F14-FF48-0F4F-A8AA-2E3F25371E4A}" type="slidenum">
              <a:rPr kumimoji="0" lang="en-US" sz="600" b="0" i="0" u="none" strike="noStrike" kern="1200" cap="none" spc="0" normalizeH="0" baseline="0" noProof="0" smtClean="0">
                <a:ln>
                  <a:noFill/>
                </a:ln>
                <a:solidFill>
                  <a:srgbClr val="000000"/>
                </a:solidFill>
                <a:effectLst/>
                <a:uLnTx/>
                <a:uFillTx/>
                <a:latin typeface="IBM Plex Sans"/>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24</a:t>
            </a:fld>
            <a:endParaRPr kumimoji="0" lang="en-US" sz="600" b="0" i="0" u="none" strike="noStrike" kern="1200" cap="none" spc="0" normalizeH="0" baseline="0" noProof="0">
              <a:ln>
                <a:noFill/>
              </a:ln>
              <a:solidFill>
                <a:srgbClr val="000000"/>
              </a:solidFill>
              <a:effectLst/>
              <a:uLnTx/>
              <a:uFillTx/>
              <a:latin typeface="IBM Plex Sans"/>
              <a:cs typeface="Arial" charset="0"/>
            </a:endParaRPr>
          </a:p>
        </p:txBody>
      </p:sp>
      <p:sp>
        <p:nvSpPr>
          <p:cNvPr id="7" name="Footer Placeholder 6">
            <a:extLst>
              <a:ext uri="{FF2B5EF4-FFF2-40B4-BE49-F238E27FC236}">
                <a16:creationId xmlns:a16="http://schemas.microsoft.com/office/drawing/2014/main" id="{F7F3FD1D-4CC5-A942-9468-B837A39962E7}"/>
              </a:ext>
            </a:extLst>
          </p:cNvPr>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pt-BR" sz="600" b="0" i="0" u="none" strike="noStrike" kern="1200" cap="none" spc="0" normalizeH="0" baseline="0" noProof="0" dirty="0">
                <a:ln>
                  <a:noFill/>
                </a:ln>
                <a:solidFill>
                  <a:srgbClr val="000000"/>
                </a:solidFill>
                <a:effectLst/>
                <a:uLnTx/>
                <a:uFillTx/>
                <a:latin typeface="IBM Plex Sans"/>
                <a:cs typeface="Arial" charset="0"/>
              </a:rPr>
              <a:t>IBM Maximo / © 2020 IBM Corporation</a:t>
            </a:r>
            <a:endParaRPr kumimoji="0" lang="en-US" sz="600" b="0" i="0" u="none" strike="noStrike" kern="1200" cap="none" spc="0" normalizeH="0" baseline="0" noProof="0" dirty="0">
              <a:ln>
                <a:noFill/>
              </a:ln>
              <a:solidFill>
                <a:srgbClr val="000000"/>
              </a:solidFill>
              <a:effectLst/>
              <a:uLnTx/>
              <a:uFillTx/>
              <a:latin typeface="IBM Plex Sans"/>
              <a:cs typeface="Arial" charset="0"/>
            </a:endParaRPr>
          </a:p>
        </p:txBody>
      </p:sp>
      <p:sp>
        <p:nvSpPr>
          <p:cNvPr id="22" name="Title 1">
            <a:extLst>
              <a:ext uri="{FF2B5EF4-FFF2-40B4-BE49-F238E27FC236}">
                <a16:creationId xmlns:a16="http://schemas.microsoft.com/office/drawing/2014/main" id="{61518B40-917C-4298-8AF2-0769AF3C22F6}"/>
              </a:ext>
            </a:extLst>
          </p:cNvPr>
          <p:cNvSpPr>
            <a:spLocks noGrp="1"/>
          </p:cNvSpPr>
          <p:nvPr>
            <p:ph type="title"/>
          </p:nvPr>
        </p:nvSpPr>
        <p:spPr>
          <a:xfrm>
            <a:off x="228599" y="201168"/>
            <a:ext cx="4114801" cy="855726"/>
          </a:xfrm>
        </p:spPr>
        <p:txBody>
          <a:bodyPr/>
          <a:lstStyle/>
          <a:p>
            <a:r>
              <a:rPr lang="en-US" dirty="0"/>
              <a:t>Install: Product...</a:t>
            </a:r>
            <a:r>
              <a:rPr lang="en-US" dirty="0">
                <a:solidFill>
                  <a:schemeClr val="accent2"/>
                </a:solidFill>
              </a:rPr>
              <a:t>simplified</a:t>
            </a:r>
          </a:p>
        </p:txBody>
      </p:sp>
      <p:sp>
        <p:nvSpPr>
          <p:cNvPr id="26" name="Rectangle 25">
            <a:extLst>
              <a:ext uri="{FF2B5EF4-FFF2-40B4-BE49-F238E27FC236}">
                <a16:creationId xmlns:a16="http://schemas.microsoft.com/office/drawing/2014/main" id="{EA4C3CF1-2831-4DE1-8547-0A9D49A1C015}"/>
              </a:ext>
            </a:extLst>
          </p:cNvPr>
          <p:cNvSpPr/>
          <p:nvPr/>
        </p:nvSpPr>
        <p:spPr>
          <a:xfrm>
            <a:off x="426310" y="1097280"/>
            <a:ext cx="3564852" cy="246221"/>
          </a:xfrm>
          <a:prstGeom prst="rect">
            <a:avLst/>
          </a:prstGeom>
        </p:spPr>
        <p:txBody>
          <a:bodyPr wrap="square" lIns="0" tIns="0" rIns="0" bIns="0" anchor="t">
            <a:spAutoFit/>
          </a:bodyPr>
          <a:lstStyle/>
          <a:p>
            <a:pPr marL="0" marR="0" lvl="0" indent="0" algn="l" defTabSz="685800" rtl="0" eaLnBrk="1" fontAlgn="base" latinLnBrk="0" hangingPunct="1">
              <a:lnSpc>
                <a:spcPct val="100000"/>
              </a:lnSpc>
              <a:spcBef>
                <a:spcPts val="3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IBM Plex Sans"/>
                <a:ea typeface="IBM Plex Sans" charset="0"/>
                <a:cs typeface="IBM Plex Sans" charset="0"/>
              </a:rPr>
              <a:t>Prior Anywhere releases</a:t>
            </a:r>
          </a:p>
        </p:txBody>
      </p:sp>
      <p:sp>
        <p:nvSpPr>
          <p:cNvPr id="28" name="Rectangle 27">
            <a:extLst>
              <a:ext uri="{FF2B5EF4-FFF2-40B4-BE49-F238E27FC236}">
                <a16:creationId xmlns:a16="http://schemas.microsoft.com/office/drawing/2014/main" id="{B94A4466-63A4-4F38-A188-06C49CBBB165}"/>
              </a:ext>
            </a:extLst>
          </p:cNvPr>
          <p:cNvSpPr/>
          <p:nvPr/>
        </p:nvSpPr>
        <p:spPr>
          <a:xfrm>
            <a:off x="4998308" y="1097280"/>
            <a:ext cx="3564852" cy="246221"/>
          </a:xfrm>
          <a:prstGeom prst="rect">
            <a:avLst/>
          </a:prstGeom>
        </p:spPr>
        <p:txBody>
          <a:bodyPr wrap="square" lIns="0" tIns="0" rIns="0" bIns="0" anchor="t">
            <a:spAutoFit/>
          </a:bodyPr>
          <a:lstStyle/>
          <a:p>
            <a:pPr marL="0" marR="0" lvl="0" indent="0" algn="l" defTabSz="685800" rtl="0" eaLnBrk="1" fontAlgn="base" latinLnBrk="0" hangingPunct="1">
              <a:lnSpc>
                <a:spcPct val="100000"/>
              </a:lnSpc>
              <a:spcBef>
                <a:spcPts val="3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IBM Plex Sans"/>
                <a:ea typeface="IBM Plex Sans" charset="0"/>
                <a:cs typeface="IBM Plex Sans" charset="0"/>
              </a:rPr>
              <a:t>Anywhere 7.6.4</a:t>
            </a:r>
          </a:p>
        </p:txBody>
      </p:sp>
      <p:sp>
        <p:nvSpPr>
          <p:cNvPr id="117" name="Rectangle 116">
            <a:extLst>
              <a:ext uri="{FF2B5EF4-FFF2-40B4-BE49-F238E27FC236}">
                <a16:creationId xmlns:a16="http://schemas.microsoft.com/office/drawing/2014/main" id="{4A4602AE-DF0C-497A-B967-7C2F796854CF}"/>
              </a:ext>
            </a:extLst>
          </p:cNvPr>
          <p:cNvSpPr/>
          <p:nvPr/>
        </p:nvSpPr>
        <p:spPr>
          <a:xfrm>
            <a:off x="290290" y="1626789"/>
            <a:ext cx="1356358" cy="138499"/>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0064FF"/>
                </a:solidFill>
                <a:effectLst/>
                <a:uLnTx/>
                <a:uFillTx/>
                <a:latin typeface="IBM Plex Sans"/>
                <a:ea typeface="+mn-ea"/>
                <a:cs typeface="+mn-cs"/>
              </a:rPr>
              <a:t>1. </a:t>
            </a:r>
            <a:r>
              <a:rPr kumimoji="0" lang="en-US" sz="900" b="0" i="0" u="none" strike="noStrike" kern="1200" cap="none" spc="0" normalizeH="0" baseline="0" noProof="0" dirty="0">
                <a:ln>
                  <a:noFill/>
                </a:ln>
                <a:solidFill>
                  <a:srgbClr val="000000"/>
                </a:solidFill>
                <a:effectLst/>
                <a:uLnTx/>
                <a:uFillTx/>
                <a:latin typeface="IBM Plex Sans"/>
                <a:ea typeface="+mn-ea"/>
                <a:cs typeface="+mn-cs"/>
              </a:rPr>
              <a:t>Maximo Server</a:t>
            </a:r>
          </a:p>
        </p:txBody>
      </p:sp>
      <p:sp>
        <p:nvSpPr>
          <p:cNvPr id="119" name="Rectangle 118">
            <a:extLst>
              <a:ext uri="{FF2B5EF4-FFF2-40B4-BE49-F238E27FC236}">
                <a16:creationId xmlns:a16="http://schemas.microsoft.com/office/drawing/2014/main" id="{8C0B0269-78C2-48DD-9A39-28E0DFAEB69A}"/>
              </a:ext>
            </a:extLst>
          </p:cNvPr>
          <p:cNvSpPr/>
          <p:nvPr/>
        </p:nvSpPr>
        <p:spPr>
          <a:xfrm>
            <a:off x="1607822" y="1626789"/>
            <a:ext cx="1356358" cy="138499"/>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0064FF"/>
                </a:solidFill>
                <a:effectLst/>
                <a:uLnTx/>
                <a:uFillTx/>
                <a:latin typeface="IBM Plex Sans"/>
                <a:ea typeface="+mn-ea"/>
                <a:cs typeface="+mn-cs"/>
              </a:rPr>
              <a:t>2. </a:t>
            </a:r>
            <a:r>
              <a:rPr kumimoji="0" lang="en-US" sz="900" b="0" i="0" u="none" strike="noStrike" kern="1200" cap="none" spc="0" normalizeH="0" baseline="0" noProof="0" dirty="0">
                <a:ln>
                  <a:noFill/>
                </a:ln>
                <a:solidFill>
                  <a:srgbClr val="000000"/>
                </a:solidFill>
                <a:effectLst/>
                <a:uLnTx/>
                <a:uFillTx/>
                <a:latin typeface="IBM Plex Sans"/>
                <a:ea typeface="+mn-ea"/>
                <a:cs typeface="+mn-cs"/>
              </a:rPr>
              <a:t>Middleware</a:t>
            </a:r>
          </a:p>
        </p:txBody>
      </p:sp>
      <p:sp>
        <p:nvSpPr>
          <p:cNvPr id="124" name="Rectangle 123">
            <a:extLst>
              <a:ext uri="{FF2B5EF4-FFF2-40B4-BE49-F238E27FC236}">
                <a16:creationId xmlns:a16="http://schemas.microsoft.com/office/drawing/2014/main" id="{2EAB79A8-0BD6-4BE3-B1F5-B23ED2F11CC8}"/>
              </a:ext>
            </a:extLst>
          </p:cNvPr>
          <p:cNvSpPr/>
          <p:nvPr/>
        </p:nvSpPr>
        <p:spPr>
          <a:xfrm>
            <a:off x="2925354" y="1626789"/>
            <a:ext cx="1356358" cy="138499"/>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0064FF"/>
                </a:solidFill>
                <a:effectLst/>
                <a:uLnTx/>
                <a:uFillTx/>
                <a:latin typeface="IBM Plex Sans"/>
                <a:ea typeface="+mn-ea"/>
                <a:cs typeface="+mn-cs"/>
              </a:rPr>
              <a:t>3. </a:t>
            </a:r>
            <a:r>
              <a:rPr kumimoji="0" lang="en-US" sz="900" b="0" i="0" u="none" strike="noStrike" kern="1200" cap="none" spc="0" normalizeH="0" baseline="0" noProof="0" dirty="0">
                <a:ln>
                  <a:noFill/>
                </a:ln>
                <a:solidFill>
                  <a:srgbClr val="000000"/>
                </a:solidFill>
                <a:effectLst/>
                <a:uLnTx/>
                <a:uFillTx/>
                <a:latin typeface="IBM Plex Sans"/>
                <a:ea typeface="+mn-ea"/>
                <a:cs typeface="+mn-cs"/>
              </a:rPr>
              <a:t>Anywhere Build Server</a:t>
            </a:r>
          </a:p>
        </p:txBody>
      </p:sp>
      <p:sp>
        <p:nvSpPr>
          <p:cNvPr id="52" name="Rectangle 51">
            <a:extLst>
              <a:ext uri="{FF2B5EF4-FFF2-40B4-BE49-F238E27FC236}">
                <a16:creationId xmlns:a16="http://schemas.microsoft.com/office/drawing/2014/main" id="{A3524E6D-6716-40FB-AC38-7507656B4B0D}"/>
              </a:ext>
            </a:extLst>
          </p:cNvPr>
          <p:cNvSpPr/>
          <p:nvPr/>
        </p:nvSpPr>
        <p:spPr>
          <a:xfrm>
            <a:off x="390168" y="1933974"/>
            <a:ext cx="1156602" cy="2205685"/>
          </a:xfrm>
          <a:prstGeom prst="rect">
            <a:avLst/>
          </a:prstGeom>
          <a:solidFill>
            <a:schemeClr val="accent2"/>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168" name="Rectangle 167">
            <a:extLst>
              <a:ext uri="{FF2B5EF4-FFF2-40B4-BE49-F238E27FC236}">
                <a16:creationId xmlns:a16="http://schemas.microsoft.com/office/drawing/2014/main" id="{C87EA263-F21E-403D-995D-6BC9C4D167FB}"/>
              </a:ext>
            </a:extLst>
          </p:cNvPr>
          <p:cNvSpPr/>
          <p:nvPr/>
        </p:nvSpPr>
        <p:spPr>
          <a:xfrm>
            <a:off x="1809583" y="2333285"/>
            <a:ext cx="952836" cy="123111"/>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EAEAEA"/>
                </a:solidFill>
                <a:effectLst/>
                <a:uLnTx/>
                <a:uFillTx/>
                <a:latin typeface="IBM Plex Sans"/>
                <a:ea typeface="+mn-ea"/>
                <a:cs typeface="+mn-cs"/>
              </a:rPr>
              <a:t>Web sphere Liberty</a:t>
            </a:r>
          </a:p>
        </p:txBody>
      </p:sp>
      <p:sp>
        <p:nvSpPr>
          <p:cNvPr id="174" name="Rectangle 173">
            <a:extLst>
              <a:ext uri="{FF2B5EF4-FFF2-40B4-BE49-F238E27FC236}">
                <a16:creationId xmlns:a16="http://schemas.microsoft.com/office/drawing/2014/main" id="{9711E27A-7150-4895-80C1-0CFA8178485D}"/>
              </a:ext>
            </a:extLst>
          </p:cNvPr>
          <p:cNvSpPr/>
          <p:nvPr/>
        </p:nvSpPr>
        <p:spPr>
          <a:xfrm>
            <a:off x="1809583" y="2913707"/>
            <a:ext cx="952836" cy="246221"/>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EAEAEA"/>
                </a:solidFill>
                <a:effectLst/>
                <a:uLnTx/>
                <a:uFillTx/>
                <a:latin typeface="IBM Plex Sans"/>
                <a:ea typeface="+mn-ea"/>
                <a:cs typeface="+mn-cs"/>
              </a:rPr>
              <a:t>Middleware Console, App Center</a:t>
            </a:r>
          </a:p>
        </p:txBody>
      </p:sp>
      <p:sp>
        <p:nvSpPr>
          <p:cNvPr id="170" name="Rectangle 169">
            <a:extLst>
              <a:ext uri="{FF2B5EF4-FFF2-40B4-BE49-F238E27FC236}">
                <a16:creationId xmlns:a16="http://schemas.microsoft.com/office/drawing/2014/main" id="{4FD3EBB9-84F0-4B67-9D00-0385313EDA40}"/>
              </a:ext>
            </a:extLst>
          </p:cNvPr>
          <p:cNvSpPr/>
          <p:nvPr/>
        </p:nvSpPr>
        <p:spPr>
          <a:xfrm>
            <a:off x="3025232" y="1933974"/>
            <a:ext cx="1156602" cy="2205685"/>
          </a:xfrm>
          <a:prstGeom prst="rect">
            <a:avLst/>
          </a:prstGeom>
          <a:solidFill>
            <a:schemeClr val="accent2"/>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175" name="Rectangle 174">
            <a:extLst>
              <a:ext uri="{FF2B5EF4-FFF2-40B4-BE49-F238E27FC236}">
                <a16:creationId xmlns:a16="http://schemas.microsoft.com/office/drawing/2014/main" id="{57ADCAB1-CB00-475A-95A0-CF039ACDE24C}"/>
              </a:ext>
            </a:extLst>
          </p:cNvPr>
          <p:cNvSpPr/>
          <p:nvPr/>
        </p:nvSpPr>
        <p:spPr>
          <a:xfrm>
            <a:off x="1779272" y="3449592"/>
            <a:ext cx="1013458" cy="458402"/>
          </a:xfrm>
          <a:prstGeom prst="rect">
            <a:avLst/>
          </a:prstGeom>
          <a:solidFill>
            <a:schemeClr val="accent2"/>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176" name="Rectangle 175">
            <a:extLst>
              <a:ext uri="{FF2B5EF4-FFF2-40B4-BE49-F238E27FC236}">
                <a16:creationId xmlns:a16="http://schemas.microsoft.com/office/drawing/2014/main" id="{1ABA7164-40EB-4AE2-8563-21219A88C87B}"/>
              </a:ext>
            </a:extLst>
          </p:cNvPr>
          <p:cNvSpPr/>
          <p:nvPr/>
        </p:nvSpPr>
        <p:spPr>
          <a:xfrm>
            <a:off x="1809583" y="3555683"/>
            <a:ext cx="952836" cy="246221"/>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EAEAEA"/>
                </a:solidFill>
                <a:effectLst/>
                <a:uLnTx/>
                <a:uFillTx/>
                <a:latin typeface="IBM Plex Sans"/>
                <a:ea typeface="+mn-ea"/>
                <a:cs typeface="+mn-cs"/>
              </a:rPr>
              <a:t>Middleware DB2 Database</a:t>
            </a:r>
          </a:p>
        </p:txBody>
      </p:sp>
      <p:sp>
        <p:nvSpPr>
          <p:cNvPr id="177" name="Rectangle 176">
            <a:extLst>
              <a:ext uri="{FF2B5EF4-FFF2-40B4-BE49-F238E27FC236}">
                <a16:creationId xmlns:a16="http://schemas.microsoft.com/office/drawing/2014/main" id="{886815C9-3E87-4C1F-B5CB-06B623862F6B}"/>
              </a:ext>
            </a:extLst>
          </p:cNvPr>
          <p:cNvSpPr/>
          <p:nvPr/>
        </p:nvSpPr>
        <p:spPr>
          <a:xfrm>
            <a:off x="3096586" y="2165639"/>
            <a:ext cx="1013458" cy="458402"/>
          </a:xfrm>
          <a:prstGeom prst="rect">
            <a:avLst/>
          </a:prstGeom>
          <a:solidFill>
            <a:schemeClr val="tx1"/>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178" name="Rectangle 177">
            <a:extLst>
              <a:ext uri="{FF2B5EF4-FFF2-40B4-BE49-F238E27FC236}">
                <a16:creationId xmlns:a16="http://schemas.microsoft.com/office/drawing/2014/main" id="{4AF189E3-105A-41AB-8DDA-701A615CD95C}"/>
              </a:ext>
            </a:extLst>
          </p:cNvPr>
          <p:cNvSpPr/>
          <p:nvPr/>
        </p:nvSpPr>
        <p:spPr>
          <a:xfrm>
            <a:off x="3096586" y="2807616"/>
            <a:ext cx="1013458" cy="458402"/>
          </a:xfrm>
          <a:prstGeom prst="rect">
            <a:avLst/>
          </a:prstGeom>
          <a:solidFill>
            <a:schemeClr val="tx1"/>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179" name="Rectangle 178">
            <a:extLst>
              <a:ext uri="{FF2B5EF4-FFF2-40B4-BE49-F238E27FC236}">
                <a16:creationId xmlns:a16="http://schemas.microsoft.com/office/drawing/2014/main" id="{75571906-3EDC-4678-B6EF-0390DCC747E4}"/>
              </a:ext>
            </a:extLst>
          </p:cNvPr>
          <p:cNvSpPr/>
          <p:nvPr/>
        </p:nvSpPr>
        <p:spPr>
          <a:xfrm>
            <a:off x="3126897" y="2333285"/>
            <a:ext cx="952836" cy="123111"/>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EAEAEA"/>
                </a:solidFill>
                <a:effectLst/>
                <a:uLnTx/>
                <a:uFillTx/>
                <a:latin typeface="IBM Plex Sans"/>
                <a:ea typeface="+mn-ea"/>
                <a:cs typeface="+mn-cs"/>
              </a:rPr>
              <a:t>Anywhere Project</a:t>
            </a:r>
          </a:p>
        </p:txBody>
      </p:sp>
      <p:sp>
        <p:nvSpPr>
          <p:cNvPr id="180" name="Rectangle 179">
            <a:extLst>
              <a:ext uri="{FF2B5EF4-FFF2-40B4-BE49-F238E27FC236}">
                <a16:creationId xmlns:a16="http://schemas.microsoft.com/office/drawing/2014/main" id="{03863B46-504E-40F2-887C-E467A8799071}"/>
              </a:ext>
            </a:extLst>
          </p:cNvPr>
          <p:cNvSpPr/>
          <p:nvPr/>
        </p:nvSpPr>
        <p:spPr>
          <a:xfrm>
            <a:off x="3126897" y="2975262"/>
            <a:ext cx="952836" cy="123111"/>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EAEAEA"/>
                </a:solidFill>
                <a:effectLst/>
                <a:uLnTx/>
                <a:uFillTx/>
                <a:latin typeface="IBM Plex Sans"/>
                <a:ea typeface="+mn-ea"/>
                <a:cs typeface="+mn-cs"/>
              </a:rPr>
              <a:t>Build Environment</a:t>
            </a:r>
          </a:p>
        </p:txBody>
      </p:sp>
      <p:sp>
        <p:nvSpPr>
          <p:cNvPr id="181" name="Rectangle 180">
            <a:extLst>
              <a:ext uri="{FF2B5EF4-FFF2-40B4-BE49-F238E27FC236}">
                <a16:creationId xmlns:a16="http://schemas.microsoft.com/office/drawing/2014/main" id="{BBD439A7-7339-417E-835F-66E2AC1B0AAB}"/>
              </a:ext>
            </a:extLst>
          </p:cNvPr>
          <p:cNvSpPr/>
          <p:nvPr/>
        </p:nvSpPr>
        <p:spPr>
          <a:xfrm>
            <a:off x="3096586" y="3449592"/>
            <a:ext cx="1013458" cy="458402"/>
          </a:xfrm>
          <a:prstGeom prst="rect">
            <a:avLst/>
          </a:prstGeom>
          <a:solidFill>
            <a:schemeClr val="tx1"/>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182" name="Rectangle 181">
            <a:extLst>
              <a:ext uri="{FF2B5EF4-FFF2-40B4-BE49-F238E27FC236}">
                <a16:creationId xmlns:a16="http://schemas.microsoft.com/office/drawing/2014/main" id="{D76C1215-E06B-4828-91E8-CD4D0BE3E1EE}"/>
              </a:ext>
            </a:extLst>
          </p:cNvPr>
          <p:cNvSpPr/>
          <p:nvPr/>
        </p:nvSpPr>
        <p:spPr>
          <a:xfrm>
            <a:off x="3126897" y="3617238"/>
            <a:ext cx="952836" cy="123111"/>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EAEAEA"/>
                </a:solidFill>
                <a:effectLst/>
                <a:uLnTx/>
                <a:uFillTx/>
                <a:latin typeface="IBM Plex Sans"/>
                <a:ea typeface="+mn-ea"/>
                <a:cs typeface="+mn-cs"/>
              </a:rPr>
              <a:t>Middleware Plug-In</a:t>
            </a:r>
          </a:p>
        </p:txBody>
      </p:sp>
      <p:sp>
        <p:nvSpPr>
          <p:cNvPr id="183" name="Rectangle 182">
            <a:extLst>
              <a:ext uri="{FF2B5EF4-FFF2-40B4-BE49-F238E27FC236}">
                <a16:creationId xmlns:a16="http://schemas.microsoft.com/office/drawing/2014/main" id="{8F779634-683E-42BA-AF22-0563D7BEFA01}"/>
              </a:ext>
            </a:extLst>
          </p:cNvPr>
          <p:cNvSpPr/>
          <p:nvPr/>
        </p:nvSpPr>
        <p:spPr>
          <a:xfrm>
            <a:off x="457680" y="2486627"/>
            <a:ext cx="1013458" cy="458402"/>
          </a:xfrm>
          <a:prstGeom prst="rect">
            <a:avLst/>
          </a:prstGeom>
          <a:solidFill>
            <a:schemeClr val="tx1"/>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184" name="Rectangle 183">
            <a:extLst>
              <a:ext uri="{FF2B5EF4-FFF2-40B4-BE49-F238E27FC236}">
                <a16:creationId xmlns:a16="http://schemas.microsoft.com/office/drawing/2014/main" id="{8AF33A46-ADED-41E7-962A-48CA17FD1A35}"/>
              </a:ext>
            </a:extLst>
          </p:cNvPr>
          <p:cNvSpPr/>
          <p:nvPr/>
        </p:nvSpPr>
        <p:spPr>
          <a:xfrm>
            <a:off x="487991" y="2592718"/>
            <a:ext cx="952836" cy="246221"/>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EAEAEA"/>
                </a:solidFill>
                <a:effectLst/>
                <a:uLnTx/>
                <a:uFillTx/>
                <a:latin typeface="IBM Plex Sans"/>
                <a:ea typeface="+mn-ea"/>
                <a:cs typeface="+mn-cs"/>
              </a:rPr>
              <a:t>Anywhere Server updates</a:t>
            </a:r>
          </a:p>
        </p:txBody>
      </p:sp>
      <p:sp>
        <p:nvSpPr>
          <p:cNvPr id="185" name="Rectangle 184">
            <a:extLst>
              <a:ext uri="{FF2B5EF4-FFF2-40B4-BE49-F238E27FC236}">
                <a16:creationId xmlns:a16="http://schemas.microsoft.com/office/drawing/2014/main" id="{A747B095-30B3-45B6-A2C9-C400A8CD4E76}"/>
              </a:ext>
            </a:extLst>
          </p:cNvPr>
          <p:cNvSpPr/>
          <p:nvPr/>
        </p:nvSpPr>
        <p:spPr>
          <a:xfrm>
            <a:off x="457680" y="3128603"/>
            <a:ext cx="1013458" cy="458402"/>
          </a:xfrm>
          <a:prstGeom prst="rect">
            <a:avLst/>
          </a:prstGeom>
          <a:solidFill>
            <a:schemeClr val="tx1"/>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186" name="Rectangle 185">
            <a:extLst>
              <a:ext uri="{FF2B5EF4-FFF2-40B4-BE49-F238E27FC236}">
                <a16:creationId xmlns:a16="http://schemas.microsoft.com/office/drawing/2014/main" id="{5DF43509-C6DE-4E4D-829C-0D9EA2F66543}"/>
              </a:ext>
            </a:extLst>
          </p:cNvPr>
          <p:cNvSpPr/>
          <p:nvPr/>
        </p:nvSpPr>
        <p:spPr>
          <a:xfrm>
            <a:off x="487991" y="3234694"/>
            <a:ext cx="952836" cy="246221"/>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EAEAEA"/>
                </a:solidFill>
                <a:effectLst/>
                <a:uLnTx/>
                <a:uFillTx/>
                <a:latin typeface="IBM Plex Sans"/>
                <a:ea typeface="+mn-ea"/>
                <a:cs typeface="+mn-cs"/>
              </a:rPr>
              <a:t>Anywhere </a:t>
            </a:r>
            <a:br>
              <a:rPr kumimoji="0" lang="en-US" sz="800" b="0" i="0" u="none" strike="noStrike" kern="1200" cap="none" spc="0" normalizeH="0" baseline="0" noProof="0" dirty="0">
                <a:ln>
                  <a:noFill/>
                </a:ln>
                <a:solidFill>
                  <a:srgbClr val="EAEAEA"/>
                </a:solidFill>
                <a:effectLst/>
                <a:uLnTx/>
                <a:uFillTx/>
                <a:latin typeface="IBM Plex Sans"/>
                <a:ea typeface="+mn-ea"/>
                <a:cs typeface="+mn-cs"/>
              </a:rPr>
            </a:br>
            <a:r>
              <a:rPr kumimoji="0" lang="en-US" sz="800" b="0" i="0" u="none" strike="noStrike" kern="1200" cap="none" spc="0" normalizeH="0" baseline="0" noProof="0" dirty="0">
                <a:ln>
                  <a:noFill/>
                </a:ln>
                <a:solidFill>
                  <a:srgbClr val="EAEAEA"/>
                </a:solidFill>
                <a:effectLst/>
                <a:uLnTx/>
                <a:uFillTx/>
                <a:latin typeface="IBM Plex Sans"/>
                <a:ea typeface="+mn-ea"/>
                <a:cs typeface="+mn-cs"/>
              </a:rPr>
              <a:t>Database updates</a:t>
            </a:r>
          </a:p>
        </p:txBody>
      </p:sp>
      <p:sp>
        <p:nvSpPr>
          <p:cNvPr id="187" name="Rectangle 186">
            <a:extLst>
              <a:ext uri="{FF2B5EF4-FFF2-40B4-BE49-F238E27FC236}">
                <a16:creationId xmlns:a16="http://schemas.microsoft.com/office/drawing/2014/main" id="{9AB82782-148D-4505-BB66-425BC56DD2F5}"/>
              </a:ext>
            </a:extLst>
          </p:cNvPr>
          <p:cNvSpPr/>
          <p:nvPr/>
        </p:nvSpPr>
        <p:spPr>
          <a:xfrm>
            <a:off x="4862288" y="1626789"/>
            <a:ext cx="1356358" cy="138499"/>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a:ea typeface="+mn-ea"/>
                <a:cs typeface="+mn-cs"/>
              </a:rPr>
              <a:t>Maximo Server</a:t>
            </a:r>
          </a:p>
        </p:txBody>
      </p:sp>
      <p:sp>
        <p:nvSpPr>
          <p:cNvPr id="188" name="Rectangle 187">
            <a:extLst>
              <a:ext uri="{FF2B5EF4-FFF2-40B4-BE49-F238E27FC236}">
                <a16:creationId xmlns:a16="http://schemas.microsoft.com/office/drawing/2014/main" id="{5874620B-3364-40CB-97C5-B85144C1D1EE}"/>
              </a:ext>
            </a:extLst>
          </p:cNvPr>
          <p:cNvSpPr/>
          <p:nvPr/>
        </p:nvSpPr>
        <p:spPr>
          <a:xfrm>
            <a:off x="7206802" y="1626789"/>
            <a:ext cx="1356358" cy="138499"/>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IBM Plex Sans"/>
                <a:ea typeface="+mn-ea"/>
                <a:cs typeface="+mn-cs"/>
              </a:rPr>
              <a:t>Anywhere Build Server</a:t>
            </a:r>
          </a:p>
        </p:txBody>
      </p:sp>
      <p:sp>
        <p:nvSpPr>
          <p:cNvPr id="189" name="Rectangle 188">
            <a:extLst>
              <a:ext uri="{FF2B5EF4-FFF2-40B4-BE49-F238E27FC236}">
                <a16:creationId xmlns:a16="http://schemas.microsoft.com/office/drawing/2014/main" id="{823C85B5-8C01-4FF1-80D9-C89BD7901975}"/>
              </a:ext>
            </a:extLst>
          </p:cNvPr>
          <p:cNvSpPr/>
          <p:nvPr/>
        </p:nvSpPr>
        <p:spPr>
          <a:xfrm>
            <a:off x="4962166" y="1933974"/>
            <a:ext cx="1156602" cy="2205685"/>
          </a:xfrm>
          <a:prstGeom prst="rect">
            <a:avLst/>
          </a:prstGeom>
          <a:solidFill>
            <a:schemeClr val="accent2"/>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190" name="Rectangle 189">
            <a:extLst>
              <a:ext uri="{FF2B5EF4-FFF2-40B4-BE49-F238E27FC236}">
                <a16:creationId xmlns:a16="http://schemas.microsoft.com/office/drawing/2014/main" id="{15305990-2DE2-4683-AEB0-BA3C03EB6FFB}"/>
              </a:ext>
            </a:extLst>
          </p:cNvPr>
          <p:cNvSpPr/>
          <p:nvPr/>
        </p:nvSpPr>
        <p:spPr>
          <a:xfrm>
            <a:off x="7306680" y="1933974"/>
            <a:ext cx="1156602" cy="2205685"/>
          </a:xfrm>
          <a:prstGeom prst="rect">
            <a:avLst/>
          </a:prstGeom>
          <a:solidFill>
            <a:schemeClr val="accent2"/>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191" name="Rectangle 190">
            <a:extLst>
              <a:ext uri="{FF2B5EF4-FFF2-40B4-BE49-F238E27FC236}">
                <a16:creationId xmlns:a16="http://schemas.microsoft.com/office/drawing/2014/main" id="{62E0B08F-DB72-4A95-8241-9531BE5EA66F}"/>
              </a:ext>
            </a:extLst>
          </p:cNvPr>
          <p:cNvSpPr/>
          <p:nvPr/>
        </p:nvSpPr>
        <p:spPr>
          <a:xfrm>
            <a:off x="7668584" y="2486627"/>
            <a:ext cx="1013458" cy="458402"/>
          </a:xfrm>
          <a:prstGeom prst="rect">
            <a:avLst/>
          </a:prstGeom>
          <a:solidFill>
            <a:schemeClr val="tx1"/>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192" name="Rectangle 191">
            <a:extLst>
              <a:ext uri="{FF2B5EF4-FFF2-40B4-BE49-F238E27FC236}">
                <a16:creationId xmlns:a16="http://schemas.microsoft.com/office/drawing/2014/main" id="{30BB0D4A-3D28-45EA-857D-8C1501E1EDBD}"/>
              </a:ext>
            </a:extLst>
          </p:cNvPr>
          <p:cNvSpPr/>
          <p:nvPr/>
        </p:nvSpPr>
        <p:spPr>
          <a:xfrm>
            <a:off x="7668584" y="3128604"/>
            <a:ext cx="1013458" cy="458402"/>
          </a:xfrm>
          <a:prstGeom prst="rect">
            <a:avLst/>
          </a:prstGeom>
          <a:solidFill>
            <a:schemeClr val="tx1"/>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193" name="Rectangle 192">
            <a:extLst>
              <a:ext uri="{FF2B5EF4-FFF2-40B4-BE49-F238E27FC236}">
                <a16:creationId xmlns:a16="http://schemas.microsoft.com/office/drawing/2014/main" id="{0B9A2D87-644E-47D1-B5A6-9843BE626437}"/>
              </a:ext>
            </a:extLst>
          </p:cNvPr>
          <p:cNvSpPr/>
          <p:nvPr/>
        </p:nvSpPr>
        <p:spPr>
          <a:xfrm>
            <a:off x="7698895" y="2654273"/>
            <a:ext cx="952836" cy="123111"/>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EAEAEA"/>
                </a:solidFill>
                <a:effectLst/>
                <a:uLnTx/>
                <a:uFillTx/>
                <a:latin typeface="IBM Plex Sans"/>
                <a:ea typeface="+mn-ea"/>
                <a:cs typeface="+mn-cs"/>
              </a:rPr>
              <a:t>Anywhere Project</a:t>
            </a:r>
          </a:p>
        </p:txBody>
      </p:sp>
      <p:sp>
        <p:nvSpPr>
          <p:cNvPr id="194" name="Rectangle 193">
            <a:extLst>
              <a:ext uri="{FF2B5EF4-FFF2-40B4-BE49-F238E27FC236}">
                <a16:creationId xmlns:a16="http://schemas.microsoft.com/office/drawing/2014/main" id="{F89C4EEA-EEED-465F-8111-73E67F19BB89}"/>
              </a:ext>
            </a:extLst>
          </p:cNvPr>
          <p:cNvSpPr/>
          <p:nvPr/>
        </p:nvSpPr>
        <p:spPr>
          <a:xfrm>
            <a:off x="7698895" y="3296250"/>
            <a:ext cx="952836" cy="123111"/>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EAEAEA"/>
                </a:solidFill>
                <a:effectLst/>
                <a:uLnTx/>
                <a:uFillTx/>
                <a:latin typeface="IBM Plex Sans"/>
                <a:ea typeface="+mn-ea"/>
                <a:cs typeface="+mn-cs"/>
              </a:rPr>
              <a:t>Build Environment</a:t>
            </a:r>
          </a:p>
        </p:txBody>
      </p:sp>
      <p:sp>
        <p:nvSpPr>
          <p:cNvPr id="197" name="Rectangle 196">
            <a:extLst>
              <a:ext uri="{FF2B5EF4-FFF2-40B4-BE49-F238E27FC236}">
                <a16:creationId xmlns:a16="http://schemas.microsoft.com/office/drawing/2014/main" id="{A718E529-14C5-470B-93A3-68D1E66C2DD3}"/>
              </a:ext>
            </a:extLst>
          </p:cNvPr>
          <p:cNvSpPr/>
          <p:nvPr/>
        </p:nvSpPr>
        <p:spPr>
          <a:xfrm>
            <a:off x="5029678" y="2486627"/>
            <a:ext cx="1013458" cy="458402"/>
          </a:xfrm>
          <a:prstGeom prst="rect">
            <a:avLst/>
          </a:prstGeom>
          <a:solidFill>
            <a:schemeClr val="tx1"/>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198" name="Rectangle 197">
            <a:extLst>
              <a:ext uri="{FF2B5EF4-FFF2-40B4-BE49-F238E27FC236}">
                <a16:creationId xmlns:a16="http://schemas.microsoft.com/office/drawing/2014/main" id="{7D7E0FB7-682B-48E8-B959-FE9A15D816BC}"/>
              </a:ext>
            </a:extLst>
          </p:cNvPr>
          <p:cNvSpPr/>
          <p:nvPr/>
        </p:nvSpPr>
        <p:spPr>
          <a:xfrm>
            <a:off x="5059989" y="2592718"/>
            <a:ext cx="952836" cy="246221"/>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EAEAEA"/>
                </a:solidFill>
                <a:effectLst/>
                <a:uLnTx/>
                <a:uFillTx/>
                <a:latin typeface="IBM Plex Sans"/>
                <a:ea typeface="+mn-ea"/>
                <a:cs typeface="+mn-cs"/>
              </a:rPr>
              <a:t>Anywhere </a:t>
            </a:r>
            <a:br>
              <a:rPr kumimoji="0" lang="en-US" sz="800" b="0" i="0" u="none" strike="noStrike" kern="1200" cap="none" spc="0" normalizeH="0" baseline="0" noProof="0" dirty="0">
                <a:ln>
                  <a:noFill/>
                </a:ln>
                <a:solidFill>
                  <a:srgbClr val="EAEAEA"/>
                </a:solidFill>
                <a:effectLst/>
                <a:uLnTx/>
                <a:uFillTx/>
                <a:latin typeface="IBM Plex Sans"/>
                <a:ea typeface="+mn-ea"/>
                <a:cs typeface="+mn-cs"/>
              </a:rPr>
            </a:br>
            <a:r>
              <a:rPr kumimoji="0" lang="en-US" sz="800" b="0" i="0" u="none" strike="noStrike" kern="1200" cap="none" spc="0" normalizeH="0" baseline="0" noProof="0" dirty="0">
                <a:ln>
                  <a:noFill/>
                </a:ln>
                <a:solidFill>
                  <a:srgbClr val="EAEAEA"/>
                </a:solidFill>
                <a:effectLst/>
                <a:uLnTx/>
                <a:uFillTx/>
                <a:latin typeface="IBM Plex Sans"/>
                <a:ea typeface="+mn-ea"/>
                <a:cs typeface="+mn-cs"/>
              </a:rPr>
              <a:t>Server updates</a:t>
            </a:r>
          </a:p>
        </p:txBody>
      </p:sp>
      <p:sp>
        <p:nvSpPr>
          <p:cNvPr id="199" name="Rectangle 198">
            <a:extLst>
              <a:ext uri="{FF2B5EF4-FFF2-40B4-BE49-F238E27FC236}">
                <a16:creationId xmlns:a16="http://schemas.microsoft.com/office/drawing/2014/main" id="{A5279BB6-E9BD-4E0A-93C8-04611F7A2037}"/>
              </a:ext>
            </a:extLst>
          </p:cNvPr>
          <p:cNvSpPr/>
          <p:nvPr/>
        </p:nvSpPr>
        <p:spPr>
          <a:xfrm>
            <a:off x="5029678" y="3128603"/>
            <a:ext cx="1013458" cy="458402"/>
          </a:xfrm>
          <a:prstGeom prst="rect">
            <a:avLst/>
          </a:prstGeom>
          <a:solidFill>
            <a:schemeClr val="tx1"/>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200" name="Rectangle 199">
            <a:extLst>
              <a:ext uri="{FF2B5EF4-FFF2-40B4-BE49-F238E27FC236}">
                <a16:creationId xmlns:a16="http://schemas.microsoft.com/office/drawing/2014/main" id="{1874BD03-710E-4292-84FB-4568F565A265}"/>
              </a:ext>
            </a:extLst>
          </p:cNvPr>
          <p:cNvSpPr/>
          <p:nvPr/>
        </p:nvSpPr>
        <p:spPr>
          <a:xfrm>
            <a:off x="5059989" y="3234694"/>
            <a:ext cx="952836" cy="246221"/>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EAEAEA"/>
                </a:solidFill>
                <a:effectLst/>
                <a:uLnTx/>
                <a:uFillTx/>
                <a:latin typeface="IBM Plex Sans"/>
                <a:ea typeface="+mn-ea"/>
                <a:cs typeface="+mn-cs"/>
              </a:rPr>
              <a:t>Anywhere </a:t>
            </a:r>
            <a:br>
              <a:rPr kumimoji="0" lang="en-US" sz="800" b="0" i="0" u="none" strike="noStrike" kern="1200" cap="none" spc="0" normalizeH="0" baseline="0" noProof="0" dirty="0">
                <a:ln>
                  <a:noFill/>
                </a:ln>
                <a:solidFill>
                  <a:srgbClr val="EAEAEA"/>
                </a:solidFill>
                <a:effectLst/>
                <a:uLnTx/>
                <a:uFillTx/>
                <a:latin typeface="IBM Plex Sans"/>
                <a:ea typeface="+mn-ea"/>
                <a:cs typeface="+mn-cs"/>
              </a:rPr>
            </a:br>
            <a:r>
              <a:rPr kumimoji="0" lang="en-US" sz="800" b="0" i="0" u="none" strike="noStrike" kern="1200" cap="none" spc="0" normalizeH="0" baseline="0" noProof="0" dirty="0">
                <a:ln>
                  <a:noFill/>
                </a:ln>
                <a:solidFill>
                  <a:srgbClr val="EAEAEA"/>
                </a:solidFill>
                <a:effectLst/>
                <a:uLnTx/>
                <a:uFillTx/>
                <a:latin typeface="IBM Plex Sans"/>
                <a:ea typeface="+mn-ea"/>
                <a:cs typeface="+mn-cs"/>
              </a:rPr>
              <a:t>Database updates</a:t>
            </a:r>
          </a:p>
        </p:txBody>
      </p:sp>
      <p:sp>
        <p:nvSpPr>
          <p:cNvPr id="201" name="Rectangle 200">
            <a:extLst>
              <a:ext uri="{FF2B5EF4-FFF2-40B4-BE49-F238E27FC236}">
                <a16:creationId xmlns:a16="http://schemas.microsoft.com/office/drawing/2014/main" id="{9815ED29-85BB-4767-ABD0-FB8F5B8642CF}"/>
              </a:ext>
            </a:extLst>
          </p:cNvPr>
          <p:cNvSpPr/>
          <p:nvPr/>
        </p:nvSpPr>
        <p:spPr>
          <a:xfrm>
            <a:off x="5980586" y="2381506"/>
            <a:ext cx="1269941" cy="458402"/>
          </a:xfrm>
          <a:prstGeom prst="rect">
            <a:avLst/>
          </a:prstGeom>
          <a:solidFill>
            <a:schemeClr val="tx2"/>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202" name="Rectangle 201">
            <a:extLst>
              <a:ext uri="{FF2B5EF4-FFF2-40B4-BE49-F238E27FC236}">
                <a16:creationId xmlns:a16="http://schemas.microsoft.com/office/drawing/2014/main" id="{CA4A3089-4B7F-4160-A481-4D62DBE26640}"/>
              </a:ext>
            </a:extLst>
          </p:cNvPr>
          <p:cNvSpPr/>
          <p:nvPr/>
        </p:nvSpPr>
        <p:spPr>
          <a:xfrm>
            <a:off x="6012825" y="2487597"/>
            <a:ext cx="1193977" cy="246221"/>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a:ea typeface="+mn-ea"/>
                <a:cs typeface="+mn-cs"/>
              </a:rPr>
              <a:t>Anywhere Admin app updates ex. Deployment</a:t>
            </a:r>
          </a:p>
        </p:txBody>
      </p:sp>
      <p:sp>
        <p:nvSpPr>
          <p:cNvPr id="203" name="Rectangle 202">
            <a:extLst>
              <a:ext uri="{FF2B5EF4-FFF2-40B4-BE49-F238E27FC236}">
                <a16:creationId xmlns:a16="http://schemas.microsoft.com/office/drawing/2014/main" id="{705B0D90-ED33-4ED0-923D-F5AF58A52AAA}"/>
              </a:ext>
            </a:extLst>
          </p:cNvPr>
          <p:cNvSpPr/>
          <p:nvPr/>
        </p:nvSpPr>
        <p:spPr>
          <a:xfrm>
            <a:off x="5980586" y="2996006"/>
            <a:ext cx="1269941" cy="458402"/>
          </a:xfrm>
          <a:prstGeom prst="rect">
            <a:avLst/>
          </a:prstGeom>
          <a:solidFill>
            <a:schemeClr val="tx2"/>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204" name="Rectangle 203">
            <a:extLst>
              <a:ext uri="{FF2B5EF4-FFF2-40B4-BE49-F238E27FC236}">
                <a16:creationId xmlns:a16="http://schemas.microsoft.com/office/drawing/2014/main" id="{1B8C77DA-E04B-4591-AE40-ECD197DACEB8}"/>
              </a:ext>
            </a:extLst>
          </p:cNvPr>
          <p:cNvSpPr/>
          <p:nvPr/>
        </p:nvSpPr>
        <p:spPr>
          <a:xfrm>
            <a:off x="6012825" y="3163652"/>
            <a:ext cx="1193977" cy="123111"/>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IBM Plex Sans"/>
                <a:ea typeface="+mn-ea"/>
                <a:cs typeface="+mn-cs"/>
              </a:rPr>
              <a:t>Anywhere app definitions</a:t>
            </a:r>
          </a:p>
        </p:txBody>
      </p:sp>
    </p:spTree>
    <p:extLst>
      <p:ext uri="{BB962C8B-B14F-4D97-AF65-F5344CB8AC3E}">
        <p14:creationId xmlns:p14="http://schemas.microsoft.com/office/powerpoint/2010/main" val="34823196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A4E09AAD-834E-453D-BA0F-542AE74FF2F7}"/>
              </a:ext>
            </a:extLst>
          </p:cNvPr>
          <p:cNvSpPr/>
          <p:nvPr/>
        </p:nvSpPr>
        <p:spPr>
          <a:xfrm>
            <a:off x="228602" y="922638"/>
            <a:ext cx="4114798" cy="3568400"/>
          </a:xfrm>
          <a:prstGeom prst="rect">
            <a:avLst/>
          </a:prstGeom>
          <a:solidFill>
            <a:schemeClr val="bg2"/>
          </a:solid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35" name="Rectangle 34">
            <a:extLst>
              <a:ext uri="{FF2B5EF4-FFF2-40B4-BE49-F238E27FC236}">
                <a16:creationId xmlns:a16="http://schemas.microsoft.com/office/drawing/2014/main" id="{AFA606A7-0BCE-4E55-A232-82D2318AD906}"/>
              </a:ext>
            </a:extLst>
          </p:cNvPr>
          <p:cNvSpPr/>
          <p:nvPr/>
        </p:nvSpPr>
        <p:spPr>
          <a:xfrm>
            <a:off x="4798543" y="922638"/>
            <a:ext cx="4114798" cy="3568400"/>
          </a:xfrm>
          <a:prstGeom prst="rect">
            <a:avLst/>
          </a:prstGeom>
          <a:solidFill>
            <a:schemeClr val="bg2"/>
          </a:solid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3" name="Slide Number Placeholder 2">
            <a:extLst>
              <a:ext uri="{FF2B5EF4-FFF2-40B4-BE49-F238E27FC236}">
                <a16:creationId xmlns:a16="http://schemas.microsoft.com/office/drawing/2014/main" id="{6724320C-35B5-984C-ABD8-251C1C3D947D}"/>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0BE6F14-FF48-0F4F-A8AA-2E3F25371E4A}" type="slidenum">
              <a:rPr kumimoji="0" lang="en-US" sz="600" b="0" i="0" u="none" strike="noStrike" kern="1200" cap="none" spc="0" normalizeH="0" baseline="0" noProof="0" smtClean="0">
                <a:ln>
                  <a:noFill/>
                </a:ln>
                <a:solidFill>
                  <a:srgbClr val="000000"/>
                </a:solidFill>
                <a:effectLst/>
                <a:uLnTx/>
                <a:uFillTx/>
                <a:latin typeface="IBM Plex Sans"/>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25</a:t>
            </a:fld>
            <a:endParaRPr kumimoji="0" lang="en-US" sz="600" b="0" i="0" u="none" strike="noStrike" kern="1200" cap="none" spc="0" normalizeH="0" baseline="0" noProof="0">
              <a:ln>
                <a:noFill/>
              </a:ln>
              <a:solidFill>
                <a:srgbClr val="000000"/>
              </a:solidFill>
              <a:effectLst/>
              <a:uLnTx/>
              <a:uFillTx/>
              <a:latin typeface="IBM Plex Sans"/>
              <a:cs typeface="Arial" charset="0"/>
            </a:endParaRPr>
          </a:p>
        </p:txBody>
      </p:sp>
      <p:sp>
        <p:nvSpPr>
          <p:cNvPr id="7" name="Footer Placeholder 6">
            <a:extLst>
              <a:ext uri="{FF2B5EF4-FFF2-40B4-BE49-F238E27FC236}">
                <a16:creationId xmlns:a16="http://schemas.microsoft.com/office/drawing/2014/main" id="{F7F3FD1D-4CC5-A942-9468-B837A39962E7}"/>
              </a:ext>
            </a:extLst>
          </p:cNvPr>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pt-BR" sz="600" b="0" i="0" u="none" strike="noStrike" kern="1200" cap="none" spc="0" normalizeH="0" baseline="0" noProof="0" dirty="0">
                <a:ln>
                  <a:noFill/>
                </a:ln>
                <a:solidFill>
                  <a:srgbClr val="000000"/>
                </a:solidFill>
                <a:effectLst/>
                <a:uLnTx/>
                <a:uFillTx/>
                <a:latin typeface="IBM Plex Sans"/>
                <a:cs typeface="Arial" charset="0"/>
              </a:rPr>
              <a:t>IBM Maximo / © 2020 IBM Corporation</a:t>
            </a:r>
            <a:endParaRPr kumimoji="0" lang="en-US" sz="600" b="0" i="0" u="none" strike="noStrike" kern="1200" cap="none" spc="0" normalizeH="0" baseline="0" noProof="0" dirty="0">
              <a:ln>
                <a:noFill/>
              </a:ln>
              <a:solidFill>
                <a:srgbClr val="000000"/>
              </a:solidFill>
              <a:effectLst/>
              <a:uLnTx/>
              <a:uFillTx/>
              <a:latin typeface="IBM Plex Sans"/>
              <a:cs typeface="Arial" charset="0"/>
            </a:endParaRPr>
          </a:p>
        </p:txBody>
      </p:sp>
      <p:sp>
        <p:nvSpPr>
          <p:cNvPr id="22" name="Title 1">
            <a:extLst>
              <a:ext uri="{FF2B5EF4-FFF2-40B4-BE49-F238E27FC236}">
                <a16:creationId xmlns:a16="http://schemas.microsoft.com/office/drawing/2014/main" id="{61518B40-917C-4298-8AF2-0769AF3C22F6}"/>
              </a:ext>
            </a:extLst>
          </p:cNvPr>
          <p:cNvSpPr>
            <a:spLocks noGrp="1"/>
          </p:cNvSpPr>
          <p:nvPr>
            <p:ph type="title"/>
          </p:nvPr>
        </p:nvSpPr>
        <p:spPr>
          <a:xfrm>
            <a:off x="228599" y="201168"/>
            <a:ext cx="4114801" cy="855726"/>
          </a:xfrm>
        </p:spPr>
        <p:txBody>
          <a:bodyPr/>
          <a:lstStyle/>
          <a:p>
            <a:r>
              <a:rPr lang="en-US" dirty="0"/>
              <a:t>Install: App...</a:t>
            </a:r>
            <a:r>
              <a:rPr lang="en-US" dirty="0">
                <a:solidFill>
                  <a:schemeClr val="accent2"/>
                </a:solidFill>
              </a:rPr>
              <a:t>streamlined</a:t>
            </a:r>
          </a:p>
        </p:txBody>
      </p:sp>
      <p:sp>
        <p:nvSpPr>
          <p:cNvPr id="26" name="Rectangle 25">
            <a:extLst>
              <a:ext uri="{FF2B5EF4-FFF2-40B4-BE49-F238E27FC236}">
                <a16:creationId xmlns:a16="http://schemas.microsoft.com/office/drawing/2014/main" id="{EA4C3CF1-2831-4DE1-8547-0A9D49A1C015}"/>
              </a:ext>
            </a:extLst>
          </p:cNvPr>
          <p:cNvSpPr/>
          <p:nvPr/>
        </p:nvSpPr>
        <p:spPr>
          <a:xfrm>
            <a:off x="426310" y="1097280"/>
            <a:ext cx="3564852" cy="246221"/>
          </a:xfrm>
          <a:prstGeom prst="rect">
            <a:avLst/>
          </a:prstGeom>
        </p:spPr>
        <p:txBody>
          <a:bodyPr wrap="square" lIns="0" tIns="0" rIns="0" bIns="0" anchor="t">
            <a:spAutoFit/>
          </a:bodyPr>
          <a:lstStyle/>
          <a:p>
            <a:pPr marL="0" marR="0" lvl="0" indent="0" algn="l" defTabSz="685800" rtl="0" eaLnBrk="1" fontAlgn="base" latinLnBrk="0" hangingPunct="1">
              <a:lnSpc>
                <a:spcPct val="100000"/>
              </a:lnSpc>
              <a:spcBef>
                <a:spcPts val="3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IBM Plex Sans"/>
                <a:ea typeface="IBM Plex Sans" charset="0"/>
                <a:cs typeface="IBM Plex Sans" charset="0"/>
              </a:rPr>
              <a:t>Prior Anywhere releases</a:t>
            </a:r>
          </a:p>
        </p:txBody>
      </p:sp>
      <p:sp>
        <p:nvSpPr>
          <p:cNvPr id="28" name="Rectangle 27">
            <a:extLst>
              <a:ext uri="{FF2B5EF4-FFF2-40B4-BE49-F238E27FC236}">
                <a16:creationId xmlns:a16="http://schemas.microsoft.com/office/drawing/2014/main" id="{B94A4466-63A4-4F38-A188-06C49CBBB165}"/>
              </a:ext>
            </a:extLst>
          </p:cNvPr>
          <p:cNvSpPr/>
          <p:nvPr/>
        </p:nvSpPr>
        <p:spPr>
          <a:xfrm>
            <a:off x="4998308" y="1097280"/>
            <a:ext cx="3564852" cy="246221"/>
          </a:xfrm>
          <a:prstGeom prst="rect">
            <a:avLst/>
          </a:prstGeom>
        </p:spPr>
        <p:txBody>
          <a:bodyPr wrap="square" lIns="0" tIns="0" rIns="0" bIns="0" anchor="t">
            <a:spAutoFit/>
          </a:bodyPr>
          <a:lstStyle/>
          <a:p>
            <a:pPr marL="0" marR="0" lvl="0" indent="0" algn="l" defTabSz="685800" rtl="0" eaLnBrk="1" fontAlgn="base" latinLnBrk="0" hangingPunct="1">
              <a:lnSpc>
                <a:spcPct val="100000"/>
              </a:lnSpc>
              <a:spcBef>
                <a:spcPts val="30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IBM Plex Sans"/>
                <a:ea typeface="IBM Plex Sans" charset="0"/>
                <a:cs typeface="IBM Plex Sans" charset="0"/>
              </a:rPr>
              <a:t>Anywhere 7.6.4</a:t>
            </a:r>
          </a:p>
        </p:txBody>
      </p:sp>
      <p:sp>
        <p:nvSpPr>
          <p:cNvPr id="117" name="Rectangle 116">
            <a:extLst>
              <a:ext uri="{FF2B5EF4-FFF2-40B4-BE49-F238E27FC236}">
                <a16:creationId xmlns:a16="http://schemas.microsoft.com/office/drawing/2014/main" id="{4A4602AE-DF0C-497A-B967-7C2F796854CF}"/>
              </a:ext>
            </a:extLst>
          </p:cNvPr>
          <p:cNvSpPr/>
          <p:nvPr/>
        </p:nvSpPr>
        <p:spPr>
          <a:xfrm>
            <a:off x="317212" y="1488290"/>
            <a:ext cx="916644" cy="276999"/>
          </a:xfrm>
          <a:prstGeom prst="rect">
            <a:avLst/>
          </a:prstGeom>
          <a:noFill/>
        </p:spPr>
        <p:txBody>
          <a:bodyPr wrap="square" lIns="0" tIns="0" rIns="0" bIns="0" rtlCol="0" anchor="ctr">
            <a:spAutoFit/>
          </a:bodyPr>
          <a:lstStyle/>
          <a:p>
            <a:pPr marL="0" marR="0" lvl="0" indent="0" algn="l" defTabSz="685800" rtl="0" eaLnBrk="1" fontAlgn="base"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0064FF"/>
                </a:solidFill>
                <a:effectLst/>
                <a:uLnTx/>
                <a:uFillTx/>
                <a:latin typeface="IBM Plex Sans"/>
                <a:ea typeface="+mn-ea"/>
                <a:cs typeface="+mn-cs"/>
              </a:rPr>
              <a:t>1. </a:t>
            </a:r>
            <a:r>
              <a:rPr kumimoji="0" lang="en-US" sz="900" b="0" i="0" u="none" strike="noStrike" kern="1200" cap="none" spc="0" normalizeH="0" baseline="0" noProof="0" dirty="0">
                <a:ln>
                  <a:noFill/>
                </a:ln>
                <a:solidFill>
                  <a:srgbClr val="000000"/>
                </a:solidFill>
                <a:effectLst/>
                <a:uLnTx/>
                <a:uFillTx/>
                <a:latin typeface="IBM Plex Sans"/>
                <a:ea typeface="+mn-ea"/>
                <a:cs typeface="+mn-cs"/>
              </a:rPr>
              <a:t>Download app to device</a:t>
            </a:r>
          </a:p>
        </p:txBody>
      </p:sp>
      <p:sp>
        <p:nvSpPr>
          <p:cNvPr id="119" name="Rectangle 118">
            <a:extLst>
              <a:ext uri="{FF2B5EF4-FFF2-40B4-BE49-F238E27FC236}">
                <a16:creationId xmlns:a16="http://schemas.microsoft.com/office/drawing/2014/main" id="{8C0B0269-78C2-48DD-9A39-28E0DFAEB69A}"/>
              </a:ext>
            </a:extLst>
          </p:cNvPr>
          <p:cNvSpPr/>
          <p:nvPr/>
        </p:nvSpPr>
        <p:spPr>
          <a:xfrm>
            <a:off x="1337804" y="1488290"/>
            <a:ext cx="916644" cy="276999"/>
          </a:xfrm>
          <a:prstGeom prst="rect">
            <a:avLst/>
          </a:prstGeom>
          <a:noFill/>
        </p:spPr>
        <p:txBody>
          <a:bodyPr wrap="square" lIns="0" tIns="0" rIns="0" bIns="0" rtlCol="0" anchor="ctr">
            <a:spAutoFit/>
          </a:bodyPr>
          <a:lstStyle/>
          <a:p>
            <a:pPr marL="0" marR="0" lvl="0" indent="0" algn="l" defTabSz="685800" rtl="0" eaLnBrk="1" fontAlgn="base"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0064FF"/>
                </a:solidFill>
                <a:effectLst/>
                <a:uLnTx/>
                <a:uFillTx/>
                <a:latin typeface="IBM Plex Sans"/>
                <a:ea typeface="+mn-ea"/>
                <a:cs typeface="+mn-cs"/>
              </a:rPr>
              <a:t>2. </a:t>
            </a:r>
            <a:r>
              <a:rPr kumimoji="0" lang="en-US" sz="900" b="0" i="0" u="none" strike="noStrike" kern="1200" cap="none" spc="0" normalizeH="0" baseline="0" noProof="0" dirty="0">
                <a:ln>
                  <a:noFill/>
                </a:ln>
                <a:solidFill>
                  <a:srgbClr val="000000"/>
                </a:solidFill>
                <a:effectLst/>
                <a:uLnTx/>
                <a:uFillTx/>
                <a:latin typeface="IBM Plex Sans"/>
                <a:ea typeface="+mn-ea"/>
                <a:cs typeface="+mn-cs"/>
              </a:rPr>
              <a:t>Enter Middleware </a:t>
            </a:r>
            <a:r>
              <a:rPr kumimoji="0" lang="en-US" sz="900" b="0" i="0" u="none" strike="noStrike" kern="1200" cap="none" spc="0" normalizeH="0" baseline="0" noProof="0" dirty="0" err="1">
                <a:ln>
                  <a:noFill/>
                </a:ln>
                <a:solidFill>
                  <a:srgbClr val="000000"/>
                </a:solidFill>
                <a:effectLst/>
                <a:uLnTx/>
                <a:uFillTx/>
                <a:latin typeface="IBM Plex Sans"/>
                <a:ea typeface="+mn-ea"/>
                <a:cs typeface="+mn-cs"/>
              </a:rPr>
              <a:t>url</a:t>
            </a:r>
            <a:endParaRPr kumimoji="0" lang="en-US" sz="900" b="0" i="0" u="none" strike="noStrike" kern="1200" cap="none" spc="0" normalizeH="0" baseline="0" noProof="0" dirty="0">
              <a:ln>
                <a:noFill/>
              </a:ln>
              <a:solidFill>
                <a:srgbClr val="000000"/>
              </a:solidFill>
              <a:effectLst/>
              <a:uLnTx/>
              <a:uFillTx/>
              <a:latin typeface="IBM Plex Sans"/>
              <a:ea typeface="+mn-ea"/>
              <a:cs typeface="+mn-cs"/>
            </a:endParaRPr>
          </a:p>
        </p:txBody>
      </p:sp>
      <p:sp>
        <p:nvSpPr>
          <p:cNvPr id="124" name="Rectangle 123">
            <a:extLst>
              <a:ext uri="{FF2B5EF4-FFF2-40B4-BE49-F238E27FC236}">
                <a16:creationId xmlns:a16="http://schemas.microsoft.com/office/drawing/2014/main" id="{2EAB79A8-0BD6-4BE3-B1F5-B23ED2F11CC8}"/>
              </a:ext>
            </a:extLst>
          </p:cNvPr>
          <p:cNvSpPr/>
          <p:nvPr/>
        </p:nvSpPr>
        <p:spPr>
          <a:xfrm>
            <a:off x="2341245" y="1488290"/>
            <a:ext cx="916644" cy="415498"/>
          </a:xfrm>
          <a:prstGeom prst="rect">
            <a:avLst/>
          </a:prstGeom>
          <a:noFill/>
        </p:spPr>
        <p:txBody>
          <a:bodyPr wrap="square" lIns="0" tIns="0" rIns="0" bIns="0" rtlCol="0" anchor="ctr">
            <a:spAutoFit/>
          </a:bodyPr>
          <a:lstStyle/>
          <a:p>
            <a:pPr marL="0" marR="0" lvl="0" indent="0" algn="l" defTabSz="685800" rtl="0" eaLnBrk="1" fontAlgn="base"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0064FF"/>
                </a:solidFill>
                <a:effectLst/>
                <a:uLnTx/>
                <a:uFillTx/>
                <a:latin typeface="IBM Plex Sans"/>
                <a:ea typeface="+mn-ea"/>
                <a:cs typeface="+mn-cs"/>
              </a:rPr>
              <a:t>3. </a:t>
            </a:r>
            <a:r>
              <a:rPr kumimoji="0" lang="en-US" sz="900" b="0" i="0" u="none" strike="noStrike" kern="1200" cap="none" spc="0" normalizeH="0" baseline="0" noProof="0" dirty="0">
                <a:ln>
                  <a:noFill/>
                </a:ln>
                <a:solidFill>
                  <a:srgbClr val="000000"/>
                </a:solidFill>
                <a:effectLst/>
                <a:uLnTx/>
                <a:uFillTx/>
                <a:latin typeface="IBM Plex Sans"/>
                <a:ea typeface="+mn-ea"/>
                <a:cs typeface="+mn-cs"/>
              </a:rPr>
              <a:t>App updates and data installed on device</a:t>
            </a:r>
          </a:p>
        </p:txBody>
      </p:sp>
      <p:sp>
        <p:nvSpPr>
          <p:cNvPr id="51" name="Rectangle 50">
            <a:extLst>
              <a:ext uri="{FF2B5EF4-FFF2-40B4-BE49-F238E27FC236}">
                <a16:creationId xmlns:a16="http://schemas.microsoft.com/office/drawing/2014/main" id="{8EC67F37-9DEE-441A-AE28-E3B0ADCFC326}"/>
              </a:ext>
            </a:extLst>
          </p:cNvPr>
          <p:cNvSpPr/>
          <p:nvPr/>
        </p:nvSpPr>
        <p:spPr>
          <a:xfrm>
            <a:off x="3352065" y="1488290"/>
            <a:ext cx="916644" cy="415498"/>
          </a:xfrm>
          <a:prstGeom prst="rect">
            <a:avLst/>
          </a:prstGeom>
          <a:noFill/>
        </p:spPr>
        <p:txBody>
          <a:bodyPr wrap="square" lIns="0" tIns="0" rIns="0" bIns="0" rtlCol="0" anchor="ctr">
            <a:spAutoFit/>
          </a:bodyPr>
          <a:lstStyle/>
          <a:p>
            <a:pPr marL="0" marR="0" lvl="0" indent="0" algn="l" defTabSz="685800" rtl="0" eaLnBrk="1" fontAlgn="base"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0064FF"/>
                </a:solidFill>
                <a:effectLst/>
                <a:uLnTx/>
                <a:uFillTx/>
                <a:latin typeface="IBM Plex Sans"/>
                <a:ea typeface="+mn-ea"/>
                <a:cs typeface="+mn-cs"/>
              </a:rPr>
              <a:t>3. </a:t>
            </a:r>
            <a:r>
              <a:rPr kumimoji="0" lang="en-US" sz="900" b="0" i="0" u="none" strike="noStrike" kern="1200" cap="none" spc="0" normalizeH="0" baseline="0" noProof="0" dirty="0">
                <a:ln>
                  <a:noFill/>
                </a:ln>
                <a:solidFill>
                  <a:srgbClr val="000000"/>
                </a:solidFill>
                <a:effectLst/>
                <a:uLnTx/>
                <a:uFillTx/>
                <a:latin typeface="IBM Plex Sans"/>
                <a:ea typeface="+mn-ea"/>
                <a:cs typeface="+mn-cs"/>
              </a:rPr>
              <a:t>Middleware communicates with Maximo</a:t>
            </a:r>
          </a:p>
        </p:txBody>
      </p:sp>
      <p:grpSp>
        <p:nvGrpSpPr>
          <p:cNvPr id="13" name="Group 12">
            <a:extLst>
              <a:ext uri="{FF2B5EF4-FFF2-40B4-BE49-F238E27FC236}">
                <a16:creationId xmlns:a16="http://schemas.microsoft.com/office/drawing/2014/main" id="{B5BCDE69-7378-413A-8F76-A4FC760D4D50}"/>
              </a:ext>
            </a:extLst>
          </p:cNvPr>
          <p:cNvGrpSpPr/>
          <p:nvPr/>
        </p:nvGrpSpPr>
        <p:grpSpPr>
          <a:xfrm>
            <a:off x="332946" y="2270343"/>
            <a:ext cx="831333" cy="1395963"/>
            <a:chOff x="332945" y="2697819"/>
            <a:chExt cx="831333" cy="1395963"/>
          </a:xfrm>
        </p:grpSpPr>
        <p:pic>
          <p:nvPicPr>
            <p:cNvPr id="53" name="Picture 52">
              <a:extLst>
                <a:ext uri="{FF2B5EF4-FFF2-40B4-BE49-F238E27FC236}">
                  <a16:creationId xmlns:a16="http://schemas.microsoft.com/office/drawing/2014/main" id="{2B6826B0-8694-483D-BDC2-0F03F33DE3E7}"/>
                </a:ext>
              </a:extLst>
            </p:cNvPr>
            <p:cNvPicPr>
              <a:picLocks noChangeAspect="1"/>
            </p:cNvPicPr>
            <p:nvPr/>
          </p:nvPicPr>
          <p:blipFill rotWithShape="1">
            <a:blip r:embed="rId3"/>
            <a:srcRect l="38546" t="20548" r="38546" b="21737"/>
            <a:stretch/>
          </p:blipFill>
          <p:spPr>
            <a:xfrm>
              <a:off x="332945" y="2697819"/>
              <a:ext cx="831333" cy="1395963"/>
            </a:xfrm>
            <a:prstGeom prst="rect">
              <a:avLst/>
            </a:prstGeom>
          </p:spPr>
        </p:pic>
        <p:sp>
          <p:nvSpPr>
            <p:cNvPr id="56" name="Rectangle 55">
              <a:extLst>
                <a:ext uri="{FF2B5EF4-FFF2-40B4-BE49-F238E27FC236}">
                  <a16:creationId xmlns:a16="http://schemas.microsoft.com/office/drawing/2014/main" id="{DC40AE12-44CB-4F65-9DFA-5CABC47DF413}"/>
                </a:ext>
              </a:extLst>
            </p:cNvPr>
            <p:cNvSpPr/>
            <p:nvPr/>
          </p:nvSpPr>
          <p:spPr>
            <a:xfrm>
              <a:off x="475124" y="2886076"/>
              <a:ext cx="571075" cy="1016054"/>
            </a:xfrm>
            <a:prstGeom prst="rect">
              <a:avLst/>
            </a:prstGeom>
            <a:solidFill>
              <a:schemeClr val="bg2"/>
            </a:solid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pic>
          <p:nvPicPr>
            <p:cNvPr id="5" name="Picture 4">
              <a:extLst>
                <a:ext uri="{FF2B5EF4-FFF2-40B4-BE49-F238E27FC236}">
                  <a16:creationId xmlns:a16="http://schemas.microsoft.com/office/drawing/2014/main" id="{2120C51F-AC73-412F-8C30-E1623E151EBD}"/>
                </a:ext>
              </a:extLst>
            </p:cNvPr>
            <p:cNvPicPr>
              <a:picLocks noChangeAspect="1"/>
            </p:cNvPicPr>
            <p:nvPr/>
          </p:nvPicPr>
          <p:blipFill>
            <a:blip r:embed="rId4"/>
            <a:stretch>
              <a:fillRect/>
            </a:stretch>
          </p:blipFill>
          <p:spPr>
            <a:xfrm>
              <a:off x="542731" y="3174611"/>
              <a:ext cx="435861" cy="438985"/>
            </a:xfrm>
            <a:prstGeom prst="rect">
              <a:avLst/>
            </a:prstGeom>
          </p:spPr>
        </p:pic>
      </p:grpSp>
      <p:grpSp>
        <p:nvGrpSpPr>
          <p:cNvPr id="12" name="Group 11">
            <a:extLst>
              <a:ext uri="{FF2B5EF4-FFF2-40B4-BE49-F238E27FC236}">
                <a16:creationId xmlns:a16="http://schemas.microsoft.com/office/drawing/2014/main" id="{75DF14BB-73A2-4B45-B654-252044067A0B}"/>
              </a:ext>
            </a:extLst>
          </p:cNvPr>
          <p:cNvGrpSpPr/>
          <p:nvPr/>
        </p:nvGrpSpPr>
        <p:grpSpPr>
          <a:xfrm>
            <a:off x="1353538" y="2270343"/>
            <a:ext cx="831333" cy="1395963"/>
            <a:chOff x="1396193" y="2697819"/>
            <a:chExt cx="831333" cy="1395963"/>
          </a:xfrm>
        </p:grpSpPr>
        <p:pic>
          <p:nvPicPr>
            <p:cNvPr id="58" name="Picture 57">
              <a:extLst>
                <a:ext uri="{FF2B5EF4-FFF2-40B4-BE49-F238E27FC236}">
                  <a16:creationId xmlns:a16="http://schemas.microsoft.com/office/drawing/2014/main" id="{F8A9B6C9-E4C9-4957-8956-D34FCC29803F}"/>
                </a:ext>
              </a:extLst>
            </p:cNvPr>
            <p:cNvPicPr>
              <a:picLocks noChangeAspect="1"/>
            </p:cNvPicPr>
            <p:nvPr/>
          </p:nvPicPr>
          <p:blipFill rotWithShape="1">
            <a:blip r:embed="rId3"/>
            <a:srcRect l="38546" t="20548" r="38546" b="21737"/>
            <a:stretch/>
          </p:blipFill>
          <p:spPr>
            <a:xfrm>
              <a:off x="1396193" y="2697819"/>
              <a:ext cx="831333" cy="1395963"/>
            </a:xfrm>
            <a:prstGeom prst="rect">
              <a:avLst/>
            </a:prstGeom>
          </p:spPr>
        </p:pic>
        <p:sp>
          <p:nvSpPr>
            <p:cNvPr id="59" name="Rectangle 58">
              <a:extLst>
                <a:ext uri="{FF2B5EF4-FFF2-40B4-BE49-F238E27FC236}">
                  <a16:creationId xmlns:a16="http://schemas.microsoft.com/office/drawing/2014/main" id="{413BBA1B-85BD-4C80-A9C1-FE6749504BC1}"/>
                </a:ext>
              </a:extLst>
            </p:cNvPr>
            <p:cNvSpPr/>
            <p:nvPr/>
          </p:nvSpPr>
          <p:spPr>
            <a:xfrm>
              <a:off x="1538372" y="2886076"/>
              <a:ext cx="573206" cy="1016054"/>
            </a:xfrm>
            <a:prstGeom prst="rect">
              <a:avLst/>
            </a:prstGeom>
            <a:solidFill>
              <a:schemeClr val="bg2"/>
            </a:solid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pic>
          <p:nvPicPr>
            <p:cNvPr id="8" name="Picture 7">
              <a:extLst>
                <a:ext uri="{FF2B5EF4-FFF2-40B4-BE49-F238E27FC236}">
                  <a16:creationId xmlns:a16="http://schemas.microsoft.com/office/drawing/2014/main" id="{A33F7629-11C4-45B3-B2D3-EA295D9E92B5}"/>
                </a:ext>
              </a:extLst>
            </p:cNvPr>
            <p:cNvPicPr>
              <a:picLocks noChangeAspect="1"/>
            </p:cNvPicPr>
            <p:nvPr/>
          </p:nvPicPr>
          <p:blipFill>
            <a:blip r:embed="rId5"/>
            <a:stretch>
              <a:fillRect/>
            </a:stretch>
          </p:blipFill>
          <p:spPr>
            <a:xfrm>
              <a:off x="1538372" y="2886076"/>
              <a:ext cx="573206" cy="927734"/>
            </a:xfrm>
            <a:prstGeom prst="rect">
              <a:avLst/>
            </a:prstGeom>
          </p:spPr>
        </p:pic>
      </p:grpSp>
      <p:grpSp>
        <p:nvGrpSpPr>
          <p:cNvPr id="11" name="Group 10">
            <a:extLst>
              <a:ext uri="{FF2B5EF4-FFF2-40B4-BE49-F238E27FC236}">
                <a16:creationId xmlns:a16="http://schemas.microsoft.com/office/drawing/2014/main" id="{AB09E506-3A79-4767-9662-FA9014E38189}"/>
              </a:ext>
            </a:extLst>
          </p:cNvPr>
          <p:cNvGrpSpPr/>
          <p:nvPr/>
        </p:nvGrpSpPr>
        <p:grpSpPr>
          <a:xfrm>
            <a:off x="2495159" y="2270343"/>
            <a:ext cx="831333" cy="1395963"/>
            <a:chOff x="2297172" y="2697819"/>
            <a:chExt cx="831333" cy="1395963"/>
          </a:xfrm>
        </p:grpSpPr>
        <p:pic>
          <p:nvPicPr>
            <p:cNvPr id="63" name="Picture 62">
              <a:extLst>
                <a:ext uri="{FF2B5EF4-FFF2-40B4-BE49-F238E27FC236}">
                  <a16:creationId xmlns:a16="http://schemas.microsoft.com/office/drawing/2014/main" id="{442524A2-7F38-48D2-B6BE-06CF46AE66B4}"/>
                </a:ext>
              </a:extLst>
            </p:cNvPr>
            <p:cNvPicPr>
              <a:picLocks noChangeAspect="1"/>
            </p:cNvPicPr>
            <p:nvPr/>
          </p:nvPicPr>
          <p:blipFill rotWithShape="1">
            <a:blip r:embed="rId3"/>
            <a:srcRect l="38546" t="20548" r="38546" b="21737"/>
            <a:stretch/>
          </p:blipFill>
          <p:spPr>
            <a:xfrm>
              <a:off x="2297172" y="2697819"/>
              <a:ext cx="831333" cy="1395963"/>
            </a:xfrm>
            <a:prstGeom prst="rect">
              <a:avLst/>
            </a:prstGeom>
          </p:spPr>
        </p:pic>
        <p:sp>
          <p:nvSpPr>
            <p:cNvPr id="64" name="Rectangle 63">
              <a:extLst>
                <a:ext uri="{FF2B5EF4-FFF2-40B4-BE49-F238E27FC236}">
                  <a16:creationId xmlns:a16="http://schemas.microsoft.com/office/drawing/2014/main" id="{9905C0DE-727B-4211-B3BC-61D8D6CB1702}"/>
                </a:ext>
              </a:extLst>
            </p:cNvPr>
            <p:cNvSpPr/>
            <p:nvPr/>
          </p:nvSpPr>
          <p:spPr>
            <a:xfrm>
              <a:off x="2439351" y="2886076"/>
              <a:ext cx="571075" cy="1016054"/>
            </a:xfrm>
            <a:prstGeom prst="rect">
              <a:avLst/>
            </a:prstGeom>
            <a:solidFill>
              <a:schemeClr val="bg2"/>
            </a:solid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pic>
          <p:nvPicPr>
            <p:cNvPr id="10" name="Picture 9">
              <a:extLst>
                <a:ext uri="{FF2B5EF4-FFF2-40B4-BE49-F238E27FC236}">
                  <a16:creationId xmlns:a16="http://schemas.microsoft.com/office/drawing/2014/main" id="{C138719C-9BF5-4AE5-953B-7A1AFF6CEDDB}"/>
                </a:ext>
              </a:extLst>
            </p:cNvPr>
            <p:cNvPicPr>
              <a:picLocks noChangeAspect="1"/>
            </p:cNvPicPr>
            <p:nvPr/>
          </p:nvPicPr>
          <p:blipFill>
            <a:blip r:embed="rId6"/>
            <a:stretch>
              <a:fillRect/>
            </a:stretch>
          </p:blipFill>
          <p:spPr>
            <a:xfrm>
              <a:off x="2439351" y="2886075"/>
              <a:ext cx="571074" cy="988533"/>
            </a:xfrm>
            <a:prstGeom prst="rect">
              <a:avLst/>
            </a:prstGeom>
          </p:spPr>
        </p:pic>
      </p:grpSp>
      <p:grpSp>
        <p:nvGrpSpPr>
          <p:cNvPr id="73" name="Graphic 58">
            <a:extLst>
              <a:ext uri="{FF2B5EF4-FFF2-40B4-BE49-F238E27FC236}">
                <a16:creationId xmlns:a16="http://schemas.microsoft.com/office/drawing/2014/main" id="{244067C4-E57D-40AD-B138-9F8852929096}"/>
              </a:ext>
            </a:extLst>
          </p:cNvPr>
          <p:cNvGrpSpPr/>
          <p:nvPr/>
        </p:nvGrpSpPr>
        <p:grpSpPr>
          <a:xfrm>
            <a:off x="3542874" y="2791032"/>
            <a:ext cx="335271" cy="379001"/>
            <a:chOff x="-1298259" y="849630"/>
            <a:chExt cx="390123" cy="441008"/>
          </a:xfrm>
          <a:solidFill>
            <a:schemeClr val="accent2"/>
          </a:solidFill>
        </p:grpSpPr>
        <p:sp>
          <p:nvSpPr>
            <p:cNvPr id="74" name="Freeform: Shape 73">
              <a:extLst>
                <a:ext uri="{FF2B5EF4-FFF2-40B4-BE49-F238E27FC236}">
                  <a16:creationId xmlns:a16="http://schemas.microsoft.com/office/drawing/2014/main" id="{01108A70-8251-49AC-9C7E-D454EB83AB8B}"/>
                </a:ext>
              </a:extLst>
            </p:cNvPr>
            <p:cNvSpPr/>
            <p:nvPr/>
          </p:nvSpPr>
          <p:spPr>
            <a:xfrm>
              <a:off x="-1320383" y="827506"/>
              <a:ext cx="424047" cy="474932"/>
            </a:xfrm>
            <a:custGeom>
              <a:avLst/>
              <a:gdLst>
                <a:gd name="connsiteX0" fmla="*/ 22124 w 424046"/>
                <a:gd name="connsiteY0" fmla="*/ 22124 h 474931"/>
                <a:gd name="connsiteX1" fmla="*/ 22124 w 424046"/>
                <a:gd name="connsiteY1" fmla="*/ 451598 h 474931"/>
                <a:gd name="connsiteX2" fmla="*/ 28230 w 424046"/>
                <a:gd name="connsiteY2" fmla="*/ 457704 h 474931"/>
                <a:gd name="connsiteX3" fmla="*/ 401392 w 424046"/>
                <a:gd name="connsiteY3" fmla="*/ 457704 h 474931"/>
                <a:gd name="connsiteX4" fmla="*/ 407498 w 424046"/>
                <a:gd name="connsiteY4" fmla="*/ 451598 h 474931"/>
                <a:gd name="connsiteX5" fmla="*/ 407498 w 424046"/>
                <a:gd name="connsiteY5" fmla="*/ 22124 h 474931"/>
                <a:gd name="connsiteX6" fmla="*/ 22124 w 424046"/>
                <a:gd name="connsiteY6" fmla="*/ 22124 h 474931"/>
                <a:gd name="connsiteX7" fmla="*/ 395285 w 424046"/>
                <a:gd name="connsiteY7" fmla="*/ 445492 h 474931"/>
                <a:gd name="connsiteX8" fmla="*/ 34337 w 424046"/>
                <a:gd name="connsiteY8" fmla="*/ 445492 h 474931"/>
                <a:gd name="connsiteX9" fmla="*/ 34337 w 424046"/>
                <a:gd name="connsiteY9" fmla="*/ 372895 h 474931"/>
                <a:gd name="connsiteX10" fmla="*/ 395285 w 424046"/>
                <a:gd name="connsiteY10" fmla="*/ 372895 h 474931"/>
                <a:gd name="connsiteX11" fmla="*/ 395285 w 424046"/>
                <a:gd name="connsiteY11" fmla="*/ 445492 h 474931"/>
                <a:gd name="connsiteX12" fmla="*/ 395285 w 424046"/>
                <a:gd name="connsiteY12" fmla="*/ 360683 h 474931"/>
                <a:gd name="connsiteX13" fmla="*/ 34337 w 424046"/>
                <a:gd name="connsiteY13" fmla="*/ 360683 h 474931"/>
                <a:gd name="connsiteX14" fmla="*/ 34337 w 424046"/>
                <a:gd name="connsiteY14" fmla="*/ 288086 h 474931"/>
                <a:gd name="connsiteX15" fmla="*/ 395285 w 424046"/>
                <a:gd name="connsiteY15" fmla="*/ 288086 h 474931"/>
                <a:gd name="connsiteX16" fmla="*/ 395285 w 424046"/>
                <a:gd name="connsiteY16" fmla="*/ 360683 h 474931"/>
                <a:gd name="connsiteX17" fmla="*/ 395285 w 424046"/>
                <a:gd name="connsiteY17" fmla="*/ 275873 h 474931"/>
                <a:gd name="connsiteX18" fmla="*/ 34337 w 424046"/>
                <a:gd name="connsiteY18" fmla="*/ 275873 h 474931"/>
                <a:gd name="connsiteX19" fmla="*/ 34337 w 424046"/>
                <a:gd name="connsiteY19" fmla="*/ 203277 h 474931"/>
                <a:gd name="connsiteX20" fmla="*/ 395285 w 424046"/>
                <a:gd name="connsiteY20" fmla="*/ 203277 h 474931"/>
                <a:gd name="connsiteX21" fmla="*/ 395285 w 424046"/>
                <a:gd name="connsiteY21" fmla="*/ 275873 h 474931"/>
                <a:gd name="connsiteX22" fmla="*/ 395285 w 424046"/>
                <a:gd name="connsiteY22" fmla="*/ 191064 h 474931"/>
                <a:gd name="connsiteX23" fmla="*/ 34337 w 424046"/>
                <a:gd name="connsiteY23" fmla="*/ 191064 h 474931"/>
                <a:gd name="connsiteX24" fmla="*/ 34337 w 424046"/>
                <a:gd name="connsiteY24" fmla="*/ 118467 h 474931"/>
                <a:gd name="connsiteX25" fmla="*/ 395285 w 424046"/>
                <a:gd name="connsiteY25" fmla="*/ 118467 h 474931"/>
                <a:gd name="connsiteX26" fmla="*/ 395285 w 424046"/>
                <a:gd name="connsiteY26" fmla="*/ 191064 h 474931"/>
                <a:gd name="connsiteX27" fmla="*/ 395285 w 424046"/>
                <a:gd name="connsiteY27" fmla="*/ 106255 h 474931"/>
                <a:gd name="connsiteX28" fmla="*/ 34337 w 424046"/>
                <a:gd name="connsiteY28" fmla="*/ 106255 h 474931"/>
                <a:gd name="connsiteX29" fmla="*/ 34337 w 424046"/>
                <a:gd name="connsiteY29" fmla="*/ 33658 h 474931"/>
                <a:gd name="connsiteX30" fmla="*/ 395285 w 424046"/>
                <a:gd name="connsiteY30" fmla="*/ 33658 h 474931"/>
                <a:gd name="connsiteX31" fmla="*/ 395285 w 424046"/>
                <a:gd name="connsiteY31" fmla="*/ 106255 h 474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4046" h="474931">
                  <a:moveTo>
                    <a:pt x="22124" y="22124"/>
                  </a:moveTo>
                  <a:lnTo>
                    <a:pt x="22124" y="451598"/>
                  </a:lnTo>
                  <a:cubicBezTo>
                    <a:pt x="22124" y="454990"/>
                    <a:pt x="24838" y="457704"/>
                    <a:pt x="28230" y="457704"/>
                  </a:cubicBezTo>
                  <a:lnTo>
                    <a:pt x="401392" y="457704"/>
                  </a:lnTo>
                  <a:cubicBezTo>
                    <a:pt x="404784" y="457704"/>
                    <a:pt x="407498" y="454990"/>
                    <a:pt x="407498" y="451598"/>
                  </a:cubicBezTo>
                  <a:lnTo>
                    <a:pt x="407498" y="22124"/>
                  </a:lnTo>
                  <a:lnTo>
                    <a:pt x="22124" y="22124"/>
                  </a:lnTo>
                  <a:close/>
                  <a:moveTo>
                    <a:pt x="395285" y="445492"/>
                  </a:moveTo>
                  <a:lnTo>
                    <a:pt x="34337" y="445492"/>
                  </a:lnTo>
                  <a:lnTo>
                    <a:pt x="34337" y="372895"/>
                  </a:lnTo>
                  <a:lnTo>
                    <a:pt x="395285" y="372895"/>
                  </a:lnTo>
                  <a:lnTo>
                    <a:pt x="395285" y="445492"/>
                  </a:lnTo>
                  <a:close/>
                  <a:moveTo>
                    <a:pt x="395285" y="360683"/>
                  </a:moveTo>
                  <a:lnTo>
                    <a:pt x="34337" y="360683"/>
                  </a:lnTo>
                  <a:lnTo>
                    <a:pt x="34337" y="288086"/>
                  </a:lnTo>
                  <a:lnTo>
                    <a:pt x="395285" y="288086"/>
                  </a:lnTo>
                  <a:lnTo>
                    <a:pt x="395285" y="360683"/>
                  </a:lnTo>
                  <a:close/>
                  <a:moveTo>
                    <a:pt x="395285" y="275873"/>
                  </a:moveTo>
                  <a:lnTo>
                    <a:pt x="34337" y="275873"/>
                  </a:lnTo>
                  <a:lnTo>
                    <a:pt x="34337" y="203277"/>
                  </a:lnTo>
                  <a:lnTo>
                    <a:pt x="395285" y="203277"/>
                  </a:lnTo>
                  <a:lnTo>
                    <a:pt x="395285" y="275873"/>
                  </a:lnTo>
                  <a:close/>
                  <a:moveTo>
                    <a:pt x="395285" y="191064"/>
                  </a:moveTo>
                  <a:lnTo>
                    <a:pt x="34337" y="191064"/>
                  </a:lnTo>
                  <a:lnTo>
                    <a:pt x="34337" y="118467"/>
                  </a:lnTo>
                  <a:lnTo>
                    <a:pt x="395285" y="118467"/>
                  </a:lnTo>
                  <a:lnTo>
                    <a:pt x="395285" y="191064"/>
                  </a:lnTo>
                  <a:close/>
                  <a:moveTo>
                    <a:pt x="395285" y="106255"/>
                  </a:moveTo>
                  <a:lnTo>
                    <a:pt x="34337" y="106255"/>
                  </a:lnTo>
                  <a:lnTo>
                    <a:pt x="34337" y="33658"/>
                  </a:lnTo>
                  <a:lnTo>
                    <a:pt x="395285" y="33658"/>
                  </a:lnTo>
                  <a:lnTo>
                    <a:pt x="395285" y="106255"/>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75" name="Freeform: Shape 74">
              <a:extLst>
                <a:ext uri="{FF2B5EF4-FFF2-40B4-BE49-F238E27FC236}">
                  <a16:creationId xmlns:a16="http://schemas.microsoft.com/office/drawing/2014/main" id="{EA2BD8B5-96FE-47E0-84D2-B861C6F9C06F}"/>
                </a:ext>
              </a:extLst>
            </p:cNvPr>
            <p:cNvSpPr/>
            <p:nvPr/>
          </p:nvSpPr>
          <p:spPr>
            <a:xfrm>
              <a:off x="-1076811" y="1199988"/>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76" name="Freeform: Shape 75">
              <a:extLst>
                <a:ext uri="{FF2B5EF4-FFF2-40B4-BE49-F238E27FC236}">
                  <a16:creationId xmlns:a16="http://schemas.microsoft.com/office/drawing/2014/main" id="{3CF62916-4E25-40FA-914A-9F6E18FAB9C3}"/>
                </a:ext>
              </a:extLst>
            </p:cNvPr>
            <p:cNvSpPr/>
            <p:nvPr/>
          </p:nvSpPr>
          <p:spPr>
            <a:xfrm>
              <a:off x="-1212506"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77" name="Freeform: Shape 76">
              <a:extLst>
                <a:ext uri="{FF2B5EF4-FFF2-40B4-BE49-F238E27FC236}">
                  <a16:creationId xmlns:a16="http://schemas.microsoft.com/office/drawing/2014/main" id="{7D22AD05-3431-43A2-BF8A-53777522F9D5}"/>
                </a:ext>
              </a:extLst>
            </p:cNvPr>
            <p:cNvSpPr/>
            <p:nvPr/>
          </p:nvSpPr>
          <p:spPr>
            <a:xfrm>
              <a:off x="-1246429"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78" name="Freeform: Shape 77">
              <a:extLst>
                <a:ext uri="{FF2B5EF4-FFF2-40B4-BE49-F238E27FC236}">
                  <a16:creationId xmlns:a16="http://schemas.microsoft.com/office/drawing/2014/main" id="{8F000006-5DF8-4C66-BF49-92853788F410}"/>
                </a:ext>
              </a:extLst>
            </p:cNvPr>
            <p:cNvSpPr/>
            <p:nvPr/>
          </p:nvSpPr>
          <p:spPr>
            <a:xfrm>
              <a:off x="-1280353"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79" name="Freeform: Shape 78">
              <a:extLst>
                <a:ext uri="{FF2B5EF4-FFF2-40B4-BE49-F238E27FC236}">
                  <a16:creationId xmlns:a16="http://schemas.microsoft.com/office/drawing/2014/main" id="{99D9C6E6-AD9E-4B22-A470-3B5A143AA435}"/>
                </a:ext>
              </a:extLst>
            </p:cNvPr>
            <p:cNvSpPr/>
            <p:nvPr/>
          </p:nvSpPr>
          <p:spPr>
            <a:xfrm>
              <a:off x="-1076811" y="1115179"/>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0" name="Freeform: Shape 79">
              <a:extLst>
                <a:ext uri="{FF2B5EF4-FFF2-40B4-BE49-F238E27FC236}">
                  <a16:creationId xmlns:a16="http://schemas.microsoft.com/office/drawing/2014/main" id="{59505190-D3E1-4AA2-8EBD-7558AC584DC8}"/>
                </a:ext>
              </a:extLst>
            </p:cNvPr>
            <p:cNvSpPr/>
            <p:nvPr/>
          </p:nvSpPr>
          <p:spPr>
            <a:xfrm>
              <a:off x="-1212506"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1" name="Freeform: Shape 80">
              <a:extLst>
                <a:ext uri="{FF2B5EF4-FFF2-40B4-BE49-F238E27FC236}">
                  <a16:creationId xmlns:a16="http://schemas.microsoft.com/office/drawing/2014/main" id="{4CA951CB-23A9-436C-BE53-4AAD73ED8051}"/>
                </a:ext>
              </a:extLst>
            </p:cNvPr>
            <p:cNvSpPr/>
            <p:nvPr/>
          </p:nvSpPr>
          <p:spPr>
            <a:xfrm>
              <a:off x="-1246429"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2" name="Freeform: Shape 81">
              <a:extLst>
                <a:ext uri="{FF2B5EF4-FFF2-40B4-BE49-F238E27FC236}">
                  <a16:creationId xmlns:a16="http://schemas.microsoft.com/office/drawing/2014/main" id="{4AF57215-B3C6-4766-A48A-BC1182CE5957}"/>
                </a:ext>
              </a:extLst>
            </p:cNvPr>
            <p:cNvSpPr/>
            <p:nvPr/>
          </p:nvSpPr>
          <p:spPr>
            <a:xfrm>
              <a:off x="-1280353"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3" name="Freeform: Shape 82">
              <a:extLst>
                <a:ext uri="{FF2B5EF4-FFF2-40B4-BE49-F238E27FC236}">
                  <a16:creationId xmlns:a16="http://schemas.microsoft.com/office/drawing/2014/main" id="{7731F140-3853-48E4-B19C-C0102A22437C}"/>
                </a:ext>
              </a:extLst>
            </p:cNvPr>
            <p:cNvSpPr/>
            <p:nvPr/>
          </p:nvSpPr>
          <p:spPr>
            <a:xfrm>
              <a:off x="-1076811" y="1030370"/>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4" name="Freeform: Shape 83">
              <a:extLst>
                <a:ext uri="{FF2B5EF4-FFF2-40B4-BE49-F238E27FC236}">
                  <a16:creationId xmlns:a16="http://schemas.microsoft.com/office/drawing/2014/main" id="{D2641CFE-DD25-466E-9D05-C9F93F6823DE}"/>
                </a:ext>
              </a:extLst>
            </p:cNvPr>
            <p:cNvSpPr/>
            <p:nvPr/>
          </p:nvSpPr>
          <p:spPr>
            <a:xfrm>
              <a:off x="-1212506"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5" name="Freeform: Shape 84">
              <a:extLst>
                <a:ext uri="{FF2B5EF4-FFF2-40B4-BE49-F238E27FC236}">
                  <a16:creationId xmlns:a16="http://schemas.microsoft.com/office/drawing/2014/main" id="{5601BBBC-EC0C-4B1A-A160-14987F98E5C8}"/>
                </a:ext>
              </a:extLst>
            </p:cNvPr>
            <p:cNvSpPr/>
            <p:nvPr/>
          </p:nvSpPr>
          <p:spPr>
            <a:xfrm>
              <a:off x="-1246429"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6" name="Freeform: Shape 85">
              <a:extLst>
                <a:ext uri="{FF2B5EF4-FFF2-40B4-BE49-F238E27FC236}">
                  <a16:creationId xmlns:a16="http://schemas.microsoft.com/office/drawing/2014/main" id="{BF527675-2EC2-474B-9194-33E9BC91568C}"/>
                </a:ext>
              </a:extLst>
            </p:cNvPr>
            <p:cNvSpPr/>
            <p:nvPr/>
          </p:nvSpPr>
          <p:spPr>
            <a:xfrm>
              <a:off x="-1280353"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7" name="Freeform: Shape 86">
              <a:extLst>
                <a:ext uri="{FF2B5EF4-FFF2-40B4-BE49-F238E27FC236}">
                  <a16:creationId xmlns:a16="http://schemas.microsoft.com/office/drawing/2014/main" id="{2885F8E1-9DCD-4792-910F-A27F3AB058AC}"/>
                </a:ext>
              </a:extLst>
            </p:cNvPr>
            <p:cNvSpPr/>
            <p:nvPr/>
          </p:nvSpPr>
          <p:spPr>
            <a:xfrm>
              <a:off x="-1076811" y="945560"/>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8" name="Freeform: Shape 87">
              <a:extLst>
                <a:ext uri="{FF2B5EF4-FFF2-40B4-BE49-F238E27FC236}">
                  <a16:creationId xmlns:a16="http://schemas.microsoft.com/office/drawing/2014/main" id="{190B824D-34D8-4093-A5E6-DBAD9E8E8173}"/>
                </a:ext>
              </a:extLst>
            </p:cNvPr>
            <p:cNvSpPr/>
            <p:nvPr/>
          </p:nvSpPr>
          <p:spPr>
            <a:xfrm>
              <a:off x="-1212506"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89" name="Freeform: Shape 88">
              <a:extLst>
                <a:ext uri="{FF2B5EF4-FFF2-40B4-BE49-F238E27FC236}">
                  <a16:creationId xmlns:a16="http://schemas.microsoft.com/office/drawing/2014/main" id="{F3F0DD0F-0AF0-41C1-85F4-8B855AF28AC6}"/>
                </a:ext>
              </a:extLst>
            </p:cNvPr>
            <p:cNvSpPr/>
            <p:nvPr/>
          </p:nvSpPr>
          <p:spPr>
            <a:xfrm>
              <a:off x="-1246429"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90" name="Freeform: Shape 89">
              <a:extLst>
                <a:ext uri="{FF2B5EF4-FFF2-40B4-BE49-F238E27FC236}">
                  <a16:creationId xmlns:a16="http://schemas.microsoft.com/office/drawing/2014/main" id="{8D50F4A9-0043-40C7-AA54-8FBDABC875DB}"/>
                </a:ext>
              </a:extLst>
            </p:cNvPr>
            <p:cNvSpPr/>
            <p:nvPr/>
          </p:nvSpPr>
          <p:spPr>
            <a:xfrm>
              <a:off x="-1280353"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91" name="Freeform: Shape 90">
              <a:extLst>
                <a:ext uri="{FF2B5EF4-FFF2-40B4-BE49-F238E27FC236}">
                  <a16:creationId xmlns:a16="http://schemas.microsoft.com/office/drawing/2014/main" id="{BFDE53CF-D275-40AA-B716-6AC2584CB750}"/>
                </a:ext>
              </a:extLst>
            </p:cNvPr>
            <p:cNvSpPr/>
            <p:nvPr/>
          </p:nvSpPr>
          <p:spPr>
            <a:xfrm>
              <a:off x="-1076811" y="860751"/>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92" name="Freeform: Shape 91">
              <a:extLst>
                <a:ext uri="{FF2B5EF4-FFF2-40B4-BE49-F238E27FC236}">
                  <a16:creationId xmlns:a16="http://schemas.microsoft.com/office/drawing/2014/main" id="{EC297500-7B0A-4000-93FF-9C84F8B74677}"/>
                </a:ext>
              </a:extLst>
            </p:cNvPr>
            <p:cNvSpPr/>
            <p:nvPr/>
          </p:nvSpPr>
          <p:spPr>
            <a:xfrm>
              <a:off x="-1212506"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93" name="Freeform: Shape 92">
              <a:extLst>
                <a:ext uri="{FF2B5EF4-FFF2-40B4-BE49-F238E27FC236}">
                  <a16:creationId xmlns:a16="http://schemas.microsoft.com/office/drawing/2014/main" id="{103A6EA6-7F01-45A8-B835-63518C7ECFF1}"/>
                </a:ext>
              </a:extLst>
            </p:cNvPr>
            <p:cNvSpPr/>
            <p:nvPr/>
          </p:nvSpPr>
          <p:spPr>
            <a:xfrm>
              <a:off x="-1246429"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94" name="Freeform: Shape 93">
              <a:extLst>
                <a:ext uri="{FF2B5EF4-FFF2-40B4-BE49-F238E27FC236}">
                  <a16:creationId xmlns:a16="http://schemas.microsoft.com/office/drawing/2014/main" id="{8A83A4D1-5553-41DF-BCE3-3DC207EFEFB7}"/>
                </a:ext>
              </a:extLst>
            </p:cNvPr>
            <p:cNvSpPr/>
            <p:nvPr/>
          </p:nvSpPr>
          <p:spPr>
            <a:xfrm>
              <a:off x="-1280353"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grpSp>
      <p:sp>
        <p:nvSpPr>
          <p:cNvPr id="95" name="Rectangle 94">
            <a:extLst>
              <a:ext uri="{FF2B5EF4-FFF2-40B4-BE49-F238E27FC236}">
                <a16:creationId xmlns:a16="http://schemas.microsoft.com/office/drawing/2014/main" id="{6C4A691E-6A1E-4853-B00A-88B7849F8218}"/>
              </a:ext>
            </a:extLst>
          </p:cNvPr>
          <p:cNvSpPr/>
          <p:nvPr/>
        </p:nvSpPr>
        <p:spPr>
          <a:xfrm>
            <a:off x="1675590" y="3810096"/>
            <a:ext cx="750110" cy="313654"/>
          </a:xfrm>
          <a:prstGeom prst="rect">
            <a:avLst/>
          </a:prstGeom>
          <a:solidFill>
            <a:schemeClr val="tx1"/>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71" name="Rectangle 70">
            <a:extLst>
              <a:ext uri="{FF2B5EF4-FFF2-40B4-BE49-F238E27FC236}">
                <a16:creationId xmlns:a16="http://schemas.microsoft.com/office/drawing/2014/main" id="{EA0CC1E0-EA7C-411E-AFB3-79C84AE2744F}"/>
              </a:ext>
            </a:extLst>
          </p:cNvPr>
          <p:cNvSpPr/>
          <p:nvPr/>
        </p:nvSpPr>
        <p:spPr>
          <a:xfrm>
            <a:off x="1702234" y="3828424"/>
            <a:ext cx="696822" cy="276999"/>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EAEAEA"/>
                </a:solidFill>
                <a:effectLst/>
                <a:uLnTx/>
                <a:uFillTx/>
                <a:latin typeface="IBM Plex Sans"/>
                <a:ea typeface="+mn-ea"/>
                <a:cs typeface="+mn-cs"/>
              </a:rPr>
              <a:t>Middleware </a:t>
            </a:r>
            <a:br>
              <a:rPr kumimoji="0" lang="en-US" sz="900" b="0" i="0" u="none" strike="noStrike" kern="1200" cap="none" spc="0" normalizeH="0" baseline="0" noProof="0" dirty="0">
                <a:ln>
                  <a:noFill/>
                </a:ln>
                <a:solidFill>
                  <a:srgbClr val="EAEAEA"/>
                </a:solidFill>
                <a:effectLst/>
                <a:uLnTx/>
                <a:uFillTx/>
                <a:latin typeface="IBM Plex Sans"/>
                <a:ea typeface="+mn-ea"/>
                <a:cs typeface="+mn-cs"/>
              </a:rPr>
            </a:br>
            <a:r>
              <a:rPr kumimoji="0" lang="en-US" sz="900" b="0" i="0" u="none" strike="noStrike" kern="1200" cap="none" spc="0" normalizeH="0" baseline="0" noProof="0" dirty="0">
                <a:ln>
                  <a:noFill/>
                </a:ln>
                <a:solidFill>
                  <a:srgbClr val="EAEAEA"/>
                </a:solidFill>
                <a:effectLst/>
                <a:uLnTx/>
                <a:uFillTx/>
                <a:latin typeface="IBM Plex Sans"/>
                <a:ea typeface="+mn-ea"/>
                <a:cs typeface="+mn-cs"/>
              </a:rPr>
              <a:t>server</a:t>
            </a:r>
          </a:p>
        </p:txBody>
      </p:sp>
      <p:sp>
        <p:nvSpPr>
          <p:cNvPr id="96" name="Rectangle 95">
            <a:extLst>
              <a:ext uri="{FF2B5EF4-FFF2-40B4-BE49-F238E27FC236}">
                <a16:creationId xmlns:a16="http://schemas.microsoft.com/office/drawing/2014/main" id="{0CE464EC-AC8A-461D-A3CE-DBE675FE9015}"/>
              </a:ext>
            </a:extLst>
          </p:cNvPr>
          <p:cNvSpPr/>
          <p:nvPr/>
        </p:nvSpPr>
        <p:spPr>
          <a:xfrm>
            <a:off x="3335454" y="3297748"/>
            <a:ext cx="750110" cy="313654"/>
          </a:xfrm>
          <a:prstGeom prst="rect">
            <a:avLst/>
          </a:prstGeom>
          <a:solidFill>
            <a:schemeClr val="accent2"/>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97" name="Rectangle 96">
            <a:extLst>
              <a:ext uri="{FF2B5EF4-FFF2-40B4-BE49-F238E27FC236}">
                <a16:creationId xmlns:a16="http://schemas.microsoft.com/office/drawing/2014/main" id="{67C02A00-0AB3-4AC6-BBEA-7BEB73792AA0}"/>
              </a:ext>
            </a:extLst>
          </p:cNvPr>
          <p:cNvSpPr/>
          <p:nvPr/>
        </p:nvSpPr>
        <p:spPr>
          <a:xfrm>
            <a:off x="3362098" y="3385326"/>
            <a:ext cx="696822" cy="138499"/>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EAEAEA"/>
                </a:solidFill>
                <a:effectLst/>
                <a:uLnTx/>
                <a:uFillTx/>
                <a:latin typeface="IBM Plex Sans"/>
                <a:ea typeface="+mn-ea"/>
                <a:cs typeface="+mn-cs"/>
              </a:rPr>
              <a:t>Maximo</a:t>
            </a:r>
          </a:p>
        </p:txBody>
      </p:sp>
      <p:cxnSp>
        <p:nvCxnSpPr>
          <p:cNvPr id="98" name="Straight Arrow Connector 97">
            <a:extLst>
              <a:ext uri="{FF2B5EF4-FFF2-40B4-BE49-F238E27FC236}">
                <a16:creationId xmlns:a16="http://schemas.microsoft.com/office/drawing/2014/main" id="{EBD7C998-E551-437A-BB3B-274651F02913}"/>
              </a:ext>
            </a:extLst>
          </p:cNvPr>
          <p:cNvCxnSpPr>
            <a:cxnSpLocks/>
          </p:cNvCxnSpPr>
          <p:nvPr/>
        </p:nvCxnSpPr>
        <p:spPr>
          <a:xfrm flipH="1">
            <a:off x="1115318" y="2655726"/>
            <a:ext cx="284857" cy="0"/>
          </a:xfrm>
          <a:prstGeom prst="straightConnector1">
            <a:avLst/>
          </a:prstGeom>
          <a:ln w="9525">
            <a:solidFill>
              <a:schemeClr val="tx1"/>
            </a:solidFill>
            <a:headEnd type="triangle" w="sm" len="sm"/>
            <a:tailEnd type="none" w="sm" len="sm"/>
          </a:ln>
          <a:effectLst/>
        </p:spPr>
        <p:style>
          <a:lnRef idx="2">
            <a:schemeClr val="accent1"/>
          </a:lnRef>
          <a:fillRef idx="0">
            <a:schemeClr val="accent1"/>
          </a:fillRef>
          <a:effectRef idx="1">
            <a:schemeClr val="accent1"/>
          </a:effectRef>
          <a:fontRef idx="minor">
            <a:schemeClr val="tx1"/>
          </a:fontRef>
        </p:style>
      </p:cxnSp>
      <p:cxnSp>
        <p:nvCxnSpPr>
          <p:cNvPr id="102" name="Straight Arrow Connector 101">
            <a:extLst>
              <a:ext uri="{FF2B5EF4-FFF2-40B4-BE49-F238E27FC236}">
                <a16:creationId xmlns:a16="http://schemas.microsoft.com/office/drawing/2014/main" id="{880A8063-A76C-4CF4-A9C2-5F2F1C5C19C5}"/>
              </a:ext>
            </a:extLst>
          </p:cNvPr>
          <p:cNvCxnSpPr>
            <a:cxnSpLocks/>
          </p:cNvCxnSpPr>
          <p:nvPr/>
        </p:nvCxnSpPr>
        <p:spPr>
          <a:xfrm flipH="1">
            <a:off x="2140844" y="2655726"/>
            <a:ext cx="376947" cy="0"/>
          </a:xfrm>
          <a:prstGeom prst="straightConnector1">
            <a:avLst/>
          </a:prstGeom>
          <a:ln w="9525">
            <a:solidFill>
              <a:schemeClr val="tx1"/>
            </a:solidFill>
            <a:headEnd type="triangle" w="sm" len="sm"/>
            <a:tailEnd type="none" w="sm" len="sm"/>
          </a:ln>
          <a:effectLst/>
        </p:spPr>
        <p:style>
          <a:lnRef idx="2">
            <a:schemeClr val="accent1"/>
          </a:lnRef>
          <a:fillRef idx="0">
            <a:schemeClr val="accent1"/>
          </a:fillRef>
          <a:effectRef idx="1">
            <a:schemeClr val="accent1"/>
          </a:effectRef>
          <a:fontRef idx="minor">
            <a:schemeClr val="tx1"/>
          </a:fontRef>
        </p:style>
      </p:cxnSp>
      <p:grpSp>
        <p:nvGrpSpPr>
          <p:cNvPr id="103" name="Graphic 58">
            <a:extLst>
              <a:ext uri="{FF2B5EF4-FFF2-40B4-BE49-F238E27FC236}">
                <a16:creationId xmlns:a16="http://schemas.microsoft.com/office/drawing/2014/main" id="{8AC2399F-8088-4E55-8735-F6B958B17BB7}"/>
              </a:ext>
            </a:extLst>
          </p:cNvPr>
          <p:cNvGrpSpPr/>
          <p:nvPr/>
        </p:nvGrpSpPr>
        <p:grpSpPr>
          <a:xfrm>
            <a:off x="2172379" y="3148954"/>
            <a:ext cx="335271" cy="379001"/>
            <a:chOff x="-1298259" y="849630"/>
            <a:chExt cx="390123" cy="441008"/>
          </a:xfrm>
          <a:solidFill>
            <a:schemeClr val="accent2"/>
          </a:solidFill>
        </p:grpSpPr>
        <p:sp>
          <p:nvSpPr>
            <p:cNvPr id="104" name="Freeform: Shape 103">
              <a:extLst>
                <a:ext uri="{FF2B5EF4-FFF2-40B4-BE49-F238E27FC236}">
                  <a16:creationId xmlns:a16="http://schemas.microsoft.com/office/drawing/2014/main" id="{00898BB0-BBE8-4428-9A18-09E028DB1F9F}"/>
                </a:ext>
              </a:extLst>
            </p:cNvPr>
            <p:cNvSpPr/>
            <p:nvPr/>
          </p:nvSpPr>
          <p:spPr>
            <a:xfrm>
              <a:off x="-1320383" y="827506"/>
              <a:ext cx="424047" cy="474932"/>
            </a:xfrm>
            <a:custGeom>
              <a:avLst/>
              <a:gdLst>
                <a:gd name="connsiteX0" fmla="*/ 22124 w 424046"/>
                <a:gd name="connsiteY0" fmla="*/ 22124 h 474931"/>
                <a:gd name="connsiteX1" fmla="*/ 22124 w 424046"/>
                <a:gd name="connsiteY1" fmla="*/ 451598 h 474931"/>
                <a:gd name="connsiteX2" fmla="*/ 28230 w 424046"/>
                <a:gd name="connsiteY2" fmla="*/ 457704 h 474931"/>
                <a:gd name="connsiteX3" fmla="*/ 401392 w 424046"/>
                <a:gd name="connsiteY3" fmla="*/ 457704 h 474931"/>
                <a:gd name="connsiteX4" fmla="*/ 407498 w 424046"/>
                <a:gd name="connsiteY4" fmla="*/ 451598 h 474931"/>
                <a:gd name="connsiteX5" fmla="*/ 407498 w 424046"/>
                <a:gd name="connsiteY5" fmla="*/ 22124 h 474931"/>
                <a:gd name="connsiteX6" fmla="*/ 22124 w 424046"/>
                <a:gd name="connsiteY6" fmla="*/ 22124 h 474931"/>
                <a:gd name="connsiteX7" fmla="*/ 395285 w 424046"/>
                <a:gd name="connsiteY7" fmla="*/ 445492 h 474931"/>
                <a:gd name="connsiteX8" fmla="*/ 34337 w 424046"/>
                <a:gd name="connsiteY8" fmla="*/ 445492 h 474931"/>
                <a:gd name="connsiteX9" fmla="*/ 34337 w 424046"/>
                <a:gd name="connsiteY9" fmla="*/ 372895 h 474931"/>
                <a:gd name="connsiteX10" fmla="*/ 395285 w 424046"/>
                <a:gd name="connsiteY10" fmla="*/ 372895 h 474931"/>
                <a:gd name="connsiteX11" fmla="*/ 395285 w 424046"/>
                <a:gd name="connsiteY11" fmla="*/ 445492 h 474931"/>
                <a:gd name="connsiteX12" fmla="*/ 395285 w 424046"/>
                <a:gd name="connsiteY12" fmla="*/ 360683 h 474931"/>
                <a:gd name="connsiteX13" fmla="*/ 34337 w 424046"/>
                <a:gd name="connsiteY13" fmla="*/ 360683 h 474931"/>
                <a:gd name="connsiteX14" fmla="*/ 34337 w 424046"/>
                <a:gd name="connsiteY14" fmla="*/ 288086 h 474931"/>
                <a:gd name="connsiteX15" fmla="*/ 395285 w 424046"/>
                <a:gd name="connsiteY15" fmla="*/ 288086 h 474931"/>
                <a:gd name="connsiteX16" fmla="*/ 395285 w 424046"/>
                <a:gd name="connsiteY16" fmla="*/ 360683 h 474931"/>
                <a:gd name="connsiteX17" fmla="*/ 395285 w 424046"/>
                <a:gd name="connsiteY17" fmla="*/ 275873 h 474931"/>
                <a:gd name="connsiteX18" fmla="*/ 34337 w 424046"/>
                <a:gd name="connsiteY18" fmla="*/ 275873 h 474931"/>
                <a:gd name="connsiteX19" fmla="*/ 34337 w 424046"/>
                <a:gd name="connsiteY19" fmla="*/ 203277 h 474931"/>
                <a:gd name="connsiteX20" fmla="*/ 395285 w 424046"/>
                <a:gd name="connsiteY20" fmla="*/ 203277 h 474931"/>
                <a:gd name="connsiteX21" fmla="*/ 395285 w 424046"/>
                <a:gd name="connsiteY21" fmla="*/ 275873 h 474931"/>
                <a:gd name="connsiteX22" fmla="*/ 395285 w 424046"/>
                <a:gd name="connsiteY22" fmla="*/ 191064 h 474931"/>
                <a:gd name="connsiteX23" fmla="*/ 34337 w 424046"/>
                <a:gd name="connsiteY23" fmla="*/ 191064 h 474931"/>
                <a:gd name="connsiteX24" fmla="*/ 34337 w 424046"/>
                <a:gd name="connsiteY24" fmla="*/ 118467 h 474931"/>
                <a:gd name="connsiteX25" fmla="*/ 395285 w 424046"/>
                <a:gd name="connsiteY25" fmla="*/ 118467 h 474931"/>
                <a:gd name="connsiteX26" fmla="*/ 395285 w 424046"/>
                <a:gd name="connsiteY26" fmla="*/ 191064 h 474931"/>
                <a:gd name="connsiteX27" fmla="*/ 395285 w 424046"/>
                <a:gd name="connsiteY27" fmla="*/ 106255 h 474931"/>
                <a:gd name="connsiteX28" fmla="*/ 34337 w 424046"/>
                <a:gd name="connsiteY28" fmla="*/ 106255 h 474931"/>
                <a:gd name="connsiteX29" fmla="*/ 34337 w 424046"/>
                <a:gd name="connsiteY29" fmla="*/ 33658 h 474931"/>
                <a:gd name="connsiteX30" fmla="*/ 395285 w 424046"/>
                <a:gd name="connsiteY30" fmla="*/ 33658 h 474931"/>
                <a:gd name="connsiteX31" fmla="*/ 395285 w 424046"/>
                <a:gd name="connsiteY31" fmla="*/ 106255 h 474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4046" h="474931">
                  <a:moveTo>
                    <a:pt x="22124" y="22124"/>
                  </a:moveTo>
                  <a:lnTo>
                    <a:pt x="22124" y="451598"/>
                  </a:lnTo>
                  <a:cubicBezTo>
                    <a:pt x="22124" y="454990"/>
                    <a:pt x="24838" y="457704"/>
                    <a:pt x="28230" y="457704"/>
                  </a:cubicBezTo>
                  <a:lnTo>
                    <a:pt x="401392" y="457704"/>
                  </a:lnTo>
                  <a:cubicBezTo>
                    <a:pt x="404784" y="457704"/>
                    <a:pt x="407498" y="454990"/>
                    <a:pt x="407498" y="451598"/>
                  </a:cubicBezTo>
                  <a:lnTo>
                    <a:pt x="407498" y="22124"/>
                  </a:lnTo>
                  <a:lnTo>
                    <a:pt x="22124" y="22124"/>
                  </a:lnTo>
                  <a:close/>
                  <a:moveTo>
                    <a:pt x="395285" y="445492"/>
                  </a:moveTo>
                  <a:lnTo>
                    <a:pt x="34337" y="445492"/>
                  </a:lnTo>
                  <a:lnTo>
                    <a:pt x="34337" y="372895"/>
                  </a:lnTo>
                  <a:lnTo>
                    <a:pt x="395285" y="372895"/>
                  </a:lnTo>
                  <a:lnTo>
                    <a:pt x="395285" y="445492"/>
                  </a:lnTo>
                  <a:close/>
                  <a:moveTo>
                    <a:pt x="395285" y="360683"/>
                  </a:moveTo>
                  <a:lnTo>
                    <a:pt x="34337" y="360683"/>
                  </a:lnTo>
                  <a:lnTo>
                    <a:pt x="34337" y="288086"/>
                  </a:lnTo>
                  <a:lnTo>
                    <a:pt x="395285" y="288086"/>
                  </a:lnTo>
                  <a:lnTo>
                    <a:pt x="395285" y="360683"/>
                  </a:lnTo>
                  <a:close/>
                  <a:moveTo>
                    <a:pt x="395285" y="275873"/>
                  </a:moveTo>
                  <a:lnTo>
                    <a:pt x="34337" y="275873"/>
                  </a:lnTo>
                  <a:lnTo>
                    <a:pt x="34337" y="203277"/>
                  </a:lnTo>
                  <a:lnTo>
                    <a:pt x="395285" y="203277"/>
                  </a:lnTo>
                  <a:lnTo>
                    <a:pt x="395285" y="275873"/>
                  </a:lnTo>
                  <a:close/>
                  <a:moveTo>
                    <a:pt x="395285" y="191064"/>
                  </a:moveTo>
                  <a:lnTo>
                    <a:pt x="34337" y="191064"/>
                  </a:lnTo>
                  <a:lnTo>
                    <a:pt x="34337" y="118467"/>
                  </a:lnTo>
                  <a:lnTo>
                    <a:pt x="395285" y="118467"/>
                  </a:lnTo>
                  <a:lnTo>
                    <a:pt x="395285" y="191064"/>
                  </a:lnTo>
                  <a:close/>
                  <a:moveTo>
                    <a:pt x="395285" y="106255"/>
                  </a:moveTo>
                  <a:lnTo>
                    <a:pt x="34337" y="106255"/>
                  </a:lnTo>
                  <a:lnTo>
                    <a:pt x="34337" y="33658"/>
                  </a:lnTo>
                  <a:lnTo>
                    <a:pt x="395285" y="33658"/>
                  </a:lnTo>
                  <a:lnTo>
                    <a:pt x="395285" y="106255"/>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05" name="Freeform: Shape 104">
              <a:extLst>
                <a:ext uri="{FF2B5EF4-FFF2-40B4-BE49-F238E27FC236}">
                  <a16:creationId xmlns:a16="http://schemas.microsoft.com/office/drawing/2014/main" id="{206AE9C0-F7FE-4F53-9640-2CA4E68F19CC}"/>
                </a:ext>
              </a:extLst>
            </p:cNvPr>
            <p:cNvSpPr/>
            <p:nvPr/>
          </p:nvSpPr>
          <p:spPr>
            <a:xfrm>
              <a:off x="-1076811" y="1199988"/>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06" name="Freeform: Shape 105">
              <a:extLst>
                <a:ext uri="{FF2B5EF4-FFF2-40B4-BE49-F238E27FC236}">
                  <a16:creationId xmlns:a16="http://schemas.microsoft.com/office/drawing/2014/main" id="{C0E3A0D3-CBB4-43AC-9200-8C645D120AE3}"/>
                </a:ext>
              </a:extLst>
            </p:cNvPr>
            <p:cNvSpPr/>
            <p:nvPr/>
          </p:nvSpPr>
          <p:spPr>
            <a:xfrm>
              <a:off x="-1212506"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07" name="Freeform: Shape 106">
              <a:extLst>
                <a:ext uri="{FF2B5EF4-FFF2-40B4-BE49-F238E27FC236}">
                  <a16:creationId xmlns:a16="http://schemas.microsoft.com/office/drawing/2014/main" id="{70FE2571-8728-412A-B143-07C491E832C6}"/>
                </a:ext>
              </a:extLst>
            </p:cNvPr>
            <p:cNvSpPr/>
            <p:nvPr/>
          </p:nvSpPr>
          <p:spPr>
            <a:xfrm>
              <a:off x="-1246429"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08" name="Freeform: Shape 107">
              <a:extLst>
                <a:ext uri="{FF2B5EF4-FFF2-40B4-BE49-F238E27FC236}">
                  <a16:creationId xmlns:a16="http://schemas.microsoft.com/office/drawing/2014/main" id="{441324E2-3BA4-451F-AAAA-A5C30B418743}"/>
                </a:ext>
              </a:extLst>
            </p:cNvPr>
            <p:cNvSpPr/>
            <p:nvPr/>
          </p:nvSpPr>
          <p:spPr>
            <a:xfrm>
              <a:off x="-1280353"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09" name="Freeform: Shape 108">
              <a:extLst>
                <a:ext uri="{FF2B5EF4-FFF2-40B4-BE49-F238E27FC236}">
                  <a16:creationId xmlns:a16="http://schemas.microsoft.com/office/drawing/2014/main" id="{6621CD76-BE43-4158-95C8-0123F9F77321}"/>
                </a:ext>
              </a:extLst>
            </p:cNvPr>
            <p:cNvSpPr/>
            <p:nvPr/>
          </p:nvSpPr>
          <p:spPr>
            <a:xfrm>
              <a:off x="-1076811" y="1115179"/>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10" name="Freeform: Shape 109">
              <a:extLst>
                <a:ext uri="{FF2B5EF4-FFF2-40B4-BE49-F238E27FC236}">
                  <a16:creationId xmlns:a16="http://schemas.microsoft.com/office/drawing/2014/main" id="{E5E9AD19-9D36-4610-9668-4DA1E57B5EAA}"/>
                </a:ext>
              </a:extLst>
            </p:cNvPr>
            <p:cNvSpPr/>
            <p:nvPr/>
          </p:nvSpPr>
          <p:spPr>
            <a:xfrm>
              <a:off x="-1212506"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11" name="Freeform: Shape 110">
              <a:extLst>
                <a:ext uri="{FF2B5EF4-FFF2-40B4-BE49-F238E27FC236}">
                  <a16:creationId xmlns:a16="http://schemas.microsoft.com/office/drawing/2014/main" id="{39967369-96BF-44EF-8F67-922E04876E7E}"/>
                </a:ext>
              </a:extLst>
            </p:cNvPr>
            <p:cNvSpPr/>
            <p:nvPr/>
          </p:nvSpPr>
          <p:spPr>
            <a:xfrm>
              <a:off x="-1246429"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12" name="Freeform: Shape 111">
              <a:extLst>
                <a:ext uri="{FF2B5EF4-FFF2-40B4-BE49-F238E27FC236}">
                  <a16:creationId xmlns:a16="http://schemas.microsoft.com/office/drawing/2014/main" id="{88F5A255-1FC0-40E6-8D84-7F26B71E4618}"/>
                </a:ext>
              </a:extLst>
            </p:cNvPr>
            <p:cNvSpPr/>
            <p:nvPr/>
          </p:nvSpPr>
          <p:spPr>
            <a:xfrm>
              <a:off x="-1280353"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13" name="Freeform: Shape 112">
              <a:extLst>
                <a:ext uri="{FF2B5EF4-FFF2-40B4-BE49-F238E27FC236}">
                  <a16:creationId xmlns:a16="http://schemas.microsoft.com/office/drawing/2014/main" id="{2FDE83B5-F298-4041-9F7C-12B52709C36C}"/>
                </a:ext>
              </a:extLst>
            </p:cNvPr>
            <p:cNvSpPr/>
            <p:nvPr/>
          </p:nvSpPr>
          <p:spPr>
            <a:xfrm>
              <a:off x="-1076811" y="1030370"/>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14" name="Freeform: Shape 113">
              <a:extLst>
                <a:ext uri="{FF2B5EF4-FFF2-40B4-BE49-F238E27FC236}">
                  <a16:creationId xmlns:a16="http://schemas.microsoft.com/office/drawing/2014/main" id="{BDD12FB5-88CF-4385-9E8B-3AB433CAAACF}"/>
                </a:ext>
              </a:extLst>
            </p:cNvPr>
            <p:cNvSpPr/>
            <p:nvPr/>
          </p:nvSpPr>
          <p:spPr>
            <a:xfrm>
              <a:off x="-1212506"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15" name="Freeform: Shape 114">
              <a:extLst>
                <a:ext uri="{FF2B5EF4-FFF2-40B4-BE49-F238E27FC236}">
                  <a16:creationId xmlns:a16="http://schemas.microsoft.com/office/drawing/2014/main" id="{B0E48807-5256-4845-8DE3-AAEC5DC81A96}"/>
                </a:ext>
              </a:extLst>
            </p:cNvPr>
            <p:cNvSpPr/>
            <p:nvPr/>
          </p:nvSpPr>
          <p:spPr>
            <a:xfrm>
              <a:off x="-1246429"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18" name="Freeform: Shape 117">
              <a:extLst>
                <a:ext uri="{FF2B5EF4-FFF2-40B4-BE49-F238E27FC236}">
                  <a16:creationId xmlns:a16="http://schemas.microsoft.com/office/drawing/2014/main" id="{3F55DEC6-8536-465E-8ADE-D7EFBA8A5C29}"/>
                </a:ext>
              </a:extLst>
            </p:cNvPr>
            <p:cNvSpPr/>
            <p:nvPr/>
          </p:nvSpPr>
          <p:spPr>
            <a:xfrm>
              <a:off x="-1280353"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20" name="Freeform: Shape 119">
              <a:extLst>
                <a:ext uri="{FF2B5EF4-FFF2-40B4-BE49-F238E27FC236}">
                  <a16:creationId xmlns:a16="http://schemas.microsoft.com/office/drawing/2014/main" id="{B0770B13-586C-4011-9F1F-386387E03F05}"/>
                </a:ext>
              </a:extLst>
            </p:cNvPr>
            <p:cNvSpPr/>
            <p:nvPr/>
          </p:nvSpPr>
          <p:spPr>
            <a:xfrm>
              <a:off x="-1076811" y="945560"/>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21" name="Freeform: Shape 120">
              <a:extLst>
                <a:ext uri="{FF2B5EF4-FFF2-40B4-BE49-F238E27FC236}">
                  <a16:creationId xmlns:a16="http://schemas.microsoft.com/office/drawing/2014/main" id="{2ACD255B-B2F9-48F1-B9FF-DB00F1658A2C}"/>
                </a:ext>
              </a:extLst>
            </p:cNvPr>
            <p:cNvSpPr/>
            <p:nvPr/>
          </p:nvSpPr>
          <p:spPr>
            <a:xfrm>
              <a:off x="-1212506"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22" name="Freeform: Shape 121">
              <a:extLst>
                <a:ext uri="{FF2B5EF4-FFF2-40B4-BE49-F238E27FC236}">
                  <a16:creationId xmlns:a16="http://schemas.microsoft.com/office/drawing/2014/main" id="{AF291EE3-03DB-4BEA-B113-8FA7CAAC37CD}"/>
                </a:ext>
              </a:extLst>
            </p:cNvPr>
            <p:cNvSpPr/>
            <p:nvPr/>
          </p:nvSpPr>
          <p:spPr>
            <a:xfrm>
              <a:off x="-1246429"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23" name="Freeform: Shape 122">
              <a:extLst>
                <a:ext uri="{FF2B5EF4-FFF2-40B4-BE49-F238E27FC236}">
                  <a16:creationId xmlns:a16="http://schemas.microsoft.com/office/drawing/2014/main" id="{8AB48775-17EC-4D7F-995D-803A897F2844}"/>
                </a:ext>
              </a:extLst>
            </p:cNvPr>
            <p:cNvSpPr/>
            <p:nvPr/>
          </p:nvSpPr>
          <p:spPr>
            <a:xfrm>
              <a:off x="-1280353"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25" name="Freeform: Shape 124">
              <a:extLst>
                <a:ext uri="{FF2B5EF4-FFF2-40B4-BE49-F238E27FC236}">
                  <a16:creationId xmlns:a16="http://schemas.microsoft.com/office/drawing/2014/main" id="{6FD09F7C-3571-4D48-8E7E-A55EE15A6CB6}"/>
                </a:ext>
              </a:extLst>
            </p:cNvPr>
            <p:cNvSpPr/>
            <p:nvPr/>
          </p:nvSpPr>
          <p:spPr>
            <a:xfrm>
              <a:off x="-1076811" y="860751"/>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26" name="Freeform: Shape 125">
              <a:extLst>
                <a:ext uri="{FF2B5EF4-FFF2-40B4-BE49-F238E27FC236}">
                  <a16:creationId xmlns:a16="http://schemas.microsoft.com/office/drawing/2014/main" id="{08FBE625-B649-4A07-B5E3-6ECC05CCBD89}"/>
                </a:ext>
              </a:extLst>
            </p:cNvPr>
            <p:cNvSpPr/>
            <p:nvPr/>
          </p:nvSpPr>
          <p:spPr>
            <a:xfrm>
              <a:off x="-1212506"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27" name="Freeform: Shape 126">
              <a:extLst>
                <a:ext uri="{FF2B5EF4-FFF2-40B4-BE49-F238E27FC236}">
                  <a16:creationId xmlns:a16="http://schemas.microsoft.com/office/drawing/2014/main" id="{9F1ABB37-0927-414C-ABD9-0BEEA0D614F9}"/>
                </a:ext>
              </a:extLst>
            </p:cNvPr>
            <p:cNvSpPr/>
            <p:nvPr/>
          </p:nvSpPr>
          <p:spPr>
            <a:xfrm>
              <a:off x="-1246429"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128" name="Freeform: Shape 127">
              <a:extLst>
                <a:ext uri="{FF2B5EF4-FFF2-40B4-BE49-F238E27FC236}">
                  <a16:creationId xmlns:a16="http://schemas.microsoft.com/office/drawing/2014/main" id="{4C209E1C-1CF8-4303-AE3C-0B9CE5346DA2}"/>
                </a:ext>
              </a:extLst>
            </p:cNvPr>
            <p:cNvSpPr/>
            <p:nvPr/>
          </p:nvSpPr>
          <p:spPr>
            <a:xfrm>
              <a:off x="-1280353"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grpSp>
      <p:cxnSp>
        <p:nvCxnSpPr>
          <p:cNvPr id="129" name="Connector: Elbow 128">
            <a:extLst>
              <a:ext uri="{FF2B5EF4-FFF2-40B4-BE49-F238E27FC236}">
                <a16:creationId xmlns:a16="http://schemas.microsoft.com/office/drawing/2014/main" id="{E36EFC8E-FDE6-490A-B8D7-7128749BB7F0}"/>
              </a:ext>
            </a:extLst>
          </p:cNvPr>
          <p:cNvCxnSpPr>
            <a:cxnSpLocks/>
          </p:cNvCxnSpPr>
          <p:nvPr/>
        </p:nvCxnSpPr>
        <p:spPr>
          <a:xfrm rot="16200000" flipV="1">
            <a:off x="2082232" y="2858038"/>
            <a:ext cx="330148" cy="187878"/>
          </a:xfrm>
          <a:prstGeom prst="bentConnector2">
            <a:avLst/>
          </a:prstGeom>
          <a:ln w="9525">
            <a:solidFill>
              <a:schemeClr val="tx1"/>
            </a:solidFill>
            <a:headEnd type="triangle" w="sm" len="sm"/>
            <a:tailEnd type="none" w="sm" len="sm"/>
          </a:ln>
          <a:effectLst/>
        </p:spPr>
        <p:style>
          <a:lnRef idx="2">
            <a:schemeClr val="accent1"/>
          </a:lnRef>
          <a:fillRef idx="0">
            <a:schemeClr val="accent1"/>
          </a:fillRef>
          <a:effectRef idx="1">
            <a:schemeClr val="accent1"/>
          </a:effectRef>
          <a:fontRef idx="minor">
            <a:schemeClr val="tx1"/>
          </a:fontRef>
        </p:style>
      </p:cxnSp>
      <p:cxnSp>
        <p:nvCxnSpPr>
          <p:cNvPr id="133" name="Connector: Elbow 132">
            <a:extLst>
              <a:ext uri="{FF2B5EF4-FFF2-40B4-BE49-F238E27FC236}">
                <a16:creationId xmlns:a16="http://schemas.microsoft.com/office/drawing/2014/main" id="{D81B4C3D-A3DC-4D94-91C7-FFD877EEC660}"/>
              </a:ext>
            </a:extLst>
          </p:cNvPr>
          <p:cNvCxnSpPr>
            <a:cxnSpLocks/>
            <a:endCxn id="63" idx="2"/>
          </p:cNvCxnSpPr>
          <p:nvPr/>
        </p:nvCxnSpPr>
        <p:spPr>
          <a:xfrm flipV="1">
            <a:off x="2425700" y="3666306"/>
            <a:ext cx="485126" cy="235657"/>
          </a:xfrm>
          <a:prstGeom prst="bentConnector2">
            <a:avLst/>
          </a:prstGeom>
          <a:ln w="9525">
            <a:solidFill>
              <a:schemeClr val="tx1"/>
            </a:solidFill>
            <a:headEnd type="triangle" w="sm" len="sm"/>
            <a:tailEnd type="none" w="sm" len="sm"/>
          </a:ln>
          <a:effectLst/>
        </p:spPr>
        <p:style>
          <a:lnRef idx="2">
            <a:schemeClr val="accent1"/>
          </a:lnRef>
          <a:fillRef idx="0">
            <a:schemeClr val="accent1"/>
          </a:fillRef>
          <a:effectRef idx="1">
            <a:schemeClr val="accent1"/>
          </a:effectRef>
          <a:fontRef idx="minor">
            <a:schemeClr val="tx1"/>
          </a:fontRef>
        </p:style>
      </p:cxnSp>
      <p:cxnSp>
        <p:nvCxnSpPr>
          <p:cNvPr id="138" name="Connector: Elbow 137">
            <a:extLst>
              <a:ext uri="{FF2B5EF4-FFF2-40B4-BE49-F238E27FC236}">
                <a16:creationId xmlns:a16="http://schemas.microsoft.com/office/drawing/2014/main" id="{A38A5767-553E-49B2-AAE4-EAD761DFF01B}"/>
              </a:ext>
            </a:extLst>
          </p:cNvPr>
          <p:cNvCxnSpPr>
            <a:cxnSpLocks/>
            <a:endCxn id="96" idx="2"/>
          </p:cNvCxnSpPr>
          <p:nvPr/>
        </p:nvCxnSpPr>
        <p:spPr>
          <a:xfrm flipV="1">
            <a:off x="2425700" y="3611402"/>
            <a:ext cx="1284809" cy="407114"/>
          </a:xfrm>
          <a:prstGeom prst="bentConnector2">
            <a:avLst/>
          </a:prstGeom>
          <a:ln w="9525">
            <a:solidFill>
              <a:schemeClr val="tx1"/>
            </a:solidFill>
            <a:headEnd type="triangle" w="sm" len="sm"/>
            <a:tailEnd type="none" w="sm" len="sm"/>
          </a:ln>
          <a:effectLst/>
        </p:spPr>
        <p:style>
          <a:lnRef idx="2">
            <a:schemeClr val="accent1"/>
          </a:lnRef>
          <a:fillRef idx="0">
            <a:schemeClr val="accent1"/>
          </a:fillRef>
          <a:effectRef idx="1">
            <a:schemeClr val="accent1"/>
          </a:effectRef>
          <a:fontRef idx="minor">
            <a:schemeClr val="tx1"/>
          </a:fontRef>
        </p:style>
      </p:cxnSp>
      <p:sp>
        <p:nvSpPr>
          <p:cNvPr id="162" name="Rectangle 161">
            <a:extLst>
              <a:ext uri="{FF2B5EF4-FFF2-40B4-BE49-F238E27FC236}">
                <a16:creationId xmlns:a16="http://schemas.microsoft.com/office/drawing/2014/main" id="{A79BF8E5-D835-40CB-AA09-669AA18A7869}"/>
              </a:ext>
            </a:extLst>
          </p:cNvPr>
          <p:cNvSpPr/>
          <p:nvPr/>
        </p:nvSpPr>
        <p:spPr>
          <a:xfrm>
            <a:off x="5008823" y="1488290"/>
            <a:ext cx="1047384" cy="276999"/>
          </a:xfrm>
          <a:prstGeom prst="rect">
            <a:avLst/>
          </a:prstGeom>
          <a:noFill/>
        </p:spPr>
        <p:txBody>
          <a:bodyPr wrap="square" lIns="0" tIns="0" rIns="0" bIns="0" rtlCol="0" anchor="ctr">
            <a:spAutoFit/>
          </a:bodyPr>
          <a:lstStyle/>
          <a:p>
            <a:pPr marL="0" marR="0" lvl="0" indent="0" algn="l" defTabSz="685800" rtl="0" eaLnBrk="1" fontAlgn="base"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0064FF"/>
                </a:solidFill>
                <a:effectLst/>
                <a:uLnTx/>
                <a:uFillTx/>
                <a:latin typeface="IBM Plex Sans"/>
                <a:ea typeface="+mn-ea"/>
                <a:cs typeface="+mn-cs"/>
              </a:rPr>
              <a:t>1. </a:t>
            </a:r>
            <a:r>
              <a:rPr kumimoji="0" lang="en-US" sz="900" b="0" i="0" u="none" strike="noStrike" kern="1200" cap="none" spc="0" normalizeH="0" baseline="0" noProof="0" dirty="0">
                <a:ln>
                  <a:noFill/>
                </a:ln>
                <a:solidFill>
                  <a:srgbClr val="000000"/>
                </a:solidFill>
                <a:effectLst/>
                <a:uLnTx/>
                <a:uFillTx/>
                <a:latin typeface="IBM Plex Sans"/>
                <a:ea typeface="+mn-ea"/>
                <a:cs typeface="+mn-cs"/>
              </a:rPr>
              <a:t>Download </a:t>
            </a:r>
            <a:br>
              <a:rPr kumimoji="0" lang="en-US" sz="900" b="0" i="0" u="none" strike="noStrike" kern="1200" cap="none" spc="0" normalizeH="0" baseline="0" noProof="0" dirty="0">
                <a:ln>
                  <a:noFill/>
                </a:ln>
                <a:solidFill>
                  <a:srgbClr val="000000"/>
                </a:solidFill>
                <a:effectLst/>
                <a:uLnTx/>
                <a:uFillTx/>
                <a:latin typeface="IBM Plex Sans"/>
                <a:ea typeface="+mn-ea"/>
                <a:cs typeface="+mn-cs"/>
              </a:rPr>
            </a:br>
            <a:r>
              <a:rPr kumimoji="0" lang="en-US" sz="900" b="0" i="0" u="none" strike="noStrike" kern="1200" cap="none" spc="0" normalizeH="0" baseline="0" noProof="0" dirty="0">
                <a:ln>
                  <a:noFill/>
                </a:ln>
                <a:solidFill>
                  <a:srgbClr val="000000"/>
                </a:solidFill>
                <a:effectLst/>
                <a:uLnTx/>
                <a:uFillTx/>
                <a:latin typeface="IBM Plex Sans"/>
                <a:ea typeface="+mn-ea"/>
                <a:cs typeface="+mn-cs"/>
              </a:rPr>
              <a:t>Anywhere to device</a:t>
            </a:r>
          </a:p>
        </p:txBody>
      </p:sp>
      <p:sp>
        <p:nvSpPr>
          <p:cNvPr id="163" name="Rectangle 162">
            <a:extLst>
              <a:ext uri="{FF2B5EF4-FFF2-40B4-BE49-F238E27FC236}">
                <a16:creationId xmlns:a16="http://schemas.microsoft.com/office/drawing/2014/main" id="{66302178-8642-4517-918C-45335F5A3080}"/>
              </a:ext>
            </a:extLst>
          </p:cNvPr>
          <p:cNvSpPr/>
          <p:nvPr/>
        </p:nvSpPr>
        <p:spPr>
          <a:xfrm>
            <a:off x="6266487" y="1488290"/>
            <a:ext cx="820113" cy="276999"/>
          </a:xfrm>
          <a:prstGeom prst="rect">
            <a:avLst/>
          </a:prstGeom>
          <a:noFill/>
        </p:spPr>
        <p:txBody>
          <a:bodyPr wrap="square" lIns="0" tIns="0" rIns="0" bIns="0" rtlCol="0" anchor="ctr">
            <a:spAutoFit/>
          </a:bodyPr>
          <a:lstStyle/>
          <a:p>
            <a:pPr marL="0" marR="0" lvl="0" indent="0" algn="l" defTabSz="685800" rtl="0" eaLnBrk="1" fontAlgn="base"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0064FF"/>
                </a:solidFill>
                <a:effectLst/>
                <a:uLnTx/>
                <a:uFillTx/>
                <a:latin typeface="IBM Plex Sans"/>
                <a:ea typeface="+mn-ea"/>
                <a:cs typeface="+mn-cs"/>
              </a:rPr>
              <a:t>2. </a:t>
            </a:r>
            <a:r>
              <a:rPr kumimoji="0" lang="en-US" sz="900" b="0" i="0" u="none" strike="noStrike" kern="1200" cap="none" spc="0" normalizeH="0" baseline="0" noProof="0" dirty="0">
                <a:ln>
                  <a:noFill/>
                </a:ln>
                <a:solidFill>
                  <a:srgbClr val="000000"/>
                </a:solidFill>
                <a:effectLst/>
                <a:uLnTx/>
                <a:uFillTx/>
                <a:latin typeface="IBM Plex Sans"/>
                <a:ea typeface="+mn-ea"/>
                <a:cs typeface="+mn-cs"/>
              </a:rPr>
              <a:t>Enter </a:t>
            </a:r>
            <a:br>
              <a:rPr kumimoji="0" lang="en-US" sz="900" b="0" i="0" u="none" strike="noStrike" kern="1200" cap="none" spc="0" normalizeH="0" baseline="0" noProof="0" dirty="0">
                <a:ln>
                  <a:noFill/>
                </a:ln>
                <a:solidFill>
                  <a:srgbClr val="000000"/>
                </a:solidFill>
                <a:effectLst/>
                <a:uLnTx/>
                <a:uFillTx/>
                <a:latin typeface="IBM Plex Sans"/>
                <a:ea typeface="+mn-ea"/>
                <a:cs typeface="+mn-cs"/>
              </a:rPr>
            </a:br>
            <a:r>
              <a:rPr kumimoji="0" lang="en-US" sz="900" b="0" i="0" u="none" strike="noStrike" kern="1200" cap="none" spc="0" normalizeH="0" baseline="0" noProof="0" dirty="0">
                <a:ln>
                  <a:noFill/>
                </a:ln>
                <a:solidFill>
                  <a:srgbClr val="000000"/>
                </a:solidFill>
                <a:effectLst/>
                <a:uLnTx/>
                <a:uFillTx/>
                <a:latin typeface="IBM Plex Sans"/>
                <a:ea typeface="+mn-ea"/>
                <a:cs typeface="+mn-cs"/>
              </a:rPr>
              <a:t>Maximo </a:t>
            </a:r>
            <a:r>
              <a:rPr kumimoji="0" lang="en-US" sz="900" b="0" i="0" u="none" strike="noStrike" kern="1200" cap="none" spc="0" normalizeH="0" baseline="0" noProof="0" dirty="0" err="1">
                <a:ln>
                  <a:noFill/>
                </a:ln>
                <a:solidFill>
                  <a:srgbClr val="000000"/>
                </a:solidFill>
                <a:effectLst/>
                <a:uLnTx/>
                <a:uFillTx/>
                <a:latin typeface="IBM Plex Sans"/>
                <a:ea typeface="+mn-ea"/>
                <a:cs typeface="+mn-cs"/>
              </a:rPr>
              <a:t>url</a:t>
            </a:r>
            <a:endParaRPr kumimoji="0" lang="en-US" sz="900" b="0" i="0" u="none" strike="noStrike" kern="1200" cap="none" spc="0" normalizeH="0" baseline="0" noProof="0" dirty="0">
              <a:ln>
                <a:noFill/>
              </a:ln>
              <a:solidFill>
                <a:srgbClr val="000000"/>
              </a:solidFill>
              <a:effectLst/>
              <a:uLnTx/>
              <a:uFillTx/>
              <a:latin typeface="IBM Plex Sans"/>
              <a:ea typeface="+mn-ea"/>
              <a:cs typeface="+mn-cs"/>
            </a:endParaRPr>
          </a:p>
        </p:txBody>
      </p:sp>
      <p:sp>
        <p:nvSpPr>
          <p:cNvPr id="164" name="Rectangle 163">
            <a:extLst>
              <a:ext uri="{FF2B5EF4-FFF2-40B4-BE49-F238E27FC236}">
                <a16:creationId xmlns:a16="http://schemas.microsoft.com/office/drawing/2014/main" id="{7044F3A8-7173-493D-81AC-B075A4C1DA0F}"/>
              </a:ext>
            </a:extLst>
          </p:cNvPr>
          <p:cNvSpPr/>
          <p:nvPr/>
        </p:nvSpPr>
        <p:spPr>
          <a:xfrm>
            <a:off x="7508344" y="1488290"/>
            <a:ext cx="1269676" cy="276999"/>
          </a:xfrm>
          <a:prstGeom prst="rect">
            <a:avLst/>
          </a:prstGeom>
          <a:noFill/>
        </p:spPr>
        <p:txBody>
          <a:bodyPr wrap="square" lIns="0" tIns="0" rIns="0" bIns="0" rtlCol="0" anchor="ctr">
            <a:spAutoFit/>
          </a:bodyPr>
          <a:lstStyle/>
          <a:p>
            <a:pPr marL="0" marR="0" lvl="0" indent="0" algn="l" defTabSz="685800" rtl="0" eaLnBrk="1" fontAlgn="base"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0064FF"/>
                </a:solidFill>
                <a:effectLst/>
                <a:uLnTx/>
                <a:uFillTx/>
                <a:latin typeface="IBM Plex Sans"/>
                <a:ea typeface="+mn-ea"/>
                <a:cs typeface="+mn-cs"/>
              </a:rPr>
              <a:t>3. </a:t>
            </a:r>
            <a:r>
              <a:rPr kumimoji="0" lang="en-US" sz="900" b="0" i="0" u="none" strike="noStrike" kern="1200" cap="none" spc="0" normalizeH="0" baseline="0" noProof="0" dirty="0">
                <a:ln>
                  <a:noFill/>
                </a:ln>
                <a:solidFill>
                  <a:srgbClr val="000000"/>
                </a:solidFill>
                <a:effectLst/>
                <a:uLnTx/>
                <a:uFillTx/>
                <a:latin typeface="IBM Plex Sans"/>
                <a:ea typeface="+mn-ea"/>
                <a:cs typeface="+mn-cs"/>
              </a:rPr>
              <a:t>App updates and data installed on device</a:t>
            </a:r>
          </a:p>
        </p:txBody>
      </p:sp>
      <p:grpSp>
        <p:nvGrpSpPr>
          <p:cNvPr id="165" name="Group 164">
            <a:extLst>
              <a:ext uri="{FF2B5EF4-FFF2-40B4-BE49-F238E27FC236}">
                <a16:creationId xmlns:a16="http://schemas.microsoft.com/office/drawing/2014/main" id="{03CD6E74-1371-42C3-A201-99AC965176FD}"/>
              </a:ext>
            </a:extLst>
          </p:cNvPr>
          <p:cNvGrpSpPr/>
          <p:nvPr/>
        </p:nvGrpSpPr>
        <p:grpSpPr>
          <a:xfrm>
            <a:off x="5052669" y="2270343"/>
            <a:ext cx="831333" cy="1395963"/>
            <a:chOff x="332945" y="2697819"/>
            <a:chExt cx="831333" cy="1395963"/>
          </a:xfrm>
        </p:grpSpPr>
        <p:pic>
          <p:nvPicPr>
            <p:cNvPr id="169" name="Picture 168">
              <a:extLst>
                <a:ext uri="{FF2B5EF4-FFF2-40B4-BE49-F238E27FC236}">
                  <a16:creationId xmlns:a16="http://schemas.microsoft.com/office/drawing/2014/main" id="{D8AB3453-ED99-4317-93F4-F222A450B92F}"/>
                </a:ext>
              </a:extLst>
            </p:cNvPr>
            <p:cNvPicPr>
              <a:picLocks noChangeAspect="1"/>
            </p:cNvPicPr>
            <p:nvPr/>
          </p:nvPicPr>
          <p:blipFill rotWithShape="1">
            <a:blip r:embed="rId3"/>
            <a:srcRect l="38546" t="20548" r="38546" b="21737"/>
            <a:stretch/>
          </p:blipFill>
          <p:spPr>
            <a:xfrm>
              <a:off x="332945" y="2697819"/>
              <a:ext cx="831333" cy="1395963"/>
            </a:xfrm>
            <a:prstGeom prst="rect">
              <a:avLst/>
            </a:prstGeom>
          </p:spPr>
        </p:pic>
        <p:sp>
          <p:nvSpPr>
            <p:cNvPr id="171" name="Rectangle 170">
              <a:extLst>
                <a:ext uri="{FF2B5EF4-FFF2-40B4-BE49-F238E27FC236}">
                  <a16:creationId xmlns:a16="http://schemas.microsoft.com/office/drawing/2014/main" id="{B9C29AE9-53BE-46DB-A041-C166B3EE9A38}"/>
                </a:ext>
              </a:extLst>
            </p:cNvPr>
            <p:cNvSpPr/>
            <p:nvPr/>
          </p:nvSpPr>
          <p:spPr>
            <a:xfrm>
              <a:off x="475124" y="2886076"/>
              <a:ext cx="571075" cy="1016054"/>
            </a:xfrm>
            <a:prstGeom prst="rect">
              <a:avLst/>
            </a:prstGeom>
            <a:solidFill>
              <a:schemeClr val="bg2"/>
            </a:solid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grpSp>
      <p:grpSp>
        <p:nvGrpSpPr>
          <p:cNvPr id="195" name="Graphic 43">
            <a:extLst>
              <a:ext uri="{FF2B5EF4-FFF2-40B4-BE49-F238E27FC236}">
                <a16:creationId xmlns:a16="http://schemas.microsoft.com/office/drawing/2014/main" id="{8C4D2955-5F54-4D03-A9BE-BDE154D25130}"/>
              </a:ext>
            </a:extLst>
          </p:cNvPr>
          <p:cNvGrpSpPr/>
          <p:nvPr/>
        </p:nvGrpSpPr>
        <p:grpSpPr>
          <a:xfrm>
            <a:off x="5211361" y="1937183"/>
            <a:ext cx="202505" cy="237325"/>
            <a:chOff x="-5461289" y="2763240"/>
            <a:chExt cx="4388850" cy="5143500"/>
          </a:xfrm>
          <a:solidFill>
            <a:schemeClr val="accent2"/>
          </a:solidFill>
        </p:grpSpPr>
        <p:sp>
          <p:nvSpPr>
            <p:cNvPr id="196" name="Freeform: Shape 195">
              <a:extLst>
                <a:ext uri="{FF2B5EF4-FFF2-40B4-BE49-F238E27FC236}">
                  <a16:creationId xmlns:a16="http://schemas.microsoft.com/office/drawing/2014/main" id="{4B7417A5-0682-42D2-8EC4-7B5A9A63C141}"/>
                </a:ext>
              </a:extLst>
            </p:cNvPr>
            <p:cNvSpPr/>
            <p:nvPr/>
          </p:nvSpPr>
          <p:spPr>
            <a:xfrm>
              <a:off x="-4281450" y="4536736"/>
              <a:ext cx="1869559" cy="2157767"/>
            </a:xfrm>
            <a:custGeom>
              <a:avLst/>
              <a:gdLst>
                <a:gd name="connsiteX0" fmla="*/ 1811430 w 1869559"/>
                <a:gd name="connsiteY0" fmla="*/ 1457820 h 2157767"/>
                <a:gd name="connsiteX1" fmla="*/ 1589308 w 1869559"/>
                <a:gd name="connsiteY1" fmla="*/ 1154127 h 2157767"/>
                <a:gd name="connsiteX2" fmla="*/ 1765545 w 1869559"/>
                <a:gd name="connsiteY2" fmla="*/ 831853 h 2157767"/>
                <a:gd name="connsiteX3" fmla="*/ 1810053 w 1869559"/>
                <a:gd name="connsiteY3" fmla="*/ 771114 h 2157767"/>
                <a:gd name="connsiteX4" fmla="*/ 1792204 w 1869559"/>
                <a:gd name="connsiteY4" fmla="*/ 697937 h 2157767"/>
                <a:gd name="connsiteX5" fmla="*/ 1344572 w 1869559"/>
                <a:gd name="connsiteY5" fmla="*/ 463781 h 2157767"/>
                <a:gd name="connsiteX6" fmla="*/ 1278714 w 1869559"/>
                <a:gd name="connsiteY6" fmla="*/ 467977 h 2157767"/>
                <a:gd name="connsiteX7" fmla="*/ 1280686 w 1869559"/>
                <a:gd name="connsiteY7" fmla="*/ 465955 h 2157767"/>
                <a:gd name="connsiteX8" fmla="*/ 1394085 w 1869559"/>
                <a:gd name="connsiteY8" fmla="*/ 77203 h 2157767"/>
                <a:gd name="connsiteX9" fmla="*/ 1299583 w 1869559"/>
                <a:gd name="connsiteY9" fmla="*/ 1119 h 2157767"/>
                <a:gd name="connsiteX10" fmla="*/ 936277 w 1869559"/>
                <a:gd name="connsiteY10" fmla="*/ 196177 h 2157767"/>
                <a:gd name="connsiteX11" fmla="*/ 815394 w 1869559"/>
                <a:gd name="connsiteY11" fmla="*/ 509894 h 2157767"/>
                <a:gd name="connsiteX12" fmla="*/ 591957 w 1869559"/>
                <a:gd name="connsiteY12" fmla="*/ 464021 h 2157767"/>
                <a:gd name="connsiteX13" fmla="*/ 104102 w 1869559"/>
                <a:gd name="connsiteY13" fmla="*/ 754479 h 2157767"/>
                <a:gd name="connsiteX14" fmla="*/ 217590 w 1869559"/>
                <a:gd name="connsiteY14" fmla="*/ 1845371 h 2157767"/>
                <a:gd name="connsiteX15" fmla="*/ 630006 w 1869559"/>
                <a:gd name="connsiteY15" fmla="*/ 2157141 h 2157767"/>
                <a:gd name="connsiteX16" fmla="*/ 633722 w 1869559"/>
                <a:gd name="connsiteY16" fmla="*/ 2157141 h 2157767"/>
                <a:gd name="connsiteX17" fmla="*/ 810768 w 1869559"/>
                <a:gd name="connsiteY17" fmla="*/ 2112558 h 2157767"/>
                <a:gd name="connsiteX18" fmla="*/ 971254 w 1869559"/>
                <a:gd name="connsiteY18" fmla="*/ 2073624 h 2157767"/>
                <a:gd name="connsiteX19" fmla="*/ 1128921 w 1869559"/>
                <a:gd name="connsiteY19" fmla="*/ 2111824 h 2157767"/>
                <a:gd name="connsiteX20" fmla="*/ 1307914 w 1869559"/>
                <a:gd name="connsiteY20" fmla="*/ 2156889 h 2157767"/>
                <a:gd name="connsiteX21" fmla="*/ 1726713 w 1869559"/>
                <a:gd name="connsiteY21" fmla="*/ 1829849 h 2157767"/>
                <a:gd name="connsiteX22" fmla="*/ 1861121 w 1869559"/>
                <a:gd name="connsiteY22" fmla="*/ 1577843 h 2157767"/>
                <a:gd name="connsiteX23" fmla="*/ 1862170 w 1869559"/>
                <a:gd name="connsiteY23" fmla="*/ 1507094 h 2157767"/>
                <a:gd name="connsiteX24" fmla="*/ 1811430 w 1869559"/>
                <a:gd name="connsiteY24" fmla="*/ 1457820 h 2157767"/>
                <a:gd name="connsiteX25" fmla="*/ 1074402 w 1869559"/>
                <a:gd name="connsiteY25" fmla="*/ 309425 h 2157767"/>
                <a:gd name="connsiteX26" fmla="*/ 1212123 w 1869559"/>
                <a:gd name="connsiteY26" fmla="*/ 206441 h 2157767"/>
                <a:gd name="connsiteX27" fmla="*/ 1139426 w 1869559"/>
                <a:gd name="connsiteY27" fmla="*/ 356600 h 2157767"/>
                <a:gd name="connsiteX28" fmla="*/ 997837 w 1869559"/>
                <a:gd name="connsiteY28" fmla="*/ 460798 h 2157767"/>
                <a:gd name="connsiteX29" fmla="*/ 1074402 w 1869559"/>
                <a:gd name="connsiteY29" fmla="*/ 309425 h 2157767"/>
                <a:gd name="connsiteX30" fmla="*/ 1577110 w 1869559"/>
                <a:gd name="connsiteY30" fmla="*/ 1732287 h 2157767"/>
                <a:gd name="connsiteX31" fmla="*/ 1306283 w 1869559"/>
                <a:gd name="connsiteY31" fmla="*/ 1978238 h 2157767"/>
                <a:gd name="connsiteX32" fmla="*/ 1203780 w 1869559"/>
                <a:gd name="connsiteY32" fmla="*/ 1949569 h 2157767"/>
                <a:gd name="connsiteX33" fmla="*/ 970357 w 1869559"/>
                <a:gd name="connsiteY33" fmla="*/ 1894973 h 2157767"/>
                <a:gd name="connsiteX34" fmla="*/ 737654 w 1869559"/>
                <a:gd name="connsiteY34" fmla="*/ 1949569 h 2157767"/>
                <a:gd name="connsiteX35" fmla="*/ 631599 w 1869559"/>
                <a:gd name="connsiteY35" fmla="*/ 1978490 h 2157767"/>
                <a:gd name="connsiteX36" fmla="*/ 367155 w 1869559"/>
                <a:gd name="connsiteY36" fmla="*/ 1747810 h 2157767"/>
                <a:gd name="connsiteX37" fmla="*/ 254160 w 1869559"/>
                <a:gd name="connsiteY37" fmla="*/ 851332 h 2157767"/>
                <a:gd name="connsiteX38" fmla="*/ 591945 w 1869559"/>
                <a:gd name="connsiteY38" fmla="*/ 642697 h 2157767"/>
                <a:gd name="connsiteX39" fmla="*/ 768510 w 1869559"/>
                <a:gd name="connsiteY39" fmla="*/ 682756 h 2157767"/>
                <a:gd name="connsiteX40" fmla="*/ 968903 w 1869559"/>
                <a:gd name="connsiteY40" fmla="*/ 727339 h 2157767"/>
                <a:gd name="connsiteX41" fmla="*/ 1153065 w 1869559"/>
                <a:gd name="connsiteY41" fmla="*/ 684778 h 2157767"/>
                <a:gd name="connsiteX42" fmla="*/ 1344572 w 1869559"/>
                <a:gd name="connsiteY42" fmla="*/ 642457 h 2157767"/>
                <a:gd name="connsiteX43" fmla="*/ 1586161 w 1869559"/>
                <a:gd name="connsiteY43" fmla="*/ 740511 h 2157767"/>
                <a:gd name="connsiteX44" fmla="*/ 1411125 w 1869559"/>
                <a:gd name="connsiteY44" fmla="*/ 1166654 h 2157767"/>
                <a:gd name="connsiteX45" fmla="*/ 1662157 w 1869559"/>
                <a:gd name="connsiteY45" fmla="*/ 1583026 h 2157767"/>
                <a:gd name="connsiteX46" fmla="*/ 1577110 w 1869559"/>
                <a:gd name="connsiteY46" fmla="*/ 1732287 h 215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69559" h="2157767">
                  <a:moveTo>
                    <a:pt x="1811430" y="1457820"/>
                  </a:moveTo>
                  <a:cubicBezTo>
                    <a:pt x="1684139" y="1409356"/>
                    <a:pt x="1599079" y="1292973"/>
                    <a:pt x="1589308" y="1154127"/>
                  </a:cubicBezTo>
                  <a:cubicBezTo>
                    <a:pt x="1579777" y="1018518"/>
                    <a:pt x="1645686" y="898001"/>
                    <a:pt x="1765545" y="831853"/>
                  </a:cubicBezTo>
                  <a:cubicBezTo>
                    <a:pt x="1788640" y="819174"/>
                    <a:pt x="1804883" y="796964"/>
                    <a:pt x="1810053" y="771114"/>
                  </a:cubicBezTo>
                  <a:cubicBezTo>
                    <a:pt x="1815147" y="745352"/>
                    <a:pt x="1808675" y="718529"/>
                    <a:pt x="1792204" y="697937"/>
                  </a:cubicBezTo>
                  <a:cubicBezTo>
                    <a:pt x="1675252" y="551343"/>
                    <a:pt x="1507890" y="463781"/>
                    <a:pt x="1344572" y="463781"/>
                  </a:cubicBezTo>
                  <a:cubicBezTo>
                    <a:pt x="1320908" y="463781"/>
                    <a:pt x="1299546" y="465715"/>
                    <a:pt x="1278714" y="467977"/>
                  </a:cubicBezTo>
                  <a:cubicBezTo>
                    <a:pt x="1279295" y="467244"/>
                    <a:pt x="1280104" y="466688"/>
                    <a:pt x="1280686" y="465955"/>
                  </a:cubicBezTo>
                  <a:cubicBezTo>
                    <a:pt x="1371800" y="348434"/>
                    <a:pt x="1413148" y="206757"/>
                    <a:pt x="1394085" y="77203"/>
                  </a:cubicBezTo>
                  <a:cubicBezTo>
                    <a:pt x="1387297" y="31001"/>
                    <a:pt x="1346594" y="-1713"/>
                    <a:pt x="1299583" y="1119"/>
                  </a:cubicBezTo>
                  <a:cubicBezTo>
                    <a:pt x="1170269" y="10081"/>
                    <a:pt x="1024231" y="88516"/>
                    <a:pt x="936277" y="196177"/>
                  </a:cubicBezTo>
                  <a:cubicBezTo>
                    <a:pt x="858094" y="291248"/>
                    <a:pt x="816747" y="403915"/>
                    <a:pt x="815394" y="509894"/>
                  </a:cubicBezTo>
                  <a:cubicBezTo>
                    <a:pt x="752507" y="487520"/>
                    <a:pt x="681517" y="464021"/>
                    <a:pt x="591957" y="464021"/>
                  </a:cubicBezTo>
                  <a:cubicBezTo>
                    <a:pt x="406746" y="464021"/>
                    <a:pt x="219765" y="575322"/>
                    <a:pt x="104102" y="754479"/>
                  </a:cubicBezTo>
                  <a:cubicBezTo>
                    <a:pt x="-68342" y="1021754"/>
                    <a:pt x="-20611" y="1480611"/>
                    <a:pt x="217590" y="1845371"/>
                  </a:cubicBezTo>
                  <a:cubicBezTo>
                    <a:pt x="311688" y="1989703"/>
                    <a:pt x="443593" y="2155536"/>
                    <a:pt x="630006" y="2157141"/>
                  </a:cubicBezTo>
                  <a:cubicBezTo>
                    <a:pt x="631295" y="2157141"/>
                    <a:pt x="632509" y="2157141"/>
                    <a:pt x="633722" y="2157141"/>
                  </a:cubicBezTo>
                  <a:cubicBezTo>
                    <a:pt x="711349" y="2157141"/>
                    <a:pt x="764086" y="2133478"/>
                    <a:pt x="810768" y="2112558"/>
                  </a:cubicBezTo>
                  <a:cubicBezTo>
                    <a:pt x="856970" y="2091877"/>
                    <a:pt x="896864" y="2073953"/>
                    <a:pt x="971254" y="2073624"/>
                  </a:cubicBezTo>
                  <a:cubicBezTo>
                    <a:pt x="1047819" y="2071842"/>
                    <a:pt x="1084009" y="2091068"/>
                    <a:pt x="1128921" y="2111824"/>
                  </a:cubicBezTo>
                  <a:cubicBezTo>
                    <a:pt x="1175528" y="2133314"/>
                    <a:pt x="1226495" y="2157141"/>
                    <a:pt x="1307914" y="2156889"/>
                  </a:cubicBezTo>
                  <a:cubicBezTo>
                    <a:pt x="1489965" y="2155435"/>
                    <a:pt x="1621795" y="1990739"/>
                    <a:pt x="1726713" y="1829849"/>
                  </a:cubicBezTo>
                  <a:cubicBezTo>
                    <a:pt x="1789145" y="1734222"/>
                    <a:pt x="1813137" y="1684784"/>
                    <a:pt x="1861121" y="1577843"/>
                  </a:cubicBezTo>
                  <a:cubicBezTo>
                    <a:pt x="1871221" y="1555394"/>
                    <a:pt x="1871537" y="1529784"/>
                    <a:pt x="1862170" y="1507094"/>
                  </a:cubicBezTo>
                  <a:cubicBezTo>
                    <a:pt x="1852703" y="1484315"/>
                    <a:pt x="1834374" y="1466542"/>
                    <a:pt x="1811430" y="1457820"/>
                  </a:cubicBezTo>
                  <a:close/>
                  <a:moveTo>
                    <a:pt x="1074402" y="309425"/>
                  </a:moveTo>
                  <a:cubicBezTo>
                    <a:pt x="1109139" y="266940"/>
                    <a:pt x="1159702" y="230029"/>
                    <a:pt x="1212123" y="206441"/>
                  </a:cubicBezTo>
                  <a:cubicBezTo>
                    <a:pt x="1200329" y="257978"/>
                    <a:pt x="1175376" y="310234"/>
                    <a:pt x="1139426" y="356600"/>
                  </a:cubicBezTo>
                  <a:cubicBezTo>
                    <a:pt x="1103160" y="403611"/>
                    <a:pt x="1051219" y="440762"/>
                    <a:pt x="997837" y="460798"/>
                  </a:cubicBezTo>
                  <a:cubicBezTo>
                    <a:pt x="1010832" y="403282"/>
                    <a:pt x="1042093" y="348763"/>
                    <a:pt x="1074402" y="309425"/>
                  </a:cubicBezTo>
                  <a:close/>
                  <a:moveTo>
                    <a:pt x="1577110" y="1732287"/>
                  </a:moveTo>
                  <a:cubicBezTo>
                    <a:pt x="1533335" y="1799321"/>
                    <a:pt x="1417180" y="1977340"/>
                    <a:pt x="1306283" y="1978238"/>
                  </a:cubicBezTo>
                  <a:cubicBezTo>
                    <a:pt x="1271471" y="1978566"/>
                    <a:pt x="1241752" y="1967088"/>
                    <a:pt x="1203780" y="1949569"/>
                  </a:cubicBezTo>
                  <a:cubicBezTo>
                    <a:pt x="1150310" y="1924932"/>
                    <a:pt x="1077613" y="1894000"/>
                    <a:pt x="970357" y="1894973"/>
                  </a:cubicBezTo>
                  <a:cubicBezTo>
                    <a:pt x="858246" y="1895454"/>
                    <a:pt x="791364" y="1925501"/>
                    <a:pt x="737654" y="1949569"/>
                  </a:cubicBezTo>
                  <a:cubicBezTo>
                    <a:pt x="698240" y="1967177"/>
                    <a:pt x="678369" y="1978642"/>
                    <a:pt x="631599" y="1978490"/>
                  </a:cubicBezTo>
                  <a:cubicBezTo>
                    <a:pt x="529993" y="1977681"/>
                    <a:pt x="436944" y="1854751"/>
                    <a:pt x="367155" y="1747810"/>
                  </a:cubicBezTo>
                  <a:cubicBezTo>
                    <a:pt x="141316" y="1401872"/>
                    <a:pt x="140432" y="1027733"/>
                    <a:pt x="254160" y="851332"/>
                  </a:cubicBezTo>
                  <a:cubicBezTo>
                    <a:pt x="336059" y="724596"/>
                    <a:pt x="468609" y="642697"/>
                    <a:pt x="591945" y="642697"/>
                  </a:cubicBezTo>
                  <a:cubicBezTo>
                    <a:pt x="656728" y="642697"/>
                    <a:pt x="710995" y="662164"/>
                    <a:pt x="768510" y="682756"/>
                  </a:cubicBezTo>
                  <a:cubicBezTo>
                    <a:pt x="829653" y="704649"/>
                    <a:pt x="892819" y="727339"/>
                    <a:pt x="968903" y="727339"/>
                  </a:cubicBezTo>
                  <a:cubicBezTo>
                    <a:pt x="1041359" y="727339"/>
                    <a:pt x="1098141" y="705699"/>
                    <a:pt x="1153065" y="684778"/>
                  </a:cubicBezTo>
                  <a:cubicBezTo>
                    <a:pt x="1210252" y="663049"/>
                    <a:pt x="1264291" y="642457"/>
                    <a:pt x="1344572" y="642457"/>
                  </a:cubicBezTo>
                  <a:cubicBezTo>
                    <a:pt x="1427204" y="642457"/>
                    <a:pt x="1513135" y="678079"/>
                    <a:pt x="1586161" y="740511"/>
                  </a:cubicBezTo>
                  <a:cubicBezTo>
                    <a:pt x="1465000" y="846074"/>
                    <a:pt x="1399496" y="1001238"/>
                    <a:pt x="1411125" y="1166654"/>
                  </a:cubicBezTo>
                  <a:cubicBezTo>
                    <a:pt x="1423488" y="1343055"/>
                    <a:pt x="1517256" y="1495552"/>
                    <a:pt x="1662157" y="1583026"/>
                  </a:cubicBezTo>
                  <a:cubicBezTo>
                    <a:pt x="1637368" y="1634878"/>
                    <a:pt x="1616132" y="1672434"/>
                    <a:pt x="1577110" y="1732287"/>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05" name="Freeform: Shape 204">
              <a:extLst>
                <a:ext uri="{FF2B5EF4-FFF2-40B4-BE49-F238E27FC236}">
                  <a16:creationId xmlns:a16="http://schemas.microsoft.com/office/drawing/2014/main" id="{072F1A2F-817A-42AE-8330-221D7467BDF3}"/>
                </a:ext>
              </a:extLst>
            </p:cNvPr>
            <p:cNvSpPr/>
            <p:nvPr/>
          </p:nvSpPr>
          <p:spPr>
            <a:xfrm>
              <a:off x="-5462237" y="2762292"/>
              <a:ext cx="4390114" cy="5144764"/>
            </a:xfrm>
            <a:custGeom>
              <a:avLst/>
              <a:gdLst>
                <a:gd name="connsiteX0" fmla="*/ 4014774 w 4390114"/>
                <a:gd name="connsiteY0" fmla="*/ 886113 h 5144764"/>
                <a:gd name="connsiteX1" fmla="*/ 3198956 w 4390114"/>
                <a:gd name="connsiteY1" fmla="*/ 886113 h 5144764"/>
                <a:gd name="connsiteX2" fmla="*/ 2238946 w 4390114"/>
                <a:gd name="connsiteY2" fmla="*/ 948 h 5144764"/>
                <a:gd name="connsiteX3" fmla="*/ 1278935 w 4390114"/>
                <a:gd name="connsiteY3" fmla="*/ 886113 h 5144764"/>
                <a:gd name="connsiteX4" fmla="*/ 375315 w 4390114"/>
                <a:gd name="connsiteY4" fmla="*/ 886113 h 5144764"/>
                <a:gd name="connsiteX5" fmla="*/ 948 w 4390114"/>
                <a:gd name="connsiteY5" fmla="*/ 1260493 h 5144764"/>
                <a:gd name="connsiteX6" fmla="*/ 948 w 4390114"/>
                <a:gd name="connsiteY6" fmla="*/ 4769588 h 5144764"/>
                <a:gd name="connsiteX7" fmla="*/ 375315 w 4390114"/>
                <a:gd name="connsiteY7" fmla="*/ 5144044 h 5144764"/>
                <a:gd name="connsiteX8" fmla="*/ 4014774 w 4390114"/>
                <a:gd name="connsiteY8" fmla="*/ 5144044 h 5144764"/>
                <a:gd name="connsiteX9" fmla="*/ 4389230 w 4390114"/>
                <a:gd name="connsiteY9" fmla="*/ 4769588 h 5144764"/>
                <a:gd name="connsiteX10" fmla="*/ 4389230 w 4390114"/>
                <a:gd name="connsiteY10" fmla="*/ 1260493 h 5144764"/>
                <a:gd name="connsiteX11" fmla="*/ 4014774 w 4390114"/>
                <a:gd name="connsiteY11" fmla="*/ 886113 h 5144764"/>
                <a:gd name="connsiteX12" fmla="*/ 2238946 w 4390114"/>
                <a:gd name="connsiteY12" fmla="*/ 179612 h 5144764"/>
                <a:gd name="connsiteX13" fmla="*/ 3016311 w 4390114"/>
                <a:gd name="connsiteY13" fmla="*/ 886113 h 5144764"/>
                <a:gd name="connsiteX14" fmla="*/ 1461581 w 4390114"/>
                <a:gd name="connsiteY14" fmla="*/ 886113 h 5144764"/>
                <a:gd name="connsiteX15" fmla="*/ 2238946 w 4390114"/>
                <a:gd name="connsiteY15" fmla="*/ 179612 h 5144764"/>
                <a:gd name="connsiteX16" fmla="*/ 4210566 w 4390114"/>
                <a:gd name="connsiteY16" fmla="*/ 4769588 h 5144764"/>
                <a:gd name="connsiteX17" fmla="*/ 4014774 w 4390114"/>
                <a:gd name="connsiteY17" fmla="*/ 4965380 h 5144764"/>
                <a:gd name="connsiteX18" fmla="*/ 375315 w 4390114"/>
                <a:gd name="connsiteY18" fmla="*/ 4965380 h 5144764"/>
                <a:gd name="connsiteX19" fmla="*/ 179612 w 4390114"/>
                <a:gd name="connsiteY19" fmla="*/ 4769588 h 5144764"/>
                <a:gd name="connsiteX20" fmla="*/ 179612 w 4390114"/>
                <a:gd name="connsiteY20" fmla="*/ 1260493 h 5144764"/>
                <a:gd name="connsiteX21" fmla="*/ 375315 w 4390114"/>
                <a:gd name="connsiteY21" fmla="*/ 1064789 h 5144764"/>
                <a:gd name="connsiteX22" fmla="*/ 4014774 w 4390114"/>
                <a:gd name="connsiteY22" fmla="*/ 1064789 h 5144764"/>
                <a:gd name="connsiteX23" fmla="*/ 4210566 w 4390114"/>
                <a:gd name="connsiteY23" fmla="*/ 1260493 h 5144764"/>
                <a:gd name="connsiteX24" fmla="*/ 4210566 w 4390114"/>
                <a:gd name="connsiteY24" fmla="*/ 4769588 h 514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390114" h="5144764">
                  <a:moveTo>
                    <a:pt x="4014774" y="886113"/>
                  </a:moveTo>
                  <a:lnTo>
                    <a:pt x="3198956" y="886113"/>
                  </a:lnTo>
                  <a:cubicBezTo>
                    <a:pt x="3158632" y="391394"/>
                    <a:pt x="2743904" y="948"/>
                    <a:pt x="2238946" y="948"/>
                  </a:cubicBezTo>
                  <a:cubicBezTo>
                    <a:pt x="1733988" y="948"/>
                    <a:pt x="1319259" y="391394"/>
                    <a:pt x="1278935" y="886113"/>
                  </a:cubicBezTo>
                  <a:lnTo>
                    <a:pt x="375315" y="886113"/>
                  </a:lnTo>
                  <a:cubicBezTo>
                    <a:pt x="168867" y="886113"/>
                    <a:pt x="948" y="1054045"/>
                    <a:pt x="948" y="1260493"/>
                  </a:cubicBezTo>
                  <a:lnTo>
                    <a:pt x="948" y="4769588"/>
                  </a:lnTo>
                  <a:cubicBezTo>
                    <a:pt x="948" y="4976036"/>
                    <a:pt x="168867" y="5144044"/>
                    <a:pt x="375315" y="5144044"/>
                  </a:cubicBezTo>
                  <a:lnTo>
                    <a:pt x="4014774" y="5144044"/>
                  </a:lnTo>
                  <a:cubicBezTo>
                    <a:pt x="4221222" y="5144044"/>
                    <a:pt x="4389230" y="4976036"/>
                    <a:pt x="4389230" y="4769588"/>
                  </a:cubicBezTo>
                  <a:lnTo>
                    <a:pt x="4389230" y="1260493"/>
                  </a:lnTo>
                  <a:cubicBezTo>
                    <a:pt x="4389230" y="1054045"/>
                    <a:pt x="4221234" y="886113"/>
                    <a:pt x="4014774" y="886113"/>
                  </a:cubicBezTo>
                  <a:close/>
                  <a:moveTo>
                    <a:pt x="2238946" y="179612"/>
                  </a:moveTo>
                  <a:cubicBezTo>
                    <a:pt x="2644977" y="179612"/>
                    <a:pt x="2976126" y="490497"/>
                    <a:pt x="3016311" y="886113"/>
                  </a:cubicBezTo>
                  <a:lnTo>
                    <a:pt x="1461581" y="886113"/>
                  </a:lnTo>
                  <a:cubicBezTo>
                    <a:pt x="1501765" y="490497"/>
                    <a:pt x="1832914" y="179612"/>
                    <a:pt x="2238946" y="179612"/>
                  </a:cubicBezTo>
                  <a:close/>
                  <a:moveTo>
                    <a:pt x="4210566" y="4769588"/>
                  </a:moveTo>
                  <a:cubicBezTo>
                    <a:pt x="4210566" y="4877578"/>
                    <a:pt x="4122763" y="4965380"/>
                    <a:pt x="4014774" y="4965380"/>
                  </a:cubicBezTo>
                  <a:lnTo>
                    <a:pt x="375315" y="4965380"/>
                  </a:lnTo>
                  <a:cubicBezTo>
                    <a:pt x="267401" y="4965380"/>
                    <a:pt x="179612" y="4877578"/>
                    <a:pt x="179612" y="4769588"/>
                  </a:cubicBezTo>
                  <a:lnTo>
                    <a:pt x="179612" y="1260493"/>
                  </a:lnTo>
                  <a:cubicBezTo>
                    <a:pt x="179612" y="1152579"/>
                    <a:pt x="267414" y="1064789"/>
                    <a:pt x="375315" y="1064789"/>
                  </a:cubicBezTo>
                  <a:lnTo>
                    <a:pt x="4014774" y="1064789"/>
                  </a:lnTo>
                  <a:cubicBezTo>
                    <a:pt x="4122763" y="1064789"/>
                    <a:pt x="4210566" y="1152592"/>
                    <a:pt x="4210566" y="1260493"/>
                  </a:cubicBezTo>
                  <a:lnTo>
                    <a:pt x="4210566" y="4769588"/>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grpSp>
      <p:grpSp>
        <p:nvGrpSpPr>
          <p:cNvPr id="206" name="Graphic 47">
            <a:extLst>
              <a:ext uri="{FF2B5EF4-FFF2-40B4-BE49-F238E27FC236}">
                <a16:creationId xmlns:a16="http://schemas.microsoft.com/office/drawing/2014/main" id="{D32F35E9-CADC-4FA6-89C4-B162C15F4D35}"/>
              </a:ext>
            </a:extLst>
          </p:cNvPr>
          <p:cNvGrpSpPr/>
          <p:nvPr/>
        </p:nvGrpSpPr>
        <p:grpSpPr>
          <a:xfrm>
            <a:off x="5559051" y="1957351"/>
            <a:ext cx="206872" cy="220219"/>
            <a:chOff x="-5049818" y="2602878"/>
            <a:chExt cx="4831773" cy="5143500"/>
          </a:xfrm>
          <a:solidFill>
            <a:schemeClr val="accent2"/>
          </a:solidFill>
        </p:grpSpPr>
        <p:sp>
          <p:nvSpPr>
            <p:cNvPr id="207" name="Freeform: Shape 206">
              <a:extLst>
                <a:ext uri="{FF2B5EF4-FFF2-40B4-BE49-F238E27FC236}">
                  <a16:creationId xmlns:a16="http://schemas.microsoft.com/office/drawing/2014/main" id="{B2D62F43-1B8B-4FC3-A573-ED7E6791C354}"/>
                </a:ext>
              </a:extLst>
            </p:cNvPr>
            <p:cNvSpPr/>
            <p:nvPr/>
          </p:nvSpPr>
          <p:spPr>
            <a:xfrm>
              <a:off x="-4426032" y="2601086"/>
              <a:ext cx="2817535" cy="2299588"/>
            </a:xfrm>
            <a:custGeom>
              <a:avLst/>
              <a:gdLst>
                <a:gd name="connsiteX0" fmla="*/ 2127304 w 2817535"/>
                <a:gd name="connsiteY0" fmla="*/ 2299318 h 2299588"/>
                <a:gd name="connsiteX1" fmla="*/ 2062896 w 2817535"/>
                <a:gd name="connsiteY1" fmla="*/ 2271886 h 2299588"/>
                <a:gd name="connsiteX2" fmla="*/ 1652830 w 2817535"/>
                <a:gd name="connsiteY2" fmla="*/ 1845419 h 2299588"/>
                <a:gd name="connsiteX3" fmla="*/ 26669 w 2817535"/>
                <a:gd name="connsiteY3" fmla="*/ 153051 h 2299588"/>
                <a:gd name="connsiteX4" fmla="*/ 20602 w 2817535"/>
                <a:gd name="connsiteY4" fmla="*/ 36321 h 2299588"/>
                <a:gd name="connsiteX5" fmla="*/ 135270 w 2817535"/>
                <a:gd name="connsiteY5" fmla="*/ 13469 h 2299588"/>
                <a:gd name="connsiteX6" fmla="*/ 1861879 w 2817535"/>
                <a:gd name="connsiteY6" fmla="*/ 990662 h 2299588"/>
                <a:gd name="connsiteX7" fmla="*/ 2771716 w 2817535"/>
                <a:gd name="connsiteY7" fmla="*/ 1505084 h 2299588"/>
                <a:gd name="connsiteX8" fmla="*/ 2815357 w 2817535"/>
                <a:gd name="connsiteY8" fmla="*/ 1565512 h 2299588"/>
                <a:gd name="connsiteX9" fmla="*/ 2797997 w 2817535"/>
                <a:gd name="connsiteY9" fmla="*/ 1638000 h 2299588"/>
                <a:gd name="connsiteX10" fmla="*/ 2752988 w 2817535"/>
                <a:gd name="connsiteY10" fmla="*/ 1687421 h 2299588"/>
                <a:gd name="connsiteX11" fmla="*/ 2191807 w 2817535"/>
                <a:gd name="connsiteY11" fmla="*/ 2271790 h 2299588"/>
                <a:gd name="connsiteX12" fmla="*/ 2127399 w 2817535"/>
                <a:gd name="connsiteY12" fmla="*/ 2299318 h 2299588"/>
                <a:gd name="connsiteX13" fmla="*/ 2127304 w 2817535"/>
                <a:gd name="connsiteY13" fmla="*/ 2299318 h 2299588"/>
                <a:gd name="connsiteX14" fmla="*/ 579218 w 2817535"/>
                <a:gd name="connsiteY14" fmla="*/ 470533 h 2299588"/>
                <a:gd name="connsiteX15" fmla="*/ 1781646 w 2817535"/>
                <a:gd name="connsiteY15" fmla="*/ 1721543 h 2299588"/>
                <a:gd name="connsiteX16" fmla="*/ 2127231 w 2817535"/>
                <a:gd name="connsiteY16" fmla="*/ 2080965 h 2299588"/>
                <a:gd name="connsiteX17" fmla="*/ 2584583 w 2817535"/>
                <a:gd name="connsiteY17" fmla="*/ 1604597 h 2299588"/>
                <a:gd name="connsiteX18" fmla="*/ 1773948 w 2817535"/>
                <a:gd name="connsiteY18" fmla="*/ 1146238 h 2299588"/>
                <a:gd name="connsiteX19" fmla="*/ 579218 w 2817535"/>
                <a:gd name="connsiteY19" fmla="*/ 470533 h 229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17535" h="2299588">
                  <a:moveTo>
                    <a:pt x="2127304" y="2299318"/>
                  </a:moveTo>
                  <a:cubicBezTo>
                    <a:pt x="2102989" y="2299318"/>
                    <a:pt x="2079705" y="2289390"/>
                    <a:pt x="2062896" y="2271886"/>
                  </a:cubicBezTo>
                  <a:lnTo>
                    <a:pt x="1652830" y="1845419"/>
                  </a:lnTo>
                  <a:cubicBezTo>
                    <a:pt x="1110569" y="1281480"/>
                    <a:pt x="568307" y="717565"/>
                    <a:pt x="26669" y="153051"/>
                  </a:cubicBezTo>
                  <a:cubicBezTo>
                    <a:pt x="-4024" y="121039"/>
                    <a:pt x="-6614" y="71331"/>
                    <a:pt x="20602" y="36321"/>
                  </a:cubicBezTo>
                  <a:cubicBezTo>
                    <a:pt x="47842" y="1288"/>
                    <a:pt x="96400" y="-8471"/>
                    <a:pt x="135270" y="13469"/>
                  </a:cubicBezTo>
                  <a:cubicBezTo>
                    <a:pt x="710431" y="339872"/>
                    <a:pt x="1286143" y="665267"/>
                    <a:pt x="1861879" y="990662"/>
                  </a:cubicBezTo>
                  <a:lnTo>
                    <a:pt x="2771716" y="1505084"/>
                  </a:lnTo>
                  <a:cubicBezTo>
                    <a:pt x="2794352" y="1517913"/>
                    <a:pt x="2810250" y="1539974"/>
                    <a:pt x="2815357" y="1565512"/>
                  </a:cubicBezTo>
                  <a:cubicBezTo>
                    <a:pt x="2820369" y="1591049"/>
                    <a:pt x="2814062" y="1617522"/>
                    <a:pt x="2797997" y="1638000"/>
                  </a:cubicBezTo>
                  <a:cubicBezTo>
                    <a:pt x="2784257" y="1655553"/>
                    <a:pt x="2768670" y="1671571"/>
                    <a:pt x="2752988" y="1687421"/>
                  </a:cubicBezTo>
                  <a:lnTo>
                    <a:pt x="2191807" y="2271790"/>
                  </a:lnTo>
                  <a:cubicBezTo>
                    <a:pt x="2174998" y="2289342"/>
                    <a:pt x="2151738" y="2299294"/>
                    <a:pt x="2127399" y="2299318"/>
                  </a:cubicBezTo>
                  <a:lnTo>
                    <a:pt x="2127304" y="2299318"/>
                  </a:lnTo>
                  <a:close/>
                  <a:moveTo>
                    <a:pt x="579218" y="470533"/>
                  </a:moveTo>
                  <a:cubicBezTo>
                    <a:pt x="979835" y="887697"/>
                    <a:pt x="1380788" y="1304596"/>
                    <a:pt x="1781646" y="1721543"/>
                  </a:cubicBezTo>
                  <a:lnTo>
                    <a:pt x="2127231" y="2080965"/>
                  </a:lnTo>
                  <a:lnTo>
                    <a:pt x="2584583" y="1604597"/>
                  </a:lnTo>
                  <a:lnTo>
                    <a:pt x="1773948" y="1146238"/>
                  </a:lnTo>
                  <a:cubicBezTo>
                    <a:pt x="1375609" y="921123"/>
                    <a:pt x="977317" y="696008"/>
                    <a:pt x="579218" y="47053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08" name="Freeform: Shape 207">
              <a:extLst>
                <a:ext uri="{FF2B5EF4-FFF2-40B4-BE49-F238E27FC236}">
                  <a16:creationId xmlns:a16="http://schemas.microsoft.com/office/drawing/2014/main" id="{A23B52BA-A8CB-4F74-97D1-1294C6D86FD7}"/>
                </a:ext>
              </a:extLst>
            </p:cNvPr>
            <p:cNvSpPr/>
            <p:nvPr/>
          </p:nvSpPr>
          <p:spPr>
            <a:xfrm>
              <a:off x="-5051616" y="2735277"/>
              <a:ext cx="2484227" cy="4901312"/>
            </a:xfrm>
            <a:custGeom>
              <a:avLst/>
              <a:gdLst>
                <a:gd name="connsiteX0" fmla="*/ 117185 w 2484226"/>
                <a:gd name="connsiteY0" fmla="*/ 4900821 h 4901311"/>
                <a:gd name="connsiteX1" fmla="*/ 32108 w 2484226"/>
                <a:gd name="connsiteY1" fmla="*/ 4838835 h 4901311"/>
                <a:gd name="connsiteX2" fmla="*/ 1798 w 2484226"/>
                <a:gd name="connsiteY2" fmla="*/ 4684674 h 4901311"/>
                <a:gd name="connsiteX3" fmla="*/ 1798 w 2484226"/>
                <a:gd name="connsiteY3" fmla="*/ 248148 h 4901311"/>
                <a:gd name="connsiteX4" fmla="*/ 44457 w 2484226"/>
                <a:gd name="connsiteY4" fmla="*/ 56531 h 4901311"/>
                <a:gd name="connsiteX5" fmla="*/ 105700 w 2484226"/>
                <a:gd name="connsiteY5" fmla="*/ 4329 h 4901311"/>
                <a:gd name="connsiteX6" fmla="*/ 184087 w 2484226"/>
                <a:gd name="connsiteY6" fmla="*/ 22601 h 4901311"/>
                <a:gd name="connsiteX7" fmla="*/ 206076 w 2484226"/>
                <a:gd name="connsiteY7" fmla="*/ 42695 h 4901311"/>
                <a:gd name="connsiteX8" fmla="*/ 1239788 w 2484226"/>
                <a:gd name="connsiteY8" fmla="*/ 1118226 h 4901311"/>
                <a:gd name="connsiteX9" fmla="*/ 2458449 w 2484226"/>
                <a:gd name="connsiteY9" fmla="*/ 2386501 h 4901311"/>
                <a:gd name="connsiteX10" fmla="*/ 2458449 w 2484226"/>
                <a:gd name="connsiteY10" fmla="*/ 2510281 h 4901311"/>
                <a:gd name="connsiteX11" fmla="*/ 198402 w 2484226"/>
                <a:gd name="connsiteY11" fmla="*/ 4862119 h 4901311"/>
                <a:gd name="connsiteX12" fmla="*/ 142819 w 2484226"/>
                <a:gd name="connsiteY12" fmla="*/ 4897056 h 4901311"/>
                <a:gd name="connsiteX13" fmla="*/ 117185 w 2484226"/>
                <a:gd name="connsiteY13" fmla="*/ 4900821 h 4901311"/>
                <a:gd name="connsiteX14" fmla="*/ 69515 w 2484226"/>
                <a:gd name="connsiteY14" fmla="*/ 4738411 h 4901311"/>
                <a:gd name="connsiteX15" fmla="*/ 66925 w 2484226"/>
                <a:gd name="connsiteY15" fmla="*/ 4741097 h 4901311"/>
                <a:gd name="connsiteX16" fmla="*/ 69515 w 2484226"/>
                <a:gd name="connsiteY16" fmla="*/ 4738411 h 4901311"/>
                <a:gd name="connsiteX17" fmla="*/ 180442 w 2484226"/>
                <a:gd name="connsiteY17" fmla="*/ 273925 h 4901311"/>
                <a:gd name="connsiteX18" fmla="*/ 180514 w 2484226"/>
                <a:gd name="connsiteY18" fmla="*/ 4622832 h 4901311"/>
                <a:gd name="connsiteX19" fmla="*/ 2270070 w 2484226"/>
                <a:gd name="connsiteY19" fmla="*/ 2448319 h 4901311"/>
                <a:gd name="connsiteX20" fmla="*/ 1110972 w 2484226"/>
                <a:gd name="connsiteY20" fmla="*/ 1242102 h 4901311"/>
                <a:gd name="connsiteX21" fmla="*/ 180442 w 2484226"/>
                <a:gd name="connsiteY21" fmla="*/ 273925 h 490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84226" h="4901311">
                  <a:moveTo>
                    <a:pt x="117185" y="4900821"/>
                  </a:moveTo>
                  <a:cubicBezTo>
                    <a:pt x="79371" y="4900821"/>
                    <a:pt x="44289" y="4876650"/>
                    <a:pt x="32108" y="4838835"/>
                  </a:cubicBezTo>
                  <a:cubicBezTo>
                    <a:pt x="17001" y="4791885"/>
                    <a:pt x="2854" y="4740689"/>
                    <a:pt x="1798" y="4684674"/>
                  </a:cubicBezTo>
                  <a:lnTo>
                    <a:pt x="1798" y="248148"/>
                  </a:lnTo>
                  <a:cubicBezTo>
                    <a:pt x="4052" y="181942"/>
                    <a:pt x="18368" y="118517"/>
                    <a:pt x="44457" y="56531"/>
                  </a:cubicBezTo>
                  <a:cubicBezTo>
                    <a:pt x="55440" y="30394"/>
                    <a:pt x="78148" y="11019"/>
                    <a:pt x="105700" y="4329"/>
                  </a:cubicBezTo>
                  <a:cubicBezTo>
                    <a:pt x="133180" y="-2385"/>
                    <a:pt x="162338" y="4449"/>
                    <a:pt x="184087" y="22601"/>
                  </a:cubicBezTo>
                  <a:cubicBezTo>
                    <a:pt x="191760" y="28979"/>
                    <a:pt x="199122" y="35622"/>
                    <a:pt x="206076" y="42695"/>
                  </a:cubicBezTo>
                  <a:lnTo>
                    <a:pt x="1239788" y="1118226"/>
                  </a:lnTo>
                  <a:cubicBezTo>
                    <a:pt x="1646136" y="1540857"/>
                    <a:pt x="2052509" y="1963463"/>
                    <a:pt x="2458449" y="2386501"/>
                  </a:cubicBezTo>
                  <a:cubicBezTo>
                    <a:pt x="2491660" y="2421103"/>
                    <a:pt x="2491660" y="2475703"/>
                    <a:pt x="2458449" y="2510281"/>
                  </a:cubicBezTo>
                  <a:lnTo>
                    <a:pt x="198402" y="4862119"/>
                  </a:lnTo>
                  <a:cubicBezTo>
                    <a:pt x="184998" y="4877418"/>
                    <a:pt x="164880" y="4890462"/>
                    <a:pt x="142819" y="4897056"/>
                  </a:cubicBezTo>
                  <a:cubicBezTo>
                    <a:pt x="134235" y="4899622"/>
                    <a:pt x="125578" y="4900821"/>
                    <a:pt x="117185" y="4900821"/>
                  </a:cubicBezTo>
                  <a:close/>
                  <a:moveTo>
                    <a:pt x="69515" y="4738411"/>
                  </a:moveTo>
                  <a:cubicBezTo>
                    <a:pt x="68556" y="4739275"/>
                    <a:pt x="67741" y="4740162"/>
                    <a:pt x="66925" y="4741097"/>
                  </a:cubicBezTo>
                  <a:lnTo>
                    <a:pt x="69515" y="4738411"/>
                  </a:lnTo>
                  <a:close/>
                  <a:moveTo>
                    <a:pt x="180442" y="273925"/>
                  </a:moveTo>
                  <a:lnTo>
                    <a:pt x="180514" y="4622832"/>
                  </a:lnTo>
                  <a:lnTo>
                    <a:pt x="2270070" y="2448319"/>
                  </a:lnTo>
                  <a:cubicBezTo>
                    <a:pt x="1883936" y="2045999"/>
                    <a:pt x="1497466" y="1644062"/>
                    <a:pt x="1110972" y="1242102"/>
                  </a:cubicBezTo>
                  <a:lnTo>
                    <a:pt x="180442" y="273925"/>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09" name="Freeform: Shape 208">
              <a:extLst>
                <a:ext uri="{FF2B5EF4-FFF2-40B4-BE49-F238E27FC236}">
                  <a16:creationId xmlns:a16="http://schemas.microsoft.com/office/drawing/2014/main" id="{3F5DB252-AE1C-4C4B-B647-A15EF3C926EA}"/>
                </a:ext>
              </a:extLst>
            </p:cNvPr>
            <p:cNvSpPr/>
            <p:nvPr/>
          </p:nvSpPr>
          <p:spPr>
            <a:xfrm>
              <a:off x="-2031450" y="4355887"/>
              <a:ext cx="1812814" cy="1649757"/>
            </a:xfrm>
            <a:custGeom>
              <a:avLst/>
              <a:gdLst>
                <a:gd name="connsiteX0" fmla="*/ 793265 w 1812814"/>
                <a:gd name="connsiteY0" fmla="*/ 1648272 h 1649756"/>
                <a:gd name="connsiteX1" fmla="*/ 728953 w 1812814"/>
                <a:gd name="connsiteY1" fmla="*/ 1620912 h 1649756"/>
                <a:gd name="connsiteX2" fmla="*/ 26608 w 1812814"/>
                <a:gd name="connsiteY2" fmla="*/ 889072 h 1649756"/>
                <a:gd name="connsiteX3" fmla="*/ 26680 w 1812814"/>
                <a:gd name="connsiteY3" fmla="*/ 765388 h 1649756"/>
                <a:gd name="connsiteX4" fmla="*/ 733869 w 1812814"/>
                <a:gd name="connsiteY4" fmla="*/ 29304 h 1649756"/>
                <a:gd name="connsiteX5" fmla="*/ 842063 w 1812814"/>
                <a:gd name="connsiteY5" fmla="*/ 13214 h 1649756"/>
                <a:gd name="connsiteX6" fmla="*/ 1525249 w 1812814"/>
                <a:gd name="connsiteY6" fmla="*/ 398917 h 1649756"/>
                <a:gd name="connsiteX7" fmla="*/ 1629006 w 1812814"/>
                <a:gd name="connsiteY7" fmla="*/ 463444 h 1649756"/>
                <a:gd name="connsiteX8" fmla="*/ 1806211 w 1812814"/>
                <a:gd name="connsiteY8" fmla="*/ 746061 h 1649756"/>
                <a:gd name="connsiteX9" fmla="*/ 1756119 w 1812814"/>
                <a:gd name="connsiteY9" fmla="*/ 1034984 h 1649756"/>
                <a:gd name="connsiteX10" fmla="*/ 1552081 w 1812814"/>
                <a:gd name="connsiteY10" fmla="*/ 1232907 h 1649756"/>
                <a:gd name="connsiteX11" fmla="*/ 882875 w 1812814"/>
                <a:gd name="connsiteY11" fmla="*/ 1612279 h 1649756"/>
                <a:gd name="connsiteX12" fmla="*/ 828490 w 1812814"/>
                <a:gd name="connsiteY12" fmla="*/ 1641054 h 1649756"/>
                <a:gd name="connsiteX13" fmla="*/ 793265 w 1812814"/>
                <a:gd name="connsiteY13" fmla="*/ 1648272 h 1649756"/>
                <a:gd name="connsiteX14" fmla="*/ 214963 w 1812814"/>
                <a:gd name="connsiteY14" fmla="*/ 827422 h 1649756"/>
                <a:gd name="connsiteX15" fmla="*/ 810410 w 1812814"/>
                <a:gd name="connsiteY15" fmla="*/ 1447855 h 1649756"/>
                <a:gd name="connsiteX16" fmla="*/ 1464582 w 1812814"/>
                <a:gd name="connsiteY16" fmla="*/ 1077043 h 1649756"/>
                <a:gd name="connsiteX17" fmla="*/ 1600423 w 1812814"/>
                <a:gd name="connsiteY17" fmla="*/ 947317 h 1649756"/>
                <a:gd name="connsiteX18" fmla="*/ 1630493 w 1812814"/>
                <a:gd name="connsiteY18" fmla="*/ 778601 h 1649756"/>
                <a:gd name="connsiteX19" fmla="*/ 1521005 w 1812814"/>
                <a:gd name="connsiteY19" fmla="*/ 605784 h 1649756"/>
                <a:gd name="connsiteX20" fmla="*/ 1438996 w 1812814"/>
                <a:gd name="connsiteY20" fmla="*/ 555404 h 1649756"/>
                <a:gd name="connsiteX21" fmla="*/ 814798 w 1812814"/>
                <a:gd name="connsiteY21" fmla="*/ 203032 h 1649756"/>
                <a:gd name="connsiteX22" fmla="*/ 214963 w 1812814"/>
                <a:gd name="connsiteY22" fmla="*/ 827422 h 164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12814" h="1649756">
                  <a:moveTo>
                    <a:pt x="793265" y="1648272"/>
                  </a:moveTo>
                  <a:cubicBezTo>
                    <a:pt x="769502" y="1648272"/>
                    <a:pt x="746146" y="1638776"/>
                    <a:pt x="728953" y="1620912"/>
                  </a:cubicBezTo>
                  <a:cubicBezTo>
                    <a:pt x="494295" y="1377525"/>
                    <a:pt x="260451" y="1133346"/>
                    <a:pt x="26608" y="889072"/>
                  </a:cubicBezTo>
                  <a:cubicBezTo>
                    <a:pt x="-6531" y="854470"/>
                    <a:pt x="-6435" y="799918"/>
                    <a:pt x="26680" y="765388"/>
                  </a:cubicBezTo>
                  <a:lnTo>
                    <a:pt x="733869" y="29304"/>
                  </a:lnTo>
                  <a:cubicBezTo>
                    <a:pt x="762069" y="-94"/>
                    <a:pt x="806501" y="-6688"/>
                    <a:pt x="842063" y="13214"/>
                  </a:cubicBezTo>
                  <a:lnTo>
                    <a:pt x="1525249" y="398917"/>
                  </a:lnTo>
                  <a:cubicBezTo>
                    <a:pt x="1560953" y="418604"/>
                    <a:pt x="1596515" y="438602"/>
                    <a:pt x="1629006" y="463444"/>
                  </a:cubicBezTo>
                  <a:cubicBezTo>
                    <a:pt x="1721757" y="533271"/>
                    <a:pt x="1786500" y="636429"/>
                    <a:pt x="1806211" y="746061"/>
                  </a:cubicBezTo>
                  <a:cubicBezTo>
                    <a:pt x="1824387" y="841234"/>
                    <a:pt x="1806690" y="944200"/>
                    <a:pt x="1756119" y="1034984"/>
                  </a:cubicBezTo>
                  <a:cubicBezTo>
                    <a:pt x="1709983" y="1116129"/>
                    <a:pt x="1639605" y="1184350"/>
                    <a:pt x="1552081" y="1232907"/>
                  </a:cubicBezTo>
                  <a:lnTo>
                    <a:pt x="882875" y="1612279"/>
                  </a:lnTo>
                  <a:cubicBezTo>
                    <a:pt x="865178" y="1622734"/>
                    <a:pt x="847314" y="1632949"/>
                    <a:pt x="828490" y="1641054"/>
                  </a:cubicBezTo>
                  <a:cubicBezTo>
                    <a:pt x="817100" y="1645922"/>
                    <a:pt x="805135" y="1648272"/>
                    <a:pt x="793265" y="1648272"/>
                  </a:cubicBezTo>
                  <a:close/>
                  <a:moveTo>
                    <a:pt x="214963" y="827422"/>
                  </a:moveTo>
                  <a:cubicBezTo>
                    <a:pt x="413245" y="1034481"/>
                    <a:pt x="611552" y="1241444"/>
                    <a:pt x="810410" y="1447855"/>
                  </a:cubicBezTo>
                  <a:lnTo>
                    <a:pt x="1464582" y="1077043"/>
                  </a:lnTo>
                  <a:cubicBezTo>
                    <a:pt x="1524122" y="1043977"/>
                    <a:pt x="1570833" y="999280"/>
                    <a:pt x="1600423" y="947317"/>
                  </a:cubicBezTo>
                  <a:cubicBezTo>
                    <a:pt x="1629749" y="894611"/>
                    <a:pt x="1640828" y="832865"/>
                    <a:pt x="1630493" y="778601"/>
                  </a:cubicBezTo>
                  <a:cubicBezTo>
                    <a:pt x="1618527" y="711843"/>
                    <a:pt x="1578626" y="649210"/>
                    <a:pt x="1521005" y="605784"/>
                  </a:cubicBezTo>
                  <a:cubicBezTo>
                    <a:pt x="1495059" y="585953"/>
                    <a:pt x="1466956" y="570822"/>
                    <a:pt x="1438996" y="555404"/>
                  </a:cubicBezTo>
                  <a:lnTo>
                    <a:pt x="814798" y="203032"/>
                  </a:lnTo>
                  <a:lnTo>
                    <a:pt x="214963" y="827422"/>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10" name="Freeform: Shape 209">
              <a:extLst>
                <a:ext uri="{FF2B5EF4-FFF2-40B4-BE49-F238E27FC236}">
                  <a16:creationId xmlns:a16="http://schemas.microsoft.com/office/drawing/2014/main" id="{B255A1FF-DDF5-451B-9B19-21248AE3C298}"/>
                </a:ext>
              </a:extLst>
            </p:cNvPr>
            <p:cNvSpPr/>
            <p:nvPr/>
          </p:nvSpPr>
          <p:spPr>
            <a:xfrm>
              <a:off x="-4408444" y="5465733"/>
              <a:ext cx="2795954" cy="2280405"/>
            </a:xfrm>
            <a:custGeom>
              <a:avLst/>
              <a:gdLst>
                <a:gd name="connsiteX0" fmla="*/ 91257 w 2795954"/>
                <a:gd name="connsiteY0" fmla="*/ 2280429 h 2280404"/>
                <a:gd name="connsiteX1" fmla="*/ 19104 w 2795954"/>
                <a:gd name="connsiteY1" fmla="*/ 2243933 h 2280404"/>
                <a:gd name="connsiteX2" fmla="*/ 26777 w 2795954"/>
                <a:gd name="connsiteY2" fmla="*/ 2129121 h 2280404"/>
                <a:gd name="connsiteX3" fmla="*/ 1368188 w 2795954"/>
                <a:gd name="connsiteY3" fmla="*/ 733590 h 2280404"/>
                <a:gd name="connsiteX4" fmla="*/ 2044924 w 2795954"/>
                <a:gd name="connsiteY4" fmla="*/ 29254 h 2280404"/>
                <a:gd name="connsiteX5" fmla="*/ 2109164 w 2795954"/>
                <a:gd name="connsiteY5" fmla="*/ 1798 h 2280404"/>
                <a:gd name="connsiteX6" fmla="*/ 2109332 w 2795954"/>
                <a:gd name="connsiteY6" fmla="*/ 1798 h 2280404"/>
                <a:gd name="connsiteX7" fmla="*/ 2173571 w 2795954"/>
                <a:gd name="connsiteY7" fmla="*/ 29039 h 2280404"/>
                <a:gd name="connsiteX8" fmla="*/ 2627278 w 2795954"/>
                <a:gd name="connsiteY8" fmla="*/ 500946 h 2280404"/>
                <a:gd name="connsiteX9" fmla="*/ 2692813 w 2795954"/>
                <a:gd name="connsiteY9" fmla="*/ 569574 h 2280404"/>
                <a:gd name="connsiteX10" fmla="*/ 2771920 w 2795954"/>
                <a:gd name="connsiteY10" fmla="*/ 652853 h 2280404"/>
                <a:gd name="connsiteX11" fmla="*/ 2793981 w 2795954"/>
                <a:gd name="connsiteY11" fmla="*/ 727140 h 2280404"/>
                <a:gd name="connsiteX12" fmla="*/ 2749691 w 2795954"/>
                <a:gd name="connsiteY12" fmla="*/ 790756 h 2280404"/>
                <a:gd name="connsiteX13" fmla="*/ 2558506 w 2795954"/>
                <a:gd name="connsiteY13" fmla="*/ 898830 h 2280404"/>
                <a:gd name="connsiteX14" fmla="*/ 302728 w 2795954"/>
                <a:gd name="connsiteY14" fmla="*/ 2175809 h 2280404"/>
                <a:gd name="connsiteX15" fmla="*/ 241150 w 2795954"/>
                <a:gd name="connsiteY15" fmla="*/ 2210698 h 2280404"/>
                <a:gd name="connsiteX16" fmla="*/ 130942 w 2795954"/>
                <a:gd name="connsiteY16" fmla="*/ 2271125 h 2280404"/>
                <a:gd name="connsiteX17" fmla="*/ 91257 w 2795954"/>
                <a:gd name="connsiteY17" fmla="*/ 2280429 h 2280404"/>
                <a:gd name="connsiteX18" fmla="*/ 2109308 w 2795954"/>
                <a:gd name="connsiteY18" fmla="*/ 220103 h 2280404"/>
                <a:gd name="connsiteX19" fmla="*/ 1497075 w 2795954"/>
                <a:gd name="connsiteY19" fmla="*/ 857394 h 2280404"/>
                <a:gd name="connsiteX20" fmla="*/ 577456 w 2795954"/>
                <a:gd name="connsiteY20" fmla="*/ 1814397 h 2280404"/>
                <a:gd name="connsiteX21" fmla="*/ 2470576 w 2795954"/>
                <a:gd name="connsiteY21" fmla="*/ 743182 h 2280404"/>
                <a:gd name="connsiteX22" fmla="*/ 2562056 w 2795954"/>
                <a:gd name="connsiteY22" fmla="*/ 691459 h 2280404"/>
                <a:gd name="connsiteX23" fmla="*/ 2497408 w 2795954"/>
                <a:gd name="connsiteY23" fmla="*/ 623718 h 2280404"/>
                <a:gd name="connsiteX24" fmla="*/ 2109308 w 2795954"/>
                <a:gd name="connsiteY24" fmla="*/ 220103 h 228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95954" h="2280404">
                  <a:moveTo>
                    <a:pt x="91257" y="2280429"/>
                  </a:moveTo>
                  <a:cubicBezTo>
                    <a:pt x="63537" y="2280429"/>
                    <a:pt x="36465" y="2267528"/>
                    <a:pt x="19104" y="2243933"/>
                  </a:cubicBezTo>
                  <a:cubicBezTo>
                    <a:pt x="-6601" y="2208876"/>
                    <a:pt x="-3364" y="2160414"/>
                    <a:pt x="26777" y="2129121"/>
                  </a:cubicBezTo>
                  <a:cubicBezTo>
                    <a:pt x="474178" y="1664192"/>
                    <a:pt x="921195" y="1198903"/>
                    <a:pt x="1368188" y="733590"/>
                  </a:cubicBezTo>
                  <a:lnTo>
                    <a:pt x="2044924" y="29254"/>
                  </a:lnTo>
                  <a:cubicBezTo>
                    <a:pt x="2061733" y="11750"/>
                    <a:pt x="2084921" y="1846"/>
                    <a:pt x="2109164" y="1798"/>
                  </a:cubicBezTo>
                  <a:cubicBezTo>
                    <a:pt x="2109236" y="1798"/>
                    <a:pt x="2109236" y="1798"/>
                    <a:pt x="2109332" y="1798"/>
                  </a:cubicBezTo>
                  <a:cubicBezTo>
                    <a:pt x="2133574" y="1798"/>
                    <a:pt x="2156690" y="11630"/>
                    <a:pt x="2173571" y="29039"/>
                  </a:cubicBezTo>
                  <a:lnTo>
                    <a:pt x="2627278" y="500946"/>
                  </a:lnTo>
                  <a:cubicBezTo>
                    <a:pt x="2649651" y="525093"/>
                    <a:pt x="2671232" y="547321"/>
                    <a:pt x="2692813" y="569574"/>
                  </a:cubicBezTo>
                  <a:cubicBezTo>
                    <a:pt x="2719478" y="597054"/>
                    <a:pt x="2746142" y="624510"/>
                    <a:pt x="2771920" y="652853"/>
                  </a:cubicBezTo>
                  <a:cubicBezTo>
                    <a:pt x="2790192" y="672971"/>
                    <a:pt x="2798273" y="700307"/>
                    <a:pt x="2793981" y="727140"/>
                  </a:cubicBezTo>
                  <a:cubicBezTo>
                    <a:pt x="2789688" y="753972"/>
                    <a:pt x="2773383" y="777376"/>
                    <a:pt x="2749691" y="790756"/>
                  </a:cubicBezTo>
                  <a:lnTo>
                    <a:pt x="2558506" y="898830"/>
                  </a:lnTo>
                  <a:cubicBezTo>
                    <a:pt x="1806309" y="1324002"/>
                    <a:pt x="1054111" y="1749198"/>
                    <a:pt x="302728" y="2175809"/>
                  </a:cubicBezTo>
                  <a:lnTo>
                    <a:pt x="241150" y="2210698"/>
                  </a:lnTo>
                  <a:cubicBezTo>
                    <a:pt x="204798" y="2231632"/>
                    <a:pt x="168421" y="2252493"/>
                    <a:pt x="130942" y="2271125"/>
                  </a:cubicBezTo>
                  <a:cubicBezTo>
                    <a:pt x="118257" y="2277407"/>
                    <a:pt x="104685" y="2280429"/>
                    <a:pt x="91257" y="2280429"/>
                  </a:cubicBezTo>
                  <a:close/>
                  <a:moveTo>
                    <a:pt x="2109308" y="220103"/>
                  </a:moveTo>
                  <a:lnTo>
                    <a:pt x="1497075" y="857394"/>
                  </a:lnTo>
                  <a:cubicBezTo>
                    <a:pt x="1190599" y="1176435"/>
                    <a:pt x="884099" y="1495476"/>
                    <a:pt x="577456" y="1814397"/>
                  </a:cubicBezTo>
                  <a:cubicBezTo>
                    <a:pt x="1207720" y="1457013"/>
                    <a:pt x="1839112" y="1100110"/>
                    <a:pt x="2470576" y="743182"/>
                  </a:cubicBezTo>
                  <a:lnTo>
                    <a:pt x="2562056" y="691459"/>
                  </a:lnTo>
                  <a:cubicBezTo>
                    <a:pt x="2540330" y="669063"/>
                    <a:pt x="2518653" y="646642"/>
                    <a:pt x="2497408" y="623718"/>
                  </a:cubicBezTo>
                  <a:lnTo>
                    <a:pt x="2109308" y="220103"/>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grpSp>
      <p:sp>
        <p:nvSpPr>
          <p:cNvPr id="69" name="Graphic 67">
            <a:extLst>
              <a:ext uri="{FF2B5EF4-FFF2-40B4-BE49-F238E27FC236}">
                <a16:creationId xmlns:a16="http://schemas.microsoft.com/office/drawing/2014/main" id="{38DE302B-7C5F-4DED-93C4-401765B5C106}"/>
              </a:ext>
            </a:extLst>
          </p:cNvPr>
          <p:cNvSpPr/>
          <p:nvPr/>
        </p:nvSpPr>
        <p:spPr>
          <a:xfrm>
            <a:off x="5289146" y="2793907"/>
            <a:ext cx="358379" cy="358379"/>
          </a:xfrm>
          <a:custGeom>
            <a:avLst/>
            <a:gdLst>
              <a:gd name="connsiteX0" fmla="*/ 4089412 w 5144709"/>
              <a:gd name="connsiteY0" fmla="*/ 5144696 h 5144709"/>
              <a:gd name="connsiteX1" fmla="*/ 3340969 w 5144709"/>
              <a:gd name="connsiteY1" fmla="*/ 4835288 h 5144709"/>
              <a:gd name="connsiteX2" fmla="*/ 3084616 w 5144709"/>
              <a:gd name="connsiteY2" fmla="*/ 3756664 h 5144709"/>
              <a:gd name="connsiteX3" fmla="*/ 1388797 w 5144709"/>
              <a:gd name="connsiteY3" fmla="*/ 2061098 h 5144709"/>
              <a:gd name="connsiteX4" fmla="*/ 310342 w 5144709"/>
              <a:gd name="connsiteY4" fmla="*/ 1804661 h 5144709"/>
              <a:gd name="connsiteX5" fmla="*/ 103792 w 5144709"/>
              <a:gd name="connsiteY5" fmla="*/ 601923 h 5144709"/>
              <a:gd name="connsiteX6" fmla="*/ 147598 w 5144709"/>
              <a:gd name="connsiteY6" fmla="*/ 568746 h 5144709"/>
              <a:gd name="connsiteX7" fmla="*/ 200000 w 5144709"/>
              <a:gd name="connsiteY7" fmla="*/ 585455 h 5144709"/>
              <a:gd name="connsiteX8" fmla="*/ 864810 w 5144709"/>
              <a:gd name="connsiteY8" fmla="*/ 1250266 h 5144709"/>
              <a:gd name="connsiteX9" fmla="*/ 1250234 w 5144709"/>
              <a:gd name="connsiteY9" fmla="*/ 1250266 h 5144709"/>
              <a:gd name="connsiteX10" fmla="*/ 1250234 w 5144709"/>
              <a:gd name="connsiteY10" fmla="*/ 864841 h 5144709"/>
              <a:gd name="connsiteX11" fmla="*/ 585424 w 5144709"/>
              <a:gd name="connsiteY11" fmla="*/ 200031 h 5144709"/>
              <a:gd name="connsiteX12" fmla="*/ 568715 w 5144709"/>
              <a:gd name="connsiteY12" fmla="*/ 147629 h 5144709"/>
              <a:gd name="connsiteX13" fmla="*/ 601892 w 5144709"/>
              <a:gd name="connsiteY13" fmla="*/ 103823 h 5144709"/>
              <a:gd name="connsiteX14" fmla="*/ 1804642 w 5144709"/>
              <a:gd name="connsiteY14" fmla="*/ 310362 h 5144709"/>
              <a:gd name="connsiteX15" fmla="*/ 2060910 w 5144709"/>
              <a:gd name="connsiteY15" fmla="*/ 1389227 h 5144709"/>
              <a:gd name="connsiteX16" fmla="*/ 3756560 w 5144709"/>
              <a:gd name="connsiteY16" fmla="*/ 3084635 h 5144709"/>
              <a:gd name="connsiteX17" fmla="*/ 4835269 w 5144709"/>
              <a:gd name="connsiteY17" fmla="*/ 3340988 h 5144709"/>
              <a:gd name="connsiteX18" fmla="*/ 5041807 w 5144709"/>
              <a:gd name="connsiteY18" fmla="*/ 4543726 h 5144709"/>
              <a:gd name="connsiteX19" fmla="*/ 4998001 w 5144709"/>
              <a:gd name="connsiteY19" fmla="*/ 4576903 h 5144709"/>
              <a:gd name="connsiteX20" fmla="*/ 4945599 w 5144709"/>
              <a:gd name="connsiteY20" fmla="*/ 4560194 h 5144709"/>
              <a:gd name="connsiteX21" fmla="*/ 4280789 w 5144709"/>
              <a:gd name="connsiteY21" fmla="*/ 3895384 h 5144709"/>
              <a:gd name="connsiteX22" fmla="*/ 3895364 w 5144709"/>
              <a:gd name="connsiteY22" fmla="*/ 3895384 h 5144709"/>
              <a:gd name="connsiteX23" fmla="*/ 3895364 w 5144709"/>
              <a:gd name="connsiteY23" fmla="*/ 4280808 h 5144709"/>
              <a:gd name="connsiteX24" fmla="*/ 4560175 w 5144709"/>
              <a:gd name="connsiteY24" fmla="*/ 4945618 h 5144709"/>
              <a:gd name="connsiteX25" fmla="*/ 4576885 w 5144709"/>
              <a:gd name="connsiteY25" fmla="*/ 4998020 h 5144709"/>
              <a:gd name="connsiteX26" fmla="*/ 4543707 w 5144709"/>
              <a:gd name="connsiteY26" fmla="*/ 5041826 h 5144709"/>
              <a:gd name="connsiteX27" fmla="*/ 4089412 w 5144709"/>
              <a:gd name="connsiteY27" fmla="*/ 5144696 h 5144709"/>
              <a:gd name="connsiteX28" fmla="*/ 1404539 w 5144709"/>
              <a:gd name="connsiteY28" fmla="*/ 1932438 h 5144709"/>
              <a:gd name="connsiteX29" fmla="*/ 1446809 w 5144709"/>
              <a:gd name="connsiteY29" fmla="*/ 1949958 h 5144709"/>
              <a:gd name="connsiteX30" fmla="*/ 3195757 w 5144709"/>
              <a:gd name="connsiteY30" fmla="*/ 3698663 h 5144709"/>
              <a:gd name="connsiteX31" fmla="*/ 3209552 w 5144709"/>
              <a:gd name="connsiteY31" fmla="*/ 3761694 h 5144709"/>
              <a:gd name="connsiteX32" fmla="*/ 3425509 w 5144709"/>
              <a:gd name="connsiteY32" fmla="*/ 4750759 h 5144709"/>
              <a:gd name="connsiteX33" fmla="*/ 4412870 w 5144709"/>
              <a:gd name="connsiteY33" fmla="*/ 4967442 h 5144709"/>
              <a:gd name="connsiteX34" fmla="*/ 3810849 w 5144709"/>
              <a:gd name="connsiteY34" fmla="*/ 4365335 h 5144709"/>
              <a:gd name="connsiteX35" fmla="*/ 3696383 w 5144709"/>
              <a:gd name="connsiteY35" fmla="*/ 4088053 h 5144709"/>
              <a:gd name="connsiteX36" fmla="*/ 3810849 w 5144709"/>
              <a:gd name="connsiteY36" fmla="*/ 3810856 h 5144709"/>
              <a:gd name="connsiteX37" fmla="*/ 4365329 w 5144709"/>
              <a:gd name="connsiteY37" fmla="*/ 3810856 h 5144709"/>
              <a:gd name="connsiteX38" fmla="*/ 4967435 w 5144709"/>
              <a:gd name="connsiteY38" fmla="*/ 4412877 h 5144709"/>
              <a:gd name="connsiteX39" fmla="*/ 4750753 w 5144709"/>
              <a:gd name="connsiteY39" fmla="*/ 3425516 h 5144709"/>
              <a:gd name="connsiteX40" fmla="*/ 3761614 w 5144709"/>
              <a:gd name="connsiteY40" fmla="*/ 3209559 h 5144709"/>
              <a:gd name="connsiteX41" fmla="*/ 3698584 w 5144709"/>
              <a:gd name="connsiteY41" fmla="*/ 3195764 h 5144709"/>
              <a:gd name="connsiteX42" fmla="*/ 1949770 w 5144709"/>
              <a:gd name="connsiteY42" fmla="*/ 1447239 h 5144709"/>
              <a:gd name="connsiteX43" fmla="*/ 1935974 w 5144709"/>
              <a:gd name="connsiteY43" fmla="*/ 1384125 h 5144709"/>
              <a:gd name="connsiteX44" fmla="*/ 1720102 w 5144709"/>
              <a:gd name="connsiteY44" fmla="*/ 394902 h 5144709"/>
              <a:gd name="connsiteX45" fmla="*/ 732753 w 5144709"/>
              <a:gd name="connsiteY45" fmla="*/ 178219 h 5144709"/>
              <a:gd name="connsiteX46" fmla="*/ 1334774 w 5144709"/>
              <a:gd name="connsiteY46" fmla="*/ 780326 h 5144709"/>
              <a:gd name="connsiteX47" fmla="*/ 1449240 w 5144709"/>
              <a:gd name="connsiteY47" fmla="*/ 1057608 h 5144709"/>
              <a:gd name="connsiteX48" fmla="*/ 1334774 w 5144709"/>
              <a:gd name="connsiteY48" fmla="*/ 1334805 h 5144709"/>
              <a:gd name="connsiteX49" fmla="*/ 780294 w 5144709"/>
              <a:gd name="connsiteY49" fmla="*/ 1334805 h 5144709"/>
              <a:gd name="connsiteX50" fmla="*/ 178188 w 5144709"/>
              <a:gd name="connsiteY50" fmla="*/ 732772 h 5144709"/>
              <a:gd name="connsiteX51" fmla="*/ 394870 w 5144709"/>
              <a:gd name="connsiteY51" fmla="*/ 1720133 h 5144709"/>
              <a:gd name="connsiteX52" fmla="*/ 1383767 w 5144709"/>
              <a:gd name="connsiteY52" fmla="*/ 1936162 h 5144709"/>
              <a:gd name="connsiteX53" fmla="*/ 1404539 w 5144709"/>
              <a:gd name="connsiteY53" fmla="*/ 1932438 h 5144709"/>
              <a:gd name="connsiteX54" fmla="*/ 389430 w 5144709"/>
              <a:gd name="connsiteY54" fmla="*/ 5104783 h 5144709"/>
              <a:gd name="connsiteX55" fmla="*/ 347160 w 5144709"/>
              <a:gd name="connsiteY55" fmla="*/ 5087264 h 5144709"/>
              <a:gd name="connsiteX56" fmla="*/ 57557 w 5144709"/>
              <a:gd name="connsiteY56" fmla="*/ 4797648 h 5144709"/>
              <a:gd name="connsiteX57" fmla="*/ 55610 w 5144709"/>
              <a:gd name="connsiteY57" fmla="*/ 4715140 h 5144709"/>
              <a:gd name="connsiteX58" fmla="*/ 543408 w 5144709"/>
              <a:gd name="connsiteY58" fmla="*/ 4178832 h 5144709"/>
              <a:gd name="connsiteX59" fmla="*/ 586246 w 5144709"/>
              <a:gd name="connsiteY59" fmla="*/ 4159281 h 5144709"/>
              <a:gd name="connsiteX60" fmla="*/ 629895 w 5144709"/>
              <a:gd name="connsiteY60" fmla="*/ 4176801 h 5144709"/>
              <a:gd name="connsiteX61" fmla="*/ 756778 w 5144709"/>
              <a:gd name="connsiteY61" fmla="*/ 4303599 h 5144709"/>
              <a:gd name="connsiteX62" fmla="*/ 1998859 w 5144709"/>
              <a:gd name="connsiteY62" fmla="*/ 3061433 h 5144709"/>
              <a:gd name="connsiteX63" fmla="*/ 2083387 w 5144709"/>
              <a:gd name="connsiteY63" fmla="*/ 3145961 h 5144709"/>
              <a:gd name="connsiteX64" fmla="*/ 841293 w 5144709"/>
              <a:gd name="connsiteY64" fmla="*/ 4388139 h 5144709"/>
              <a:gd name="connsiteX65" fmla="*/ 968091 w 5144709"/>
              <a:gd name="connsiteY65" fmla="*/ 4514937 h 5144709"/>
              <a:gd name="connsiteX66" fmla="*/ 985611 w 5144709"/>
              <a:gd name="connsiteY66" fmla="*/ 4558586 h 5144709"/>
              <a:gd name="connsiteX67" fmla="*/ 966060 w 5144709"/>
              <a:gd name="connsiteY67" fmla="*/ 4601424 h 5144709"/>
              <a:gd name="connsiteX68" fmla="*/ 429668 w 5144709"/>
              <a:gd name="connsiteY68" fmla="*/ 5089222 h 5144709"/>
              <a:gd name="connsiteX69" fmla="*/ 389430 w 5144709"/>
              <a:gd name="connsiteY69" fmla="*/ 5104783 h 5144709"/>
              <a:gd name="connsiteX70" fmla="*/ 182493 w 5144709"/>
              <a:gd name="connsiteY70" fmla="*/ 4753432 h 5144709"/>
              <a:gd name="connsiteX71" fmla="*/ 391388 w 5144709"/>
              <a:gd name="connsiteY71" fmla="*/ 4962328 h 5144709"/>
              <a:gd name="connsiteX72" fmla="*/ 839190 w 5144709"/>
              <a:gd name="connsiteY72" fmla="*/ 4555164 h 5144709"/>
              <a:gd name="connsiteX73" fmla="*/ 589656 w 5144709"/>
              <a:gd name="connsiteY73" fmla="*/ 4305703 h 5144709"/>
              <a:gd name="connsiteX74" fmla="*/ 182493 w 5144709"/>
              <a:gd name="connsiteY74" fmla="*/ 4753432 h 5144709"/>
              <a:gd name="connsiteX75" fmla="*/ 3463463 w 5144709"/>
              <a:gd name="connsiteY75" fmla="*/ 2326616 h 5144709"/>
              <a:gd name="connsiteX76" fmla="*/ 3378935 w 5144709"/>
              <a:gd name="connsiteY76" fmla="*/ 2242088 h 5144709"/>
              <a:gd name="connsiteX77" fmla="*/ 4925878 w 5144709"/>
              <a:gd name="connsiteY77" fmla="*/ 695217 h 5144709"/>
              <a:gd name="connsiteX78" fmla="*/ 4925878 w 5144709"/>
              <a:gd name="connsiteY78" fmla="*/ 219026 h 5144709"/>
              <a:gd name="connsiteX79" fmla="*/ 4449687 w 5144709"/>
              <a:gd name="connsiteY79" fmla="*/ 219026 h 5144709"/>
              <a:gd name="connsiteX80" fmla="*/ 2902817 w 5144709"/>
              <a:gd name="connsiteY80" fmla="*/ 1765885 h 5144709"/>
              <a:gd name="connsiteX81" fmla="*/ 2818288 w 5144709"/>
              <a:gd name="connsiteY81" fmla="*/ 1681357 h 5144709"/>
              <a:gd name="connsiteX82" fmla="*/ 4365147 w 5144709"/>
              <a:gd name="connsiteY82" fmla="*/ 134486 h 5144709"/>
              <a:gd name="connsiteX83" fmla="*/ 5010406 w 5144709"/>
              <a:gd name="connsiteY83" fmla="*/ 134486 h 5144709"/>
              <a:gd name="connsiteX84" fmla="*/ 5010406 w 5144709"/>
              <a:gd name="connsiteY84" fmla="*/ 779745 h 5144709"/>
              <a:gd name="connsiteX85" fmla="*/ 3463463 w 5144709"/>
              <a:gd name="connsiteY85" fmla="*/ 2326616 h 5144709"/>
              <a:gd name="connsiteX86" fmla="*/ 3183182 w 5144709"/>
              <a:gd name="connsiteY86" fmla="*/ 2046250 h 5144709"/>
              <a:gd name="connsiteX87" fmla="*/ 3098654 w 5144709"/>
              <a:gd name="connsiteY87" fmla="*/ 1961722 h 5144709"/>
              <a:gd name="connsiteX88" fmla="*/ 4640737 w 5144709"/>
              <a:gd name="connsiteY88" fmla="*/ 419640 h 5144709"/>
              <a:gd name="connsiteX89" fmla="*/ 4725265 w 5144709"/>
              <a:gd name="connsiteY89" fmla="*/ 504168 h 5144709"/>
              <a:gd name="connsiteX90" fmla="*/ 3183182 w 5144709"/>
              <a:gd name="connsiteY90" fmla="*/ 2046250 h 5144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5144709" h="5144709">
                <a:moveTo>
                  <a:pt x="4089412" y="5144696"/>
                </a:moveTo>
                <a:cubicBezTo>
                  <a:pt x="3814645" y="5144696"/>
                  <a:pt x="3543529" y="5037860"/>
                  <a:pt x="3340969" y="4835288"/>
                </a:cubicBezTo>
                <a:cubicBezTo>
                  <a:pt x="3058826" y="4553217"/>
                  <a:pt x="2960333" y="4133733"/>
                  <a:pt x="3084616" y="3756664"/>
                </a:cubicBezTo>
                <a:lnTo>
                  <a:pt x="1388797" y="2061098"/>
                </a:lnTo>
                <a:cubicBezTo>
                  <a:pt x="1011486" y="2184970"/>
                  <a:pt x="592244" y="2086574"/>
                  <a:pt x="310342" y="1804661"/>
                </a:cubicBezTo>
                <a:cubicBezTo>
                  <a:pt x="-5885" y="1488530"/>
                  <a:pt x="-88877" y="1005193"/>
                  <a:pt x="103792" y="601923"/>
                </a:cubicBezTo>
                <a:cubicBezTo>
                  <a:pt x="112147" y="584403"/>
                  <a:pt x="128458" y="572071"/>
                  <a:pt x="147598" y="568746"/>
                </a:cubicBezTo>
                <a:cubicBezTo>
                  <a:pt x="167234" y="565747"/>
                  <a:pt x="186289" y="571744"/>
                  <a:pt x="200000" y="585455"/>
                </a:cubicBezTo>
                <a:lnTo>
                  <a:pt x="864810" y="1250266"/>
                </a:lnTo>
                <a:cubicBezTo>
                  <a:pt x="971078" y="1356291"/>
                  <a:pt x="1143955" y="1356460"/>
                  <a:pt x="1250234" y="1250266"/>
                </a:cubicBezTo>
                <a:cubicBezTo>
                  <a:pt x="1356429" y="1143998"/>
                  <a:pt x="1356429" y="971121"/>
                  <a:pt x="1250234" y="864841"/>
                </a:cubicBezTo>
                <a:lnTo>
                  <a:pt x="585424" y="200031"/>
                </a:lnTo>
                <a:cubicBezTo>
                  <a:pt x="571628" y="186320"/>
                  <a:pt x="565462" y="166769"/>
                  <a:pt x="568715" y="147629"/>
                </a:cubicBezTo>
                <a:cubicBezTo>
                  <a:pt x="572040" y="128489"/>
                  <a:pt x="584372" y="112178"/>
                  <a:pt x="601892" y="103823"/>
                </a:cubicBezTo>
                <a:cubicBezTo>
                  <a:pt x="1005162" y="-89003"/>
                  <a:pt x="1488414" y="-5697"/>
                  <a:pt x="1804642" y="310362"/>
                </a:cubicBezTo>
                <a:cubicBezTo>
                  <a:pt x="2086785" y="592504"/>
                  <a:pt x="2185350" y="1012085"/>
                  <a:pt x="2060910" y="1389227"/>
                </a:cubicBezTo>
                <a:lnTo>
                  <a:pt x="3756560" y="3084635"/>
                </a:lnTo>
                <a:cubicBezTo>
                  <a:pt x="4133218" y="2960522"/>
                  <a:pt x="4553029" y="3058761"/>
                  <a:pt x="4835269" y="3340988"/>
                </a:cubicBezTo>
                <a:cubicBezTo>
                  <a:pt x="5151484" y="3657131"/>
                  <a:pt x="5234476" y="4140467"/>
                  <a:pt x="5041807" y="4543726"/>
                </a:cubicBezTo>
                <a:cubicBezTo>
                  <a:pt x="5033452" y="4561246"/>
                  <a:pt x="5017141" y="4573578"/>
                  <a:pt x="4998001" y="4576903"/>
                </a:cubicBezTo>
                <a:cubicBezTo>
                  <a:pt x="4978365" y="4580398"/>
                  <a:pt x="4959225" y="4574062"/>
                  <a:pt x="4945599" y="4560194"/>
                </a:cubicBezTo>
                <a:lnTo>
                  <a:pt x="4280789" y="3895384"/>
                </a:lnTo>
                <a:cubicBezTo>
                  <a:pt x="4174593" y="3789358"/>
                  <a:pt x="4001717" y="3789188"/>
                  <a:pt x="3895364" y="3895384"/>
                </a:cubicBezTo>
                <a:cubicBezTo>
                  <a:pt x="3789169" y="4001651"/>
                  <a:pt x="3789169" y="4174528"/>
                  <a:pt x="3895364" y="4280808"/>
                </a:cubicBezTo>
                <a:lnTo>
                  <a:pt x="4560175" y="4945618"/>
                </a:lnTo>
                <a:cubicBezTo>
                  <a:pt x="4573970" y="4959329"/>
                  <a:pt x="4580137" y="4978880"/>
                  <a:pt x="4576885" y="4998020"/>
                </a:cubicBezTo>
                <a:cubicBezTo>
                  <a:pt x="4573560" y="5017160"/>
                  <a:pt x="4561227" y="5033471"/>
                  <a:pt x="4543707" y="5041826"/>
                </a:cubicBezTo>
                <a:cubicBezTo>
                  <a:pt x="4398821" y="5111107"/>
                  <a:pt x="4243464" y="5144696"/>
                  <a:pt x="4089412" y="5144696"/>
                </a:cubicBezTo>
                <a:close/>
                <a:moveTo>
                  <a:pt x="1404539" y="1932438"/>
                </a:moveTo>
                <a:cubicBezTo>
                  <a:pt x="1420113" y="1932438"/>
                  <a:pt x="1435444" y="1938520"/>
                  <a:pt x="1446809" y="1949958"/>
                </a:cubicBezTo>
                <a:lnTo>
                  <a:pt x="3195757" y="3698663"/>
                </a:lnTo>
                <a:cubicBezTo>
                  <a:pt x="3212309" y="3715131"/>
                  <a:pt x="3217665" y="3739797"/>
                  <a:pt x="3209552" y="3761694"/>
                </a:cubicBezTo>
                <a:cubicBezTo>
                  <a:pt x="3082513" y="4104279"/>
                  <a:pt x="3167282" y="4492460"/>
                  <a:pt x="3425509" y="4750759"/>
                </a:cubicBezTo>
                <a:cubicBezTo>
                  <a:pt x="3685513" y="5010679"/>
                  <a:pt x="4072800" y="5093019"/>
                  <a:pt x="4412870" y="4967442"/>
                </a:cubicBezTo>
                <a:lnTo>
                  <a:pt x="3810849" y="4365335"/>
                </a:lnTo>
                <a:cubicBezTo>
                  <a:pt x="3737021" y="4291593"/>
                  <a:pt x="3696383" y="4193112"/>
                  <a:pt x="3696383" y="4088053"/>
                </a:cubicBezTo>
                <a:cubicBezTo>
                  <a:pt x="3696383" y="3983079"/>
                  <a:pt x="3737021" y="3884598"/>
                  <a:pt x="3810849" y="3810856"/>
                </a:cubicBezTo>
                <a:cubicBezTo>
                  <a:pt x="3958334" y="3663128"/>
                  <a:pt x="4217928" y="3663297"/>
                  <a:pt x="4365329" y="3810856"/>
                </a:cubicBezTo>
                <a:lnTo>
                  <a:pt x="4967435" y="4412877"/>
                </a:lnTo>
                <a:cubicBezTo>
                  <a:pt x="5092939" y="4072891"/>
                  <a:pt x="5010672" y="3685520"/>
                  <a:pt x="4750753" y="3425516"/>
                </a:cubicBezTo>
                <a:cubicBezTo>
                  <a:pt x="4492369" y="3167301"/>
                  <a:pt x="4104115" y="3082689"/>
                  <a:pt x="3761614" y="3209559"/>
                </a:cubicBezTo>
                <a:cubicBezTo>
                  <a:pt x="3739959" y="3217830"/>
                  <a:pt x="3715052" y="3212316"/>
                  <a:pt x="3698584" y="3195764"/>
                </a:cubicBezTo>
                <a:lnTo>
                  <a:pt x="1949770" y="1447239"/>
                </a:lnTo>
                <a:cubicBezTo>
                  <a:pt x="1933217" y="1430772"/>
                  <a:pt x="1927861" y="1406106"/>
                  <a:pt x="1935974" y="1384125"/>
                </a:cubicBezTo>
                <a:cubicBezTo>
                  <a:pt x="2063171" y="1041539"/>
                  <a:pt x="1978401" y="653286"/>
                  <a:pt x="1720102" y="394902"/>
                </a:cubicBezTo>
                <a:cubicBezTo>
                  <a:pt x="1460182" y="134897"/>
                  <a:pt x="1072739" y="52630"/>
                  <a:pt x="732753" y="178219"/>
                </a:cubicBezTo>
                <a:lnTo>
                  <a:pt x="1334774" y="780326"/>
                </a:lnTo>
                <a:cubicBezTo>
                  <a:pt x="1408602" y="854068"/>
                  <a:pt x="1449240" y="952549"/>
                  <a:pt x="1449240" y="1057608"/>
                </a:cubicBezTo>
                <a:cubicBezTo>
                  <a:pt x="1449240" y="1162582"/>
                  <a:pt x="1408602" y="1261063"/>
                  <a:pt x="1334774" y="1334805"/>
                </a:cubicBezTo>
                <a:cubicBezTo>
                  <a:pt x="1187216" y="1482533"/>
                  <a:pt x="927696" y="1482376"/>
                  <a:pt x="780294" y="1334805"/>
                </a:cubicBezTo>
                <a:lnTo>
                  <a:pt x="178188" y="732772"/>
                </a:lnTo>
                <a:cubicBezTo>
                  <a:pt x="52684" y="1072758"/>
                  <a:pt x="134951" y="1460128"/>
                  <a:pt x="394870" y="1720133"/>
                </a:cubicBezTo>
                <a:cubicBezTo>
                  <a:pt x="653085" y="1978190"/>
                  <a:pt x="1041266" y="2062960"/>
                  <a:pt x="1383767" y="1936162"/>
                </a:cubicBezTo>
                <a:cubicBezTo>
                  <a:pt x="1390502" y="1933647"/>
                  <a:pt x="1397563" y="1932438"/>
                  <a:pt x="1404539" y="1932438"/>
                </a:cubicBezTo>
                <a:close/>
                <a:moveTo>
                  <a:pt x="389430" y="5104783"/>
                </a:moveTo>
                <a:cubicBezTo>
                  <a:pt x="374098" y="5104783"/>
                  <a:pt x="358767" y="5098943"/>
                  <a:pt x="347160" y="5087264"/>
                </a:cubicBezTo>
                <a:lnTo>
                  <a:pt x="57557" y="4797648"/>
                </a:lnTo>
                <a:cubicBezTo>
                  <a:pt x="34922" y="4775099"/>
                  <a:pt x="34112" y="4738753"/>
                  <a:pt x="55610" y="4715140"/>
                </a:cubicBezTo>
                <a:lnTo>
                  <a:pt x="543408" y="4178832"/>
                </a:lnTo>
                <a:cubicBezTo>
                  <a:pt x="554363" y="4166741"/>
                  <a:pt x="569851" y="4159692"/>
                  <a:pt x="586246" y="4159281"/>
                </a:cubicBezTo>
                <a:cubicBezTo>
                  <a:pt x="599788" y="4159438"/>
                  <a:pt x="618287" y="4165206"/>
                  <a:pt x="629895" y="4176801"/>
                </a:cubicBezTo>
                <a:lnTo>
                  <a:pt x="756778" y="4303599"/>
                </a:lnTo>
                <a:lnTo>
                  <a:pt x="1998859" y="3061433"/>
                </a:lnTo>
                <a:lnTo>
                  <a:pt x="2083387" y="3145961"/>
                </a:lnTo>
                <a:lnTo>
                  <a:pt x="841293" y="4388139"/>
                </a:lnTo>
                <a:lnTo>
                  <a:pt x="968091" y="4514937"/>
                </a:lnTo>
                <a:cubicBezTo>
                  <a:pt x="979687" y="4526460"/>
                  <a:pt x="986022" y="4542275"/>
                  <a:pt x="985611" y="4558586"/>
                </a:cubicBezTo>
                <a:cubicBezTo>
                  <a:pt x="985200" y="4574969"/>
                  <a:pt x="978151" y="4590470"/>
                  <a:pt x="966060" y="4601424"/>
                </a:cubicBezTo>
                <a:lnTo>
                  <a:pt x="429668" y="5089222"/>
                </a:lnTo>
                <a:cubicBezTo>
                  <a:pt x="418230" y="5099669"/>
                  <a:pt x="403794" y="5104783"/>
                  <a:pt x="389430" y="5104783"/>
                </a:cubicBezTo>
                <a:close/>
                <a:moveTo>
                  <a:pt x="182493" y="4753432"/>
                </a:moveTo>
                <a:lnTo>
                  <a:pt x="391388" y="4962328"/>
                </a:lnTo>
                <a:lnTo>
                  <a:pt x="839190" y="4555164"/>
                </a:lnTo>
                <a:lnTo>
                  <a:pt x="589656" y="4305703"/>
                </a:lnTo>
                <a:lnTo>
                  <a:pt x="182493" y="4753432"/>
                </a:lnTo>
                <a:close/>
                <a:moveTo>
                  <a:pt x="3463463" y="2326616"/>
                </a:moveTo>
                <a:lnTo>
                  <a:pt x="3378935" y="2242088"/>
                </a:lnTo>
                <a:lnTo>
                  <a:pt x="4925878" y="695217"/>
                </a:lnTo>
                <a:cubicBezTo>
                  <a:pt x="5057053" y="563958"/>
                  <a:pt x="5057053" y="350274"/>
                  <a:pt x="4925878" y="219026"/>
                </a:cubicBezTo>
                <a:cubicBezTo>
                  <a:pt x="4794619" y="87936"/>
                  <a:pt x="4580935" y="87936"/>
                  <a:pt x="4449687" y="219026"/>
                </a:cubicBezTo>
                <a:lnTo>
                  <a:pt x="2902817" y="1765885"/>
                </a:lnTo>
                <a:lnTo>
                  <a:pt x="2818288" y="1681357"/>
                </a:lnTo>
                <a:lnTo>
                  <a:pt x="4365147" y="134486"/>
                </a:lnTo>
                <a:cubicBezTo>
                  <a:pt x="4542969" y="-43336"/>
                  <a:pt x="4832584" y="-43336"/>
                  <a:pt x="5010406" y="134486"/>
                </a:cubicBezTo>
                <a:cubicBezTo>
                  <a:pt x="5188229" y="312393"/>
                  <a:pt x="5188229" y="601839"/>
                  <a:pt x="5010406" y="779745"/>
                </a:cubicBezTo>
                <a:lnTo>
                  <a:pt x="3463463" y="2326616"/>
                </a:lnTo>
                <a:close/>
                <a:moveTo>
                  <a:pt x="3183182" y="2046250"/>
                </a:moveTo>
                <a:lnTo>
                  <a:pt x="3098654" y="1961722"/>
                </a:lnTo>
                <a:lnTo>
                  <a:pt x="4640737" y="419640"/>
                </a:lnTo>
                <a:lnTo>
                  <a:pt x="4725265" y="504168"/>
                </a:lnTo>
                <a:lnTo>
                  <a:pt x="3183182" y="2046250"/>
                </a:lnTo>
                <a:close/>
              </a:path>
            </a:pathLst>
          </a:custGeom>
          <a:solidFill>
            <a:schemeClr val="accent2"/>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grpSp>
        <p:nvGrpSpPr>
          <p:cNvPr id="214" name="Graphic 43">
            <a:extLst>
              <a:ext uri="{FF2B5EF4-FFF2-40B4-BE49-F238E27FC236}">
                <a16:creationId xmlns:a16="http://schemas.microsoft.com/office/drawing/2014/main" id="{7037D4F4-3330-4581-AED3-0FED63BF5D7F}"/>
              </a:ext>
            </a:extLst>
          </p:cNvPr>
          <p:cNvGrpSpPr/>
          <p:nvPr/>
        </p:nvGrpSpPr>
        <p:grpSpPr>
          <a:xfrm>
            <a:off x="512340" y="1937183"/>
            <a:ext cx="202505" cy="237325"/>
            <a:chOff x="-5461289" y="2763240"/>
            <a:chExt cx="4388850" cy="5143500"/>
          </a:xfrm>
          <a:solidFill>
            <a:schemeClr val="accent2"/>
          </a:solidFill>
        </p:grpSpPr>
        <p:sp>
          <p:nvSpPr>
            <p:cNvPr id="215" name="Freeform: Shape 214">
              <a:extLst>
                <a:ext uri="{FF2B5EF4-FFF2-40B4-BE49-F238E27FC236}">
                  <a16:creationId xmlns:a16="http://schemas.microsoft.com/office/drawing/2014/main" id="{4E9671C1-440F-44E0-91F7-A7924C3727E2}"/>
                </a:ext>
              </a:extLst>
            </p:cNvPr>
            <p:cNvSpPr/>
            <p:nvPr/>
          </p:nvSpPr>
          <p:spPr>
            <a:xfrm>
              <a:off x="-4281450" y="4536736"/>
              <a:ext cx="1869559" cy="2157767"/>
            </a:xfrm>
            <a:custGeom>
              <a:avLst/>
              <a:gdLst>
                <a:gd name="connsiteX0" fmla="*/ 1811430 w 1869559"/>
                <a:gd name="connsiteY0" fmla="*/ 1457820 h 2157767"/>
                <a:gd name="connsiteX1" fmla="*/ 1589308 w 1869559"/>
                <a:gd name="connsiteY1" fmla="*/ 1154127 h 2157767"/>
                <a:gd name="connsiteX2" fmla="*/ 1765545 w 1869559"/>
                <a:gd name="connsiteY2" fmla="*/ 831853 h 2157767"/>
                <a:gd name="connsiteX3" fmla="*/ 1810053 w 1869559"/>
                <a:gd name="connsiteY3" fmla="*/ 771114 h 2157767"/>
                <a:gd name="connsiteX4" fmla="*/ 1792204 w 1869559"/>
                <a:gd name="connsiteY4" fmla="*/ 697937 h 2157767"/>
                <a:gd name="connsiteX5" fmla="*/ 1344572 w 1869559"/>
                <a:gd name="connsiteY5" fmla="*/ 463781 h 2157767"/>
                <a:gd name="connsiteX6" fmla="*/ 1278714 w 1869559"/>
                <a:gd name="connsiteY6" fmla="*/ 467977 h 2157767"/>
                <a:gd name="connsiteX7" fmla="*/ 1280686 w 1869559"/>
                <a:gd name="connsiteY7" fmla="*/ 465955 h 2157767"/>
                <a:gd name="connsiteX8" fmla="*/ 1394085 w 1869559"/>
                <a:gd name="connsiteY8" fmla="*/ 77203 h 2157767"/>
                <a:gd name="connsiteX9" fmla="*/ 1299583 w 1869559"/>
                <a:gd name="connsiteY9" fmla="*/ 1119 h 2157767"/>
                <a:gd name="connsiteX10" fmla="*/ 936277 w 1869559"/>
                <a:gd name="connsiteY10" fmla="*/ 196177 h 2157767"/>
                <a:gd name="connsiteX11" fmla="*/ 815394 w 1869559"/>
                <a:gd name="connsiteY11" fmla="*/ 509894 h 2157767"/>
                <a:gd name="connsiteX12" fmla="*/ 591957 w 1869559"/>
                <a:gd name="connsiteY12" fmla="*/ 464021 h 2157767"/>
                <a:gd name="connsiteX13" fmla="*/ 104102 w 1869559"/>
                <a:gd name="connsiteY13" fmla="*/ 754479 h 2157767"/>
                <a:gd name="connsiteX14" fmla="*/ 217590 w 1869559"/>
                <a:gd name="connsiteY14" fmla="*/ 1845371 h 2157767"/>
                <a:gd name="connsiteX15" fmla="*/ 630006 w 1869559"/>
                <a:gd name="connsiteY15" fmla="*/ 2157141 h 2157767"/>
                <a:gd name="connsiteX16" fmla="*/ 633722 w 1869559"/>
                <a:gd name="connsiteY16" fmla="*/ 2157141 h 2157767"/>
                <a:gd name="connsiteX17" fmla="*/ 810768 w 1869559"/>
                <a:gd name="connsiteY17" fmla="*/ 2112558 h 2157767"/>
                <a:gd name="connsiteX18" fmla="*/ 971254 w 1869559"/>
                <a:gd name="connsiteY18" fmla="*/ 2073624 h 2157767"/>
                <a:gd name="connsiteX19" fmla="*/ 1128921 w 1869559"/>
                <a:gd name="connsiteY19" fmla="*/ 2111824 h 2157767"/>
                <a:gd name="connsiteX20" fmla="*/ 1307914 w 1869559"/>
                <a:gd name="connsiteY20" fmla="*/ 2156889 h 2157767"/>
                <a:gd name="connsiteX21" fmla="*/ 1726713 w 1869559"/>
                <a:gd name="connsiteY21" fmla="*/ 1829849 h 2157767"/>
                <a:gd name="connsiteX22" fmla="*/ 1861121 w 1869559"/>
                <a:gd name="connsiteY22" fmla="*/ 1577843 h 2157767"/>
                <a:gd name="connsiteX23" fmla="*/ 1862170 w 1869559"/>
                <a:gd name="connsiteY23" fmla="*/ 1507094 h 2157767"/>
                <a:gd name="connsiteX24" fmla="*/ 1811430 w 1869559"/>
                <a:gd name="connsiteY24" fmla="*/ 1457820 h 2157767"/>
                <a:gd name="connsiteX25" fmla="*/ 1074402 w 1869559"/>
                <a:gd name="connsiteY25" fmla="*/ 309425 h 2157767"/>
                <a:gd name="connsiteX26" fmla="*/ 1212123 w 1869559"/>
                <a:gd name="connsiteY26" fmla="*/ 206441 h 2157767"/>
                <a:gd name="connsiteX27" fmla="*/ 1139426 w 1869559"/>
                <a:gd name="connsiteY27" fmla="*/ 356600 h 2157767"/>
                <a:gd name="connsiteX28" fmla="*/ 997837 w 1869559"/>
                <a:gd name="connsiteY28" fmla="*/ 460798 h 2157767"/>
                <a:gd name="connsiteX29" fmla="*/ 1074402 w 1869559"/>
                <a:gd name="connsiteY29" fmla="*/ 309425 h 2157767"/>
                <a:gd name="connsiteX30" fmla="*/ 1577110 w 1869559"/>
                <a:gd name="connsiteY30" fmla="*/ 1732287 h 2157767"/>
                <a:gd name="connsiteX31" fmla="*/ 1306283 w 1869559"/>
                <a:gd name="connsiteY31" fmla="*/ 1978238 h 2157767"/>
                <a:gd name="connsiteX32" fmla="*/ 1203780 w 1869559"/>
                <a:gd name="connsiteY32" fmla="*/ 1949569 h 2157767"/>
                <a:gd name="connsiteX33" fmla="*/ 970357 w 1869559"/>
                <a:gd name="connsiteY33" fmla="*/ 1894973 h 2157767"/>
                <a:gd name="connsiteX34" fmla="*/ 737654 w 1869559"/>
                <a:gd name="connsiteY34" fmla="*/ 1949569 h 2157767"/>
                <a:gd name="connsiteX35" fmla="*/ 631599 w 1869559"/>
                <a:gd name="connsiteY35" fmla="*/ 1978490 h 2157767"/>
                <a:gd name="connsiteX36" fmla="*/ 367155 w 1869559"/>
                <a:gd name="connsiteY36" fmla="*/ 1747810 h 2157767"/>
                <a:gd name="connsiteX37" fmla="*/ 254160 w 1869559"/>
                <a:gd name="connsiteY37" fmla="*/ 851332 h 2157767"/>
                <a:gd name="connsiteX38" fmla="*/ 591945 w 1869559"/>
                <a:gd name="connsiteY38" fmla="*/ 642697 h 2157767"/>
                <a:gd name="connsiteX39" fmla="*/ 768510 w 1869559"/>
                <a:gd name="connsiteY39" fmla="*/ 682756 h 2157767"/>
                <a:gd name="connsiteX40" fmla="*/ 968903 w 1869559"/>
                <a:gd name="connsiteY40" fmla="*/ 727339 h 2157767"/>
                <a:gd name="connsiteX41" fmla="*/ 1153065 w 1869559"/>
                <a:gd name="connsiteY41" fmla="*/ 684778 h 2157767"/>
                <a:gd name="connsiteX42" fmla="*/ 1344572 w 1869559"/>
                <a:gd name="connsiteY42" fmla="*/ 642457 h 2157767"/>
                <a:gd name="connsiteX43" fmla="*/ 1586161 w 1869559"/>
                <a:gd name="connsiteY43" fmla="*/ 740511 h 2157767"/>
                <a:gd name="connsiteX44" fmla="*/ 1411125 w 1869559"/>
                <a:gd name="connsiteY44" fmla="*/ 1166654 h 2157767"/>
                <a:gd name="connsiteX45" fmla="*/ 1662157 w 1869559"/>
                <a:gd name="connsiteY45" fmla="*/ 1583026 h 2157767"/>
                <a:gd name="connsiteX46" fmla="*/ 1577110 w 1869559"/>
                <a:gd name="connsiteY46" fmla="*/ 1732287 h 215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869559" h="2157767">
                  <a:moveTo>
                    <a:pt x="1811430" y="1457820"/>
                  </a:moveTo>
                  <a:cubicBezTo>
                    <a:pt x="1684139" y="1409356"/>
                    <a:pt x="1599079" y="1292973"/>
                    <a:pt x="1589308" y="1154127"/>
                  </a:cubicBezTo>
                  <a:cubicBezTo>
                    <a:pt x="1579777" y="1018518"/>
                    <a:pt x="1645686" y="898001"/>
                    <a:pt x="1765545" y="831853"/>
                  </a:cubicBezTo>
                  <a:cubicBezTo>
                    <a:pt x="1788640" y="819174"/>
                    <a:pt x="1804883" y="796964"/>
                    <a:pt x="1810053" y="771114"/>
                  </a:cubicBezTo>
                  <a:cubicBezTo>
                    <a:pt x="1815147" y="745352"/>
                    <a:pt x="1808675" y="718529"/>
                    <a:pt x="1792204" y="697937"/>
                  </a:cubicBezTo>
                  <a:cubicBezTo>
                    <a:pt x="1675252" y="551343"/>
                    <a:pt x="1507890" y="463781"/>
                    <a:pt x="1344572" y="463781"/>
                  </a:cubicBezTo>
                  <a:cubicBezTo>
                    <a:pt x="1320908" y="463781"/>
                    <a:pt x="1299546" y="465715"/>
                    <a:pt x="1278714" y="467977"/>
                  </a:cubicBezTo>
                  <a:cubicBezTo>
                    <a:pt x="1279295" y="467244"/>
                    <a:pt x="1280104" y="466688"/>
                    <a:pt x="1280686" y="465955"/>
                  </a:cubicBezTo>
                  <a:cubicBezTo>
                    <a:pt x="1371800" y="348434"/>
                    <a:pt x="1413148" y="206757"/>
                    <a:pt x="1394085" y="77203"/>
                  </a:cubicBezTo>
                  <a:cubicBezTo>
                    <a:pt x="1387297" y="31001"/>
                    <a:pt x="1346594" y="-1713"/>
                    <a:pt x="1299583" y="1119"/>
                  </a:cubicBezTo>
                  <a:cubicBezTo>
                    <a:pt x="1170269" y="10081"/>
                    <a:pt x="1024231" y="88516"/>
                    <a:pt x="936277" y="196177"/>
                  </a:cubicBezTo>
                  <a:cubicBezTo>
                    <a:pt x="858094" y="291248"/>
                    <a:pt x="816747" y="403915"/>
                    <a:pt x="815394" y="509894"/>
                  </a:cubicBezTo>
                  <a:cubicBezTo>
                    <a:pt x="752507" y="487520"/>
                    <a:pt x="681517" y="464021"/>
                    <a:pt x="591957" y="464021"/>
                  </a:cubicBezTo>
                  <a:cubicBezTo>
                    <a:pt x="406746" y="464021"/>
                    <a:pt x="219765" y="575322"/>
                    <a:pt x="104102" y="754479"/>
                  </a:cubicBezTo>
                  <a:cubicBezTo>
                    <a:pt x="-68342" y="1021754"/>
                    <a:pt x="-20611" y="1480611"/>
                    <a:pt x="217590" y="1845371"/>
                  </a:cubicBezTo>
                  <a:cubicBezTo>
                    <a:pt x="311688" y="1989703"/>
                    <a:pt x="443593" y="2155536"/>
                    <a:pt x="630006" y="2157141"/>
                  </a:cubicBezTo>
                  <a:cubicBezTo>
                    <a:pt x="631295" y="2157141"/>
                    <a:pt x="632509" y="2157141"/>
                    <a:pt x="633722" y="2157141"/>
                  </a:cubicBezTo>
                  <a:cubicBezTo>
                    <a:pt x="711349" y="2157141"/>
                    <a:pt x="764086" y="2133478"/>
                    <a:pt x="810768" y="2112558"/>
                  </a:cubicBezTo>
                  <a:cubicBezTo>
                    <a:pt x="856970" y="2091877"/>
                    <a:pt x="896864" y="2073953"/>
                    <a:pt x="971254" y="2073624"/>
                  </a:cubicBezTo>
                  <a:cubicBezTo>
                    <a:pt x="1047819" y="2071842"/>
                    <a:pt x="1084009" y="2091068"/>
                    <a:pt x="1128921" y="2111824"/>
                  </a:cubicBezTo>
                  <a:cubicBezTo>
                    <a:pt x="1175528" y="2133314"/>
                    <a:pt x="1226495" y="2157141"/>
                    <a:pt x="1307914" y="2156889"/>
                  </a:cubicBezTo>
                  <a:cubicBezTo>
                    <a:pt x="1489965" y="2155435"/>
                    <a:pt x="1621795" y="1990739"/>
                    <a:pt x="1726713" y="1829849"/>
                  </a:cubicBezTo>
                  <a:cubicBezTo>
                    <a:pt x="1789145" y="1734222"/>
                    <a:pt x="1813137" y="1684784"/>
                    <a:pt x="1861121" y="1577843"/>
                  </a:cubicBezTo>
                  <a:cubicBezTo>
                    <a:pt x="1871221" y="1555394"/>
                    <a:pt x="1871537" y="1529784"/>
                    <a:pt x="1862170" y="1507094"/>
                  </a:cubicBezTo>
                  <a:cubicBezTo>
                    <a:pt x="1852703" y="1484315"/>
                    <a:pt x="1834374" y="1466542"/>
                    <a:pt x="1811430" y="1457820"/>
                  </a:cubicBezTo>
                  <a:close/>
                  <a:moveTo>
                    <a:pt x="1074402" y="309425"/>
                  </a:moveTo>
                  <a:cubicBezTo>
                    <a:pt x="1109139" y="266940"/>
                    <a:pt x="1159702" y="230029"/>
                    <a:pt x="1212123" y="206441"/>
                  </a:cubicBezTo>
                  <a:cubicBezTo>
                    <a:pt x="1200329" y="257978"/>
                    <a:pt x="1175376" y="310234"/>
                    <a:pt x="1139426" y="356600"/>
                  </a:cubicBezTo>
                  <a:cubicBezTo>
                    <a:pt x="1103160" y="403611"/>
                    <a:pt x="1051219" y="440762"/>
                    <a:pt x="997837" y="460798"/>
                  </a:cubicBezTo>
                  <a:cubicBezTo>
                    <a:pt x="1010832" y="403282"/>
                    <a:pt x="1042093" y="348763"/>
                    <a:pt x="1074402" y="309425"/>
                  </a:cubicBezTo>
                  <a:close/>
                  <a:moveTo>
                    <a:pt x="1577110" y="1732287"/>
                  </a:moveTo>
                  <a:cubicBezTo>
                    <a:pt x="1533335" y="1799321"/>
                    <a:pt x="1417180" y="1977340"/>
                    <a:pt x="1306283" y="1978238"/>
                  </a:cubicBezTo>
                  <a:cubicBezTo>
                    <a:pt x="1271471" y="1978566"/>
                    <a:pt x="1241752" y="1967088"/>
                    <a:pt x="1203780" y="1949569"/>
                  </a:cubicBezTo>
                  <a:cubicBezTo>
                    <a:pt x="1150310" y="1924932"/>
                    <a:pt x="1077613" y="1894000"/>
                    <a:pt x="970357" y="1894973"/>
                  </a:cubicBezTo>
                  <a:cubicBezTo>
                    <a:pt x="858246" y="1895454"/>
                    <a:pt x="791364" y="1925501"/>
                    <a:pt x="737654" y="1949569"/>
                  </a:cubicBezTo>
                  <a:cubicBezTo>
                    <a:pt x="698240" y="1967177"/>
                    <a:pt x="678369" y="1978642"/>
                    <a:pt x="631599" y="1978490"/>
                  </a:cubicBezTo>
                  <a:cubicBezTo>
                    <a:pt x="529993" y="1977681"/>
                    <a:pt x="436944" y="1854751"/>
                    <a:pt x="367155" y="1747810"/>
                  </a:cubicBezTo>
                  <a:cubicBezTo>
                    <a:pt x="141316" y="1401872"/>
                    <a:pt x="140432" y="1027733"/>
                    <a:pt x="254160" y="851332"/>
                  </a:cubicBezTo>
                  <a:cubicBezTo>
                    <a:pt x="336059" y="724596"/>
                    <a:pt x="468609" y="642697"/>
                    <a:pt x="591945" y="642697"/>
                  </a:cubicBezTo>
                  <a:cubicBezTo>
                    <a:pt x="656728" y="642697"/>
                    <a:pt x="710995" y="662164"/>
                    <a:pt x="768510" y="682756"/>
                  </a:cubicBezTo>
                  <a:cubicBezTo>
                    <a:pt x="829653" y="704649"/>
                    <a:pt x="892819" y="727339"/>
                    <a:pt x="968903" y="727339"/>
                  </a:cubicBezTo>
                  <a:cubicBezTo>
                    <a:pt x="1041359" y="727339"/>
                    <a:pt x="1098141" y="705699"/>
                    <a:pt x="1153065" y="684778"/>
                  </a:cubicBezTo>
                  <a:cubicBezTo>
                    <a:pt x="1210252" y="663049"/>
                    <a:pt x="1264291" y="642457"/>
                    <a:pt x="1344572" y="642457"/>
                  </a:cubicBezTo>
                  <a:cubicBezTo>
                    <a:pt x="1427204" y="642457"/>
                    <a:pt x="1513135" y="678079"/>
                    <a:pt x="1586161" y="740511"/>
                  </a:cubicBezTo>
                  <a:cubicBezTo>
                    <a:pt x="1465000" y="846074"/>
                    <a:pt x="1399496" y="1001238"/>
                    <a:pt x="1411125" y="1166654"/>
                  </a:cubicBezTo>
                  <a:cubicBezTo>
                    <a:pt x="1423488" y="1343055"/>
                    <a:pt x="1517256" y="1495552"/>
                    <a:pt x="1662157" y="1583026"/>
                  </a:cubicBezTo>
                  <a:cubicBezTo>
                    <a:pt x="1637368" y="1634878"/>
                    <a:pt x="1616132" y="1672434"/>
                    <a:pt x="1577110" y="1732287"/>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16" name="Freeform: Shape 215">
              <a:extLst>
                <a:ext uri="{FF2B5EF4-FFF2-40B4-BE49-F238E27FC236}">
                  <a16:creationId xmlns:a16="http://schemas.microsoft.com/office/drawing/2014/main" id="{4303335F-0CE6-44D3-827E-0326BBD930A3}"/>
                </a:ext>
              </a:extLst>
            </p:cNvPr>
            <p:cNvSpPr/>
            <p:nvPr/>
          </p:nvSpPr>
          <p:spPr>
            <a:xfrm>
              <a:off x="-5462237" y="2762292"/>
              <a:ext cx="4390114" cy="5144764"/>
            </a:xfrm>
            <a:custGeom>
              <a:avLst/>
              <a:gdLst>
                <a:gd name="connsiteX0" fmla="*/ 4014774 w 4390114"/>
                <a:gd name="connsiteY0" fmla="*/ 886113 h 5144764"/>
                <a:gd name="connsiteX1" fmla="*/ 3198956 w 4390114"/>
                <a:gd name="connsiteY1" fmla="*/ 886113 h 5144764"/>
                <a:gd name="connsiteX2" fmla="*/ 2238946 w 4390114"/>
                <a:gd name="connsiteY2" fmla="*/ 948 h 5144764"/>
                <a:gd name="connsiteX3" fmla="*/ 1278935 w 4390114"/>
                <a:gd name="connsiteY3" fmla="*/ 886113 h 5144764"/>
                <a:gd name="connsiteX4" fmla="*/ 375315 w 4390114"/>
                <a:gd name="connsiteY4" fmla="*/ 886113 h 5144764"/>
                <a:gd name="connsiteX5" fmla="*/ 948 w 4390114"/>
                <a:gd name="connsiteY5" fmla="*/ 1260493 h 5144764"/>
                <a:gd name="connsiteX6" fmla="*/ 948 w 4390114"/>
                <a:gd name="connsiteY6" fmla="*/ 4769588 h 5144764"/>
                <a:gd name="connsiteX7" fmla="*/ 375315 w 4390114"/>
                <a:gd name="connsiteY7" fmla="*/ 5144044 h 5144764"/>
                <a:gd name="connsiteX8" fmla="*/ 4014774 w 4390114"/>
                <a:gd name="connsiteY8" fmla="*/ 5144044 h 5144764"/>
                <a:gd name="connsiteX9" fmla="*/ 4389230 w 4390114"/>
                <a:gd name="connsiteY9" fmla="*/ 4769588 h 5144764"/>
                <a:gd name="connsiteX10" fmla="*/ 4389230 w 4390114"/>
                <a:gd name="connsiteY10" fmla="*/ 1260493 h 5144764"/>
                <a:gd name="connsiteX11" fmla="*/ 4014774 w 4390114"/>
                <a:gd name="connsiteY11" fmla="*/ 886113 h 5144764"/>
                <a:gd name="connsiteX12" fmla="*/ 2238946 w 4390114"/>
                <a:gd name="connsiteY12" fmla="*/ 179612 h 5144764"/>
                <a:gd name="connsiteX13" fmla="*/ 3016311 w 4390114"/>
                <a:gd name="connsiteY13" fmla="*/ 886113 h 5144764"/>
                <a:gd name="connsiteX14" fmla="*/ 1461581 w 4390114"/>
                <a:gd name="connsiteY14" fmla="*/ 886113 h 5144764"/>
                <a:gd name="connsiteX15" fmla="*/ 2238946 w 4390114"/>
                <a:gd name="connsiteY15" fmla="*/ 179612 h 5144764"/>
                <a:gd name="connsiteX16" fmla="*/ 4210566 w 4390114"/>
                <a:gd name="connsiteY16" fmla="*/ 4769588 h 5144764"/>
                <a:gd name="connsiteX17" fmla="*/ 4014774 w 4390114"/>
                <a:gd name="connsiteY17" fmla="*/ 4965380 h 5144764"/>
                <a:gd name="connsiteX18" fmla="*/ 375315 w 4390114"/>
                <a:gd name="connsiteY18" fmla="*/ 4965380 h 5144764"/>
                <a:gd name="connsiteX19" fmla="*/ 179612 w 4390114"/>
                <a:gd name="connsiteY19" fmla="*/ 4769588 h 5144764"/>
                <a:gd name="connsiteX20" fmla="*/ 179612 w 4390114"/>
                <a:gd name="connsiteY20" fmla="*/ 1260493 h 5144764"/>
                <a:gd name="connsiteX21" fmla="*/ 375315 w 4390114"/>
                <a:gd name="connsiteY21" fmla="*/ 1064789 h 5144764"/>
                <a:gd name="connsiteX22" fmla="*/ 4014774 w 4390114"/>
                <a:gd name="connsiteY22" fmla="*/ 1064789 h 5144764"/>
                <a:gd name="connsiteX23" fmla="*/ 4210566 w 4390114"/>
                <a:gd name="connsiteY23" fmla="*/ 1260493 h 5144764"/>
                <a:gd name="connsiteX24" fmla="*/ 4210566 w 4390114"/>
                <a:gd name="connsiteY24" fmla="*/ 4769588 h 514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390114" h="5144764">
                  <a:moveTo>
                    <a:pt x="4014774" y="886113"/>
                  </a:moveTo>
                  <a:lnTo>
                    <a:pt x="3198956" y="886113"/>
                  </a:lnTo>
                  <a:cubicBezTo>
                    <a:pt x="3158632" y="391394"/>
                    <a:pt x="2743904" y="948"/>
                    <a:pt x="2238946" y="948"/>
                  </a:cubicBezTo>
                  <a:cubicBezTo>
                    <a:pt x="1733988" y="948"/>
                    <a:pt x="1319259" y="391394"/>
                    <a:pt x="1278935" y="886113"/>
                  </a:cubicBezTo>
                  <a:lnTo>
                    <a:pt x="375315" y="886113"/>
                  </a:lnTo>
                  <a:cubicBezTo>
                    <a:pt x="168867" y="886113"/>
                    <a:pt x="948" y="1054045"/>
                    <a:pt x="948" y="1260493"/>
                  </a:cubicBezTo>
                  <a:lnTo>
                    <a:pt x="948" y="4769588"/>
                  </a:lnTo>
                  <a:cubicBezTo>
                    <a:pt x="948" y="4976036"/>
                    <a:pt x="168867" y="5144044"/>
                    <a:pt x="375315" y="5144044"/>
                  </a:cubicBezTo>
                  <a:lnTo>
                    <a:pt x="4014774" y="5144044"/>
                  </a:lnTo>
                  <a:cubicBezTo>
                    <a:pt x="4221222" y="5144044"/>
                    <a:pt x="4389230" y="4976036"/>
                    <a:pt x="4389230" y="4769588"/>
                  </a:cubicBezTo>
                  <a:lnTo>
                    <a:pt x="4389230" y="1260493"/>
                  </a:lnTo>
                  <a:cubicBezTo>
                    <a:pt x="4389230" y="1054045"/>
                    <a:pt x="4221234" y="886113"/>
                    <a:pt x="4014774" y="886113"/>
                  </a:cubicBezTo>
                  <a:close/>
                  <a:moveTo>
                    <a:pt x="2238946" y="179612"/>
                  </a:moveTo>
                  <a:cubicBezTo>
                    <a:pt x="2644977" y="179612"/>
                    <a:pt x="2976126" y="490497"/>
                    <a:pt x="3016311" y="886113"/>
                  </a:cubicBezTo>
                  <a:lnTo>
                    <a:pt x="1461581" y="886113"/>
                  </a:lnTo>
                  <a:cubicBezTo>
                    <a:pt x="1501765" y="490497"/>
                    <a:pt x="1832914" y="179612"/>
                    <a:pt x="2238946" y="179612"/>
                  </a:cubicBezTo>
                  <a:close/>
                  <a:moveTo>
                    <a:pt x="4210566" y="4769588"/>
                  </a:moveTo>
                  <a:cubicBezTo>
                    <a:pt x="4210566" y="4877578"/>
                    <a:pt x="4122763" y="4965380"/>
                    <a:pt x="4014774" y="4965380"/>
                  </a:cubicBezTo>
                  <a:lnTo>
                    <a:pt x="375315" y="4965380"/>
                  </a:lnTo>
                  <a:cubicBezTo>
                    <a:pt x="267401" y="4965380"/>
                    <a:pt x="179612" y="4877578"/>
                    <a:pt x="179612" y="4769588"/>
                  </a:cubicBezTo>
                  <a:lnTo>
                    <a:pt x="179612" y="1260493"/>
                  </a:lnTo>
                  <a:cubicBezTo>
                    <a:pt x="179612" y="1152579"/>
                    <a:pt x="267414" y="1064789"/>
                    <a:pt x="375315" y="1064789"/>
                  </a:cubicBezTo>
                  <a:lnTo>
                    <a:pt x="4014774" y="1064789"/>
                  </a:lnTo>
                  <a:cubicBezTo>
                    <a:pt x="4122763" y="1064789"/>
                    <a:pt x="4210566" y="1152592"/>
                    <a:pt x="4210566" y="1260493"/>
                  </a:cubicBezTo>
                  <a:lnTo>
                    <a:pt x="4210566" y="4769588"/>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grpSp>
      <p:grpSp>
        <p:nvGrpSpPr>
          <p:cNvPr id="217" name="Graphic 47">
            <a:extLst>
              <a:ext uri="{FF2B5EF4-FFF2-40B4-BE49-F238E27FC236}">
                <a16:creationId xmlns:a16="http://schemas.microsoft.com/office/drawing/2014/main" id="{D1D61F52-DD2E-4AAE-8286-CE904905A1C6}"/>
              </a:ext>
            </a:extLst>
          </p:cNvPr>
          <p:cNvGrpSpPr/>
          <p:nvPr/>
        </p:nvGrpSpPr>
        <p:grpSpPr>
          <a:xfrm>
            <a:off x="860030" y="1957351"/>
            <a:ext cx="206872" cy="220219"/>
            <a:chOff x="-5049818" y="2602878"/>
            <a:chExt cx="4831773" cy="5143500"/>
          </a:xfrm>
          <a:solidFill>
            <a:schemeClr val="accent2"/>
          </a:solidFill>
        </p:grpSpPr>
        <p:sp>
          <p:nvSpPr>
            <p:cNvPr id="218" name="Freeform: Shape 217">
              <a:extLst>
                <a:ext uri="{FF2B5EF4-FFF2-40B4-BE49-F238E27FC236}">
                  <a16:creationId xmlns:a16="http://schemas.microsoft.com/office/drawing/2014/main" id="{CB46889A-79E8-450A-B4B8-C65E5B4FA03C}"/>
                </a:ext>
              </a:extLst>
            </p:cNvPr>
            <p:cNvSpPr/>
            <p:nvPr/>
          </p:nvSpPr>
          <p:spPr>
            <a:xfrm>
              <a:off x="-4426032" y="2601086"/>
              <a:ext cx="2817535" cy="2299588"/>
            </a:xfrm>
            <a:custGeom>
              <a:avLst/>
              <a:gdLst>
                <a:gd name="connsiteX0" fmla="*/ 2127304 w 2817535"/>
                <a:gd name="connsiteY0" fmla="*/ 2299318 h 2299588"/>
                <a:gd name="connsiteX1" fmla="*/ 2062896 w 2817535"/>
                <a:gd name="connsiteY1" fmla="*/ 2271886 h 2299588"/>
                <a:gd name="connsiteX2" fmla="*/ 1652830 w 2817535"/>
                <a:gd name="connsiteY2" fmla="*/ 1845419 h 2299588"/>
                <a:gd name="connsiteX3" fmla="*/ 26669 w 2817535"/>
                <a:gd name="connsiteY3" fmla="*/ 153051 h 2299588"/>
                <a:gd name="connsiteX4" fmla="*/ 20602 w 2817535"/>
                <a:gd name="connsiteY4" fmla="*/ 36321 h 2299588"/>
                <a:gd name="connsiteX5" fmla="*/ 135270 w 2817535"/>
                <a:gd name="connsiteY5" fmla="*/ 13469 h 2299588"/>
                <a:gd name="connsiteX6" fmla="*/ 1861879 w 2817535"/>
                <a:gd name="connsiteY6" fmla="*/ 990662 h 2299588"/>
                <a:gd name="connsiteX7" fmla="*/ 2771716 w 2817535"/>
                <a:gd name="connsiteY7" fmla="*/ 1505084 h 2299588"/>
                <a:gd name="connsiteX8" fmla="*/ 2815357 w 2817535"/>
                <a:gd name="connsiteY8" fmla="*/ 1565512 h 2299588"/>
                <a:gd name="connsiteX9" fmla="*/ 2797997 w 2817535"/>
                <a:gd name="connsiteY9" fmla="*/ 1638000 h 2299588"/>
                <a:gd name="connsiteX10" fmla="*/ 2752988 w 2817535"/>
                <a:gd name="connsiteY10" fmla="*/ 1687421 h 2299588"/>
                <a:gd name="connsiteX11" fmla="*/ 2191807 w 2817535"/>
                <a:gd name="connsiteY11" fmla="*/ 2271790 h 2299588"/>
                <a:gd name="connsiteX12" fmla="*/ 2127399 w 2817535"/>
                <a:gd name="connsiteY12" fmla="*/ 2299318 h 2299588"/>
                <a:gd name="connsiteX13" fmla="*/ 2127304 w 2817535"/>
                <a:gd name="connsiteY13" fmla="*/ 2299318 h 2299588"/>
                <a:gd name="connsiteX14" fmla="*/ 579218 w 2817535"/>
                <a:gd name="connsiteY14" fmla="*/ 470533 h 2299588"/>
                <a:gd name="connsiteX15" fmla="*/ 1781646 w 2817535"/>
                <a:gd name="connsiteY15" fmla="*/ 1721543 h 2299588"/>
                <a:gd name="connsiteX16" fmla="*/ 2127231 w 2817535"/>
                <a:gd name="connsiteY16" fmla="*/ 2080965 h 2299588"/>
                <a:gd name="connsiteX17" fmla="*/ 2584583 w 2817535"/>
                <a:gd name="connsiteY17" fmla="*/ 1604597 h 2299588"/>
                <a:gd name="connsiteX18" fmla="*/ 1773948 w 2817535"/>
                <a:gd name="connsiteY18" fmla="*/ 1146238 h 2299588"/>
                <a:gd name="connsiteX19" fmla="*/ 579218 w 2817535"/>
                <a:gd name="connsiteY19" fmla="*/ 470533 h 229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17535" h="2299588">
                  <a:moveTo>
                    <a:pt x="2127304" y="2299318"/>
                  </a:moveTo>
                  <a:cubicBezTo>
                    <a:pt x="2102989" y="2299318"/>
                    <a:pt x="2079705" y="2289390"/>
                    <a:pt x="2062896" y="2271886"/>
                  </a:cubicBezTo>
                  <a:lnTo>
                    <a:pt x="1652830" y="1845419"/>
                  </a:lnTo>
                  <a:cubicBezTo>
                    <a:pt x="1110569" y="1281480"/>
                    <a:pt x="568307" y="717565"/>
                    <a:pt x="26669" y="153051"/>
                  </a:cubicBezTo>
                  <a:cubicBezTo>
                    <a:pt x="-4024" y="121039"/>
                    <a:pt x="-6614" y="71331"/>
                    <a:pt x="20602" y="36321"/>
                  </a:cubicBezTo>
                  <a:cubicBezTo>
                    <a:pt x="47842" y="1288"/>
                    <a:pt x="96400" y="-8471"/>
                    <a:pt x="135270" y="13469"/>
                  </a:cubicBezTo>
                  <a:cubicBezTo>
                    <a:pt x="710431" y="339872"/>
                    <a:pt x="1286143" y="665267"/>
                    <a:pt x="1861879" y="990662"/>
                  </a:cubicBezTo>
                  <a:lnTo>
                    <a:pt x="2771716" y="1505084"/>
                  </a:lnTo>
                  <a:cubicBezTo>
                    <a:pt x="2794352" y="1517913"/>
                    <a:pt x="2810250" y="1539974"/>
                    <a:pt x="2815357" y="1565512"/>
                  </a:cubicBezTo>
                  <a:cubicBezTo>
                    <a:pt x="2820369" y="1591049"/>
                    <a:pt x="2814062" y="1617522"/>
                    <a:pt x="2797997" y="1638000"/>
                  </a:cubicBezTo>
                  <a:cubicBezTo>
                    <a:pt x="2784257" y="1655553"/>
                    <a:pt x="2768670" y="1671571"/>
                    <a:pt x="2752988" y="1687421"/>
                  </a:cubicBezTo>
                  <a:lnTo>
                    <a:pt x="2191807" y="2271790"/>
                  </a:lnTo>
                  <a:cubicBezTo>
                    <a:pt x="2174998" y="2289342"/>
                    <a:pt x="2151738" y="2299294"/>
                    <a:pt x="2127399" y="2299318"/>
                  </a:cubicBezTo>
                  <a:lnTo>
                    <a:pt x="2127304" y="2299318"/>
                  </a:lnTo>
                  <a:close/>
                  <a:moveTo>
                    <a:pt x="579218" y="470533"/>
                  </a:moveTo>
                  <a:cubicBezTo>
                    <a:pt x="979835" y="887697"/>
                    <a:pt x="1380788" y="1304596"/>
                    <a:pt x="1781646" y="1721543"/>
                  </a:cubicBezTo>
                  <a:lnTo>
                    <a:pt x="2127231" y="2080965"/>
                  </a:lnTo>
                  <a:lnTo>
                    <a:pt x="2584583" y="1604597"/>
                  </a:lnTo>
                  <a:lnTo>
                    <a:pt x="1773948" y="1146238"/>
                  </a:lnTo>
                  <a:cubicBezTo>
                    <a:pt x="1375609" y="921123"/>
                    <a:pt x="977317" y="696008"/>
                    <a:pt x="579218" y="47053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19" name="Freeform: Shape 218">
              <a:extLst>
                <a:ext uri="{FF2B5EF4-FFF2-40B4-BE49-F238E27FC236}">
                  <a16:creationId xmlns:a16="http://schemas.microsoft.com/office/drawing/2014/main" id="{613179C0-B7F1-4AA0-BFBA-5345AA39CC53}"/>
                </a:ext>
              </a:extLst>
            </p:cNvPr>
            <p:cNvSpPr/>
            <p:nvPr/>
          </p:nvSpPr>
          <p:spPr>
            <a:xfrm>
              <a:off x="-5051616" y="2735277"/>
              <a:ext cx="2484227" cy="4901312"/>
            </a:xfrm>
            <a:custGeom>
              <a:avLst/>
              <a:gdLst>
                <a:gd name="connsiteX0" fmla="*/ 117185 w 2484226"/>
                <a:gd name="connsiteY0" fmla="*/ 4900821 h 4901311"/>
                <a:gd name="connsiteX1" fmla="*/ 32108 w 2484226"/>
                <a:gd name="connsiteY1" fmla="*/ 4838835 h 4901311"/>
                <a:gd name="connsiteX2" fmla="*/ 1798 w 2484226"/>
                <a:gd name="connsiteY2" fmla="*/ 4684674 h 4901311"/>
                <a:gd name="connsiteX3" fmla="*/ 1798 w 2484226"/>
                <a:gd name="connsiteY3" fmla="*/ 248148 h 4901311"/>
                <a:gd name="connsiteX4" fmla="*/ 44457 w 2484226"/>
                <a:gd name="connsiteY4" fmla="*/ 56531 h 4901311"/>
                <a:gd name="connsiteX5" fmla="*/ 105700 w 2484226"/>
                <a:gd name="connsiteY5" fmla="*/ 4329 h 4901311"/>
                <a:gd name="connsiteX6" fmla="*/ 184087 w 2484226"/>
                <a:gd name="connsiteY6" fmla="*/ 22601 h 4901311"/>
                <a:gd name="connsiteX7" fmla="*/ 206076 w 2484226"/>
                <a:gd name="connsiteY7" fmla="*/ 42695 h 4901311"/>
                <a:gd name="connsiteX8" fmla="*/ 1239788 w 2484226"/>
                <a:gd name="connsiteY8" fmla="*/ 1118226 h 4901311"/>
                <a:gd name="connsiteX9" fmla="*/ 2458449 w 2484226"/>
                <a:gd name="connsiteY9" fmla="*/ 2386501 h 4901311"/>
                <a:gd name="connsiteX10" fmla="*/ 2458449 w 2484226"/>
                <a:gd name="connsiteY10" fmla="*/ 2510281 h 4901311"/>
                <a:gd name="connsiteX11" fmla="*/ 198402 w 2484226"/>
                <a:gd name="connsiteY11" fmla="*/ 4862119 h 4901311"/>
                <a:gd name="connsiteX12" fmla="*/ 142819 w 2484226"/>
                <a:gd name="connsiteY12" fmla="*/ 4897056 h 4901311"/>
                <a:gd name="connsiteX13" fmla="*/ 117185 w 2484226"/>
                <a:gd name="connsiteY13" fmla="*/ 4900821 h 4901311"/>
                <a:gd name="connsiteX14" fmla="*/ 69515 w 2484226"/>
                <a:gd name="connsiteY14" fmla="*/ 4738411 h 4901311"/>
                <a:gd name="connsiteX15" fmla="*/ 66925 w 2484226"/>
                <a:gd name="connsiteY15" fmla="*/ 4741097 h 4901311"/>
                <a:gd name="connsiteX16" fmla="*/ 69515 w 2484226"/>
                <a:gd name="connsiteY16" fmla="*/ 4738411 h 4901311"/>
                <a:gd name="connsiteX17" fmla="*/ 180442 w 2484226"/>
                <a:gd name="connsiteY17" fmla="*/ 273925 h 4901311"/>
                <a:gd name="connsiteX18" fmla="*/ 180514 w 2484226"/>
                <a:gd name="connsiteY18" fmla="*/ 4622832 h 4901311"/>
                <a:gd name="connsiteX19" fmla="*/ 2270070 w 2484226"/>
                <a:gd name="connsiteY19" fmla="*/ 2448319 h 4901311"/>
                <a:gd name="connsiteX20" fmla="*/ 1110972 w 2484226"/>
                <a:gd name="connsiteY20" fmla="*/ 1242102 h 4901311"/>
                <a:gd name="connsiteX21" fmla="*/ 180442 w 2484226"/>
                <a:gd name="connsiteY21" fmla="*/ 273925 h 490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84226" h="4901311">
                  <a:moveTo>
                    <a:pt x="117185" y="4900821"/>
                  </a:moveTo>
                  <a:cubicBezTo>
                    <a:pt x="79371" y="4900821"/>
                    <a:pt x="44289" y="4876650"/>
                    <a:pt x="32108" y="4838835"/>
                  </a:cubicBezTo>
                  <a:cubicBezTo>
                    <a:pt x="17001" y="4791885"/>
                    <a:pt x="2854" y="4740689"/>
                    <a:pt x="1798" y="4684674"/>
                  </a:cubicBezTo>
                  <a:lnTo>
                    <a:pt x="1798" y="248148"/>
                  </a:lnTo>
                  <a:cubicBezTo>
                    <a:pt x="4052" y="181942"/>
                    <a:pt x="18368" y="118517"/>
                    <a:pt x="44457" y="56531"/>
                  </a:cubicBezTo>
                  <a:cubicBezTo>
                    <a:pt x="55440" y="30394"/>
                    <a:pt x="78148" y="11019"/>
                    <a:pt x="105700" y="4329"/>
                  </a:cubicBezTo>
                  <a:cubicBezTo>
                    <a:pt x="133180" y="-2385"/>
                    <a:pt x="162338" y="4449"/>
                    <a:pt x="184087" y="22601"/>
                  </a:cubicBezTo>
                  <a:cubicBezTo>
                    <a:pt x="191760" y="28979"/>
                    <a:pt x="199122" y="35622"/>
                    <a:pt x="206076" y="42695"/>
                  </a:cubicBezTo>
                  <a:lnTo>
                    <a:pt x="1239788" y="1118226"/>
                  </a:lnTo>
                  <a:cubicBezTo>
                    <a:pt x="1646136" y="1540857"/>
                    <a:pt x="2052509" y="1963463"/>
                    <a:pt x="2458449" y="2386501"/>
                  </a:cubicBezTo>
                  <a:cubicBezTo>
                    <a:pt x="2491660" y="2421103"/>
                    <a:pt x="2491660" y="2475703"/>
                    <a:pt x="2458449" y="2510281"/>
                  </a:cubicBezTo>
                  <a:lnTo>
                    <a:pt x="198402" y="4862119"/>
                  </a:lnTo>
                  <a:cubicBezTo>
                    <a:pt x="184998" y="4877418"/>
                    <a:pt x="164880" y="4890462"/>
                    <a:pt x="142819" y="4897056"/>
                  </a:cubicBezTo>
                  <a:cubicBezTo>
                    <a:pt x="134235" y="4899622"/>
                    <a:pt x="125578" y="4900821"/>
                    <a:pt x="117185" y="4900821"/>
                  </a:cubicBezTo>
                  <a:close/>
                  <a:moveTo>
                    <a:pt x="69515" y="4738411"/>
                  </a:moveTo>
                  <a:cubicBezTo>
                    <a:pt x="68556" y="4739275"/>
                    <a:pt x="67741" y="4740162"/>
                    <a:pt x="66925" y="4741097"/>
                  </a:cubicBezTo>
                  <a:lnTo>
                    <a:pt x="69515" y="4738411"/>
                  </a:lnTo>
                  <a:close/>
                  <a:moveTo>
                    <a:pt x="180442" y="273925"/>
                  </a:moveTo>
                  <a:lnTo>
                    <a:pt x="180514" y="4622832"/>
                  </a:lnTo>
                  <a:lnTo>
                    <a:pt x="2270070" y="2448319"/>
                  </a:lnTo>
                  <a:cubicBezTo>
                    <a:pt x="1883936" y="2045999"/>
                    <a:pt x="1497466" y="1644062"/>
                    <a:pt x="1110972" y="1242102"/>
                  </a:cubicBezTo>
                  <a:lnTo>
                    <a:pt x="180442" y="273925"/>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20" name="Freeform: Shape 219">
              <a:extLst>
                <a:ext uri="{FF2B5EF4-FFF2-40B4-BE49-F238E27FC236}">
                  <a16:creationId xmlns:a16="http://schemas.microsoft.com/office/drawing/2014/main" id="{646A20D4-9641-410C-BBF9-E9C411D38E7A}"/>
                </a:ext>
              </a:extLst>
            </p:cNvPr>
            <p:cNvSpPr/>
            <p:nvPr/>
          </p:nvSpPr>
          <p:spPr>
            <a:xfrm>
              <a:off x="-2031450" y="4355887"/>
              <a:ext cx="1812814" cy="1649757"/>
            </a:xfrm>
            <a:custGeom>
              <a:avLst/>
              <a:gdLst>
                <a:gd name="connsiteX0" fmla="*/ 793265 w 1812814"/>
                <a:gd name="connsiteY0" fmla="*/ 1648272 h 1649756"/>
                <a:gd name="connsiteX1" fmla="*/ 728953 w 1812814"/>
                <a:gd name="connsiteY1" fmla="*/ 1620912 h 1649756"/>
                <a:gd name="connsiteX2" fmla="*/ 26608 w 1812814"/>
                <a:gd name="connsiteY2" fmla="*/ 889072 h 1649756"/>
                <a:gd name="connsiteX3" fmla="*/ 26680 w 1812814"/>
                <a:gd name="connsiteY3" fmla="*/ 765388 h 1649756"/>
                <a:gd name="connsiteX4" fmla="*/ 733869 w 1812814"/>
                <a:gd name="connsiteY4" fmla="*/ 29304 h 1649756"/>
                <a:gd name="connsiteX5" fmla="*/ 842063 w 1812814"/>
                <a:gd name="connsiteY5" fmla="*/ 13214 h 1649756"/>
                <a:gd name="connsiteX6" fmla="*/ 1525249 w 1812814"/>
                <a:gd name="connsiteY6" fmla="*/ 398917 h 1649756"/>
                <a:gd name="connsiteX7" fmla="*/ 1629006 w 1812814"/>
                <a:gd name="connsiteY7" fmla="*/ 463444 h 1649756"/>
                <a:gd name="connsiteX8" fmla="*/ 1806211 w 1812814"/>
                <a:gd name="connsiteY8" fmla="*/ 746061 h 1649756"/>
                <a:gd name="connsiteX9" fmla="*/ 1756119 w 1812814"/>
                <a:gd name="connsiteY9" fmla="*/ 1034984 h 1649756"/>
                <a:gd name="connsiteX10" fmla="*/ 1552081 w 1812814"/>
                <a:gd name="connsiteY10" fmla="*/ 1232907 h 1649756"/>
                <a:gd name="connsiteX11" fmla="*/ 882875 w 1812814"/>
                <a:gd name="connsiteY11" fmla="*/ 1612279 h 1649756"/>
                <a:gd name="connsiteX12" fmla="*/ 828490 w 1812814"/>
                <a:gd name="connsiteY12" fmla="*/ 1641054 h 1649756"/>
                <a:gd name="connsiteX13" fmla="*/ 793265 w 1812814"/>
                <a:gd name="connsiteY13" fmla="*/ 1648272 h 1649756"/>
                <a:gd name="connsiteX14" fmla="*/ 214963 w 1812814"/>
                <a:gd name="connsiteY14" fmla="*/ 827422 h 1649756"/>
                <a:gd name="connsiteX15" fmla="*/ 810410 w 1812814"/>
                <a:gd name="connsiteY15" fmla="*/ 1447855 h 1649756"/>
                <a:gd name="connsiteX16" fmla="*/ 1464582 w 1812814"/>
                <a:gd name="connsiteY16" fmla="*/ 1077043 h 1649756"/>
                <a:gd name="connsiteX17" fmla="*/ 1600423 w 1812814"/>
                <a:gd name="connsiteY17" fmla="*/ 947317 h 1649756"/>
                <a:gd name="connsiteX18" fmla="*/ 1630493 w 1812814"/>
                <a:gd name="connsiteY18" fmla="*/ 778601 h 1649756"/>
                <a:gd name="connsiteX19" fmla="*/ 1521005 w 1812814"/>
                <a:gd name="connsiteY19" fmla="*/ 605784 h 1649756"/>
                <a:gd name="connsiteX20" fmla="*/ 1438996 w 1812814"/>
                <a:gd name="connsiteY20" fmla="*/ 555404 h 1649756"/>
                <a:gd name="connsiteX21" fmla="*/ 814798 w 1812814"/>
                <a:gd name="connsiteY21" fmla="*/ 203032 h 1649756"/>
                <a:gd name="connsiteX22" fmla="*/ 214963 w 1812814"/>
                <a:gd name="connsiteY22" fmla="*/ 827422 h 164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12814" h="1649756">
                  <a:moveTo>
                    <a:pt x="793265" y="1648272"/>
                  </a:moveTo>
                  <a:cubicBezTo>
                    <a:pt x="769502" y="1648272"/>
                    <a:pt x="746146" y="1638776"/>
                    <a:pt x="728953" y="1620912"/>
                  </a:cubicBezTo>
                  <a:cubicBezTo>
                    <a:pt x="494295" y="1377525"/>
                    <a:pt x="260451" y="1133346"/>
                    <a:pt x="26608" y="889072"/>
                  </a:cubicBezTo>
                  <a:cubicBezTo>
                    <a:pt x="-6531" y="854470"/>
                    <a:pt x="-6435" y="799918"/>
                    <a:pt x="26680" y="765388"/>
                  </a:cubicBezTo>
                  <a:lnTo>
                    <a:pt x="733869" y="29304"/>
                  </a:lnTo>
                  <a:cubicBezTo>
                    <a:pt x="762069" y="-94"/>
                    <a:pt x="806501" y="-6688"/>
                    <a:pt x="842063" y="13214"/>
                  </a:cubicBezTo>
                  <a:lnTo>
                    <a:pt x="1525249" y="398917"/>
                  </a:lnTo>
                  <a:cubicBezTo>
                    <a:pt x="1560953" y="418604"/>
                    <a:pt x="1596515" y="438602"/>
                    <a:pt x="1629006" y="463444"/>
                  </a:cubicBezTo>
                  <a:cubicBezTo>
                    <a:pt x="1721757" y="533271"/>
                    <a:pt x="1786500" y="636429"/>
                    <a:pt x="1806211" y="746061"/>
                  </a:cubicBezTo>
                  <a:cubicBezTo>
                    <a:pt x="1824387" y="841234"/>
                    <a:pt x="1806690" y="944200"/>
                    <a:pt x="1756119" y="1034984"/>
                  </a:cubicBezTo>
                  <a:cubicBezTo>
                    <a:pt x="1709983" y="1116129"/>
                    <a:pt x="1639605" y="1184350"/>
                    <a:pt x="1552081" y="1232907"/>
                  </a:cubicBezTo>
                  <a:lnTo>
                    <a:pt x="882875" y="1612279"/>
                  </a:lnTo>
                  <a:cubicBezTo>
                    <a:pt x="865178" y="1622734"/>
                    <a:pt x="847314" y="1632949"/>
                    <a:pt x="828490" y="1641054"/>
                  </a:cubicBezTo>
                  <a:cubicBezTo>
                    <a:pt x="817100" y="1645922"/>
                    <a:pt x="805135" y="1648272"/>
                    <a:pt x="793265" y="1648272"/>
                  </a:cubicBezTo>
                  <a:close/>
                  <a:moveTo>
                    <a:pt x="214963" y="827422"/>
                  </a:moveTo>
                  <a:cubicBezTo>
                    <a:pt x="413245" y="1034481"/>
                    <a:pt x="611552" y="1241444"/>
                    <a:pt x="810410" y="1447855"/>
                  </a:cubicBezTo>
                  <a:lnTo>
                    <a:pt x="1464582" y="1077043"/>
                  </a:lnTo>
                  <a:cubicBezTo>
                    <a:pt x="1524122" y="1043977"/>
                    <a:pt x="1570833" y="999280"/>
                    <a:pt x="1600423" y="947317"/>
                  </a:cubicBezTo>
                  <a:cubicBezTo>
                    <a:pt x="1629749" y="894611"/>
                    <a:pt x="1640828" y="832865"/>
                    <a:pt x="1630493" y="778601"/>
                  </a:cubicBezTo>
                  <a:cubicBezTo>
                    <a:pt x="1618527" y="711843"/>
                    <a:pt x="1578626" y="649210"/>
                    <a:pt x="1521005" y="605784"/>
                  </a:cubicBezTo>
                  <a:cubicBezTo>
                    <a:pt x="1495059" y="585953"/>
                    <a:pt x="1466956" y="570822"/>
                    <a:pt x="1438996" y="555404"/>
                  </a:cubicBezTo>
                  <a:lnTo>
                    <a:pt x="814798" y="203032"/>
                  </a:lnTo>
                  <a:lnTo>
                    <a:pt x="214963" y="827422"/>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21" name="Freeform: Shape 220">
              <a:extLst>
                <a:ext uri="{FF2B5EF4-FFF2-40B4-BE49-F238E27FC236}">
                  <a16:creationId xmlns:a16="http://schemas.microsoft.com/office/drawing/2014/main" id="{7CC5875D-A5BC-440F-8C72-8F7D2556E41A}"/>
                </a:ext>
              </a:extLst>
            </p:cNvPr>
            <p:cNvSpPr/>
            <p:nvPr/>
          </p:nvSpPr>
          <p:spPr>
            <a:xfrm>
              <a:off x="-4408444" y="5465733"/>
              <a:ext cx="2795954" cy="2280405"/>
            </a:xfrm>
            <a:custGeom>
              <a:avLst/>
              <a:gdLst>
                <a:gd name="connsiteX0" fmla="*/ 91257 w 2795954"/>
                <a:gd name="connsiteY0" fmla="*/ 2280429 h 2280404"/>
                <a:gd name="connsiteX1" fmla="*/ 19104 w 2795954"/>
                <a:gd name="connsiteY1" fmla="*/ 2243933 h 2280404"/>
                <a:gd name="connsiteX2" fmla="*/ 26777 w 2795954"/>
                <a:gd name="connsiteY2" fmla="*/ 2129121 h 2280404"/>
                <a:gd name="connsiteX3" fmla="*/ 1368188 w 2795954"/>
                <a:gd name="connsiteY3" fmla="*/ 733590 h 2280404"/>
                <a:gd name="connsiteX4" fmla="*/ 2044924 w 2795954"/>
                <a:gd name="connsiteY4" fmla="*/ 29254 h 2280404"/>
                <a:gd name="connsiteX5" fmla="*/ 2109164 w 2795954"/>
                <a:gd name="connsiteY5" fmla="*/ 1798 h 2280404"/>
                <a:gd name="connsiteX6" fmla="*/ 2109332 w 2795954"/>
                <a:gd name="connsiteY6" fmla="*/ 1798 h 2280404"/>
                <a:gd name="connsiteX7" fmla="*/ 2173571 w 2795954"/>
                <a:gd name="connsiteY7" fmla="*/ 29039 h 2280404"/>
                <a:gd name="connsiteX8" fmla="*/ 2627278 w 2795954"/>
                <a:gd name="connsiteY8" fmla="*/ 500946 h 2280404"/>
                <a:gd name="connsiteX9" fmla="*/ 2692813 w 2795954"/>
                <a:gd name="connsiteY9" fmla="*/ 569574 h 2280404"/>
                <a:gd name="connsiteX10" fmla="*/ 2771920 w 2795954"/>
                <a:gd name="connsiteY10" fmla="*/ 652853 h 2280404"/>
                <a:gd name="connsiteX11" fmla="*/ 2793981 w 2795954"/>
                <a:gd name="connsiteY11" fmla="*/ 727140 h 2280404"/>
                <a:gd name="connsiteX12" fmla="*/ 2749691 w 2795954"/>
                <a:gd name="connsiteY12" fmla="*/ 790756 h 2280404"/>
                <a:gd name="connsiteX13" fmla="*/ 2558506 w 2795954"/>
                <a:gd name="connsiteY13" fmla="*/ 898830 h 2280404"/>
                <a:gd name="connsiteX14" fmla="*/ 302728 w 2795954"/>
                <a:gd name="connsiteY14" fmla="*/ 2175809 h 2280404"/>
                <a:gd name="connsiteX15" fmla="*/ 241150 w 2795954"/>
                <a:gd name="connsiteY15" fmla="*/ 2210698 h 2280404"/>
                <a:gd name="connsiteX16" fmla="*/ 130942 w 2795954"/>
                <a:gd name="connsiteY16" fmla="*/ 2271125 h 2280404"/>
                <a:gd name="connsiteX17" fmla="*/ 91257 w 2795954"/>
                <a:gd name="connsiteY17" fmla="*/ 2280429 h 2280404"/>
                <a:gd name="connsiteX18" fmla="*/ 2109308 w 2795954"/>
                <a:gd name="connsiteY18" fmla="*/ 220103 h 2280404"/>
                <a:gd name="connsiteX19" fmla="*/ 1497075 w 2795954"/>
                <a:gd name="connsiteY19" fmla="*/ 857394 h 2280404"/>
                <a:gd name="connsiteX20" fmla="*/ 577456 w 2795954"/>
                <a:gd name="connsiteY20" fmla="*/ 1814397 h 2280404"/>
                <a:gd name="connsiteX21" fmla="*/ 2470576 w 2795954"/>
                <a:gd name="connsiteY21" fmla="*/ 743182 h 2280404"/>
                <a:gd name="connsiteX22" fmla="*/ 2562056 w 2795954"/>
                <a:gd name="connsiteY22" fmla="*/ 691459 h 2280404"/>
                <a:gd name="connsiteX23" fmla="*/ 2497408 w 2795954"/>
                <a:gd name="connsiteY23" fmla="*/ 623718 h 2280404"/>
                <a:gd name="connsiteX24" fmla="*/ 2109308 w 2795954"/>
                <a:gd name="connsiteY24" fmla="*/ 220103 h 228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95954" h="2280404">
                  <a:moveTo>
                    <a:pt x="91257" y="2280429"/>
                  </a:moveTo>
                  <a:cubicBezTo>
                    <a:pt x="63537" y="2280429"/>
                    <a:pt x="36465" y="2267528"/>
                    <a:pt x="19104" y="2243933"/>
                  </a:cubicBezTo>
                  <a:cubicBezTo>
                    <a:pt x="-6601" y="2208876"/>
                    <a:pt x="-3364" y="2160414"/>
                    <a:pt x="26777" y="2129121"/>
                  </a:cubicBezTo>
                  <a:cubicBezTo>
                    <a:pt x="474178" y="1664192"/>
                    <a:pt x="921195" y="1198903"/>
                    <a:pt x="1368188" y="733590"/>
                  </a:cubicBezTo>
                  <a:lnTo>
                    <a:pt x="2044924" y="29254"/>
                  </a:lnTo>
                  <a:cubicBezTo>
                    <a:pt x="2061733" y="11750"/>
                    <a:pt x="2084921" y="1846"/>
                    <a:pt x="2109164" y="1798"/>
                  </a:cubicBezTo>
                  <a:cubicBezTo>
                    <a:pt x="2109236" y="1798"/>
                    <a:pt x="2109236" y="1798"/>
                    <a:pt x="2109332" y="1798"/>
                  </a:cubicBezTo>
                  <a:cubicBezTo>
                    <a:pt x="2133574" y="1798"/>
                    <a:pt x="2156690" y="11630"/>
                    <a:pt x="2173571" y="29039"/>
                  </a:cubicBezTo>
                  <a:lnTo>
                    <a:pt x="2627278" y="500946"/>
                  </a:lnTo>
                  <a:cubicBezTo>
                    <a:pt x="2649651" y="525093"/>
                    <a:pt x="2671232" y="547321"/>
                    <a:pt x="2692813" y="569574"/>
                  </a:cubicBezTo>
                  <a:cubicBezTo>
                    <a:pt x="2719478" y="597054"/>
                    <a:pt x="2746142" y="624510"/>
                    <a:pt x="2771920" y="652853"/>
                  </a:cubicBezTo>
                  <a:cubicBezTo>
                    <a:pt x="2790192" y="672971"/>
                    <a:pt x="2798273" y="700307"/>
                    <a:pt x="2793981" y="727140"/>
                  </a:cubicBezTo>
                  <a:cubicBezTo>
                    <a:pt x="2789688" y="753972"/>
                    <a:pt x="2773383" y="777376"/>
                    <a:pt x="2749691" y="790756"/>
                  </a:cubicBezTo>
                  <a:lnTo>
                    <a:pt x="2558506" y="898830"/>
                  </a:lnTo>
                  <a:cubicBezTo>
                    <a:pt x="1806309" y="1324002"/>
                    <a:pt x="1054111" y="1749198"/>
                    <a:pt x="302728" y="2175809"/>
                  </a:cubicBezTo>
                  <a:lnTo>
                    <a:pt x="241150" y="2210698"/>
                  </a:lnTo>
                  <a:cubicBezTo>
                    <a:pt x="204798" y="2231632"/>
                    <a:pt x="168421" y="2252493"/>
                    <a:pt x="130942" y="2271125"/>
                  </a:cubicBezTo>
                  <a:cubicBezTo>
                    <a:pt x="118257" y="2277407"/>
                    <a:pt x="104685" y="2280429"/>
                    <a:pt x="91257" y="2280429"/>
                  </a:cubicBezTo>
                  <a:close/>
                  <a:moveTo>
                    <a:pt x="2109308" y="220103"/>
                  </a:moveTo>
                  <a:lnTo>
                    <a:pt x="1497075" y="857394"/>
                  </a:lnTo>
                  <a:cubicBezTo>
                    <a:pt x="1190599" y="1176435"/>
                    <a:pt x="884099" y="1495476"/>
                    <a:pt x="577456" y="1814397"/>
                  </a:cubicBezTo>
                  <a:cubicBezTo>
                    <a:pt x="1207720" y="1457013"/>
                    <a:pt x="1839112" y="1100110"/>
                    <a:pt x="2470576" y="743182"/>
                  </a:cubicBezTo>
                  <a:lnTo>
                    <a:pt x="2562056" y="691459"/>
                  </a:lnTo>
                  <a:cubicBezTo>
                    <a:pt x="2540330" y="669063"/>
                    <a:pt x="2518653" y="646642"/>
                    <a:pt x="2497408" y="623718"/>
                  </a:cubicBezTo>
                  <a:lnTo>
                    <a:pt x="2109308" y="220103"/>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grpSp>
      <p:grpSp>
        <p:nvGrpSpPr>
          <p:cNvPr id="222" name="Group 221">
            <a:extLst>
              <a:ext uri="{FF2B5EF4-FFF2-40B4-BE49-F238E27FC236}">
                <a16:creationId xmlns:a16="http://schemas.microsoft.com/office/drawing/2014/main" id="{DF452DF0-3DD4-42A7-9B25-660039FDC52E}"/>
              </a:ext>
            </a:extLst>
          </p:cNvPr>
          <p:cNvGrpSpPr/>
          <p:nvPr/>
        </p:nvGrpSpPr>
        <p:grpSpPr>
          <a:xfrm>
            <a:off x="5884002" y="2270343"/>
            <a:ext cx="831333" cy="1395963"/>
            <a:chOff x="332945" y="2697819"/>
            <a:chExt cx="831333" cy="1395963"/>
          </a:xfrm>
        </p:grpSpPr>
        <p:pic>
          <p:nvPicPr>
            <p:cNvPr id="223" name="Picture 222">
              <a:extLst>
                <a:ext uri="{FF2B5EF4-FFF2-40B4-BE49-F238E27FC236}">
                  <a16:creationId xmlns:a16="http://schemas.microsoft.com/office/drawing/2014/main" id="{802E6BFE-3468-4153-A14E-989C891851F1}"/>
                </a:ext>
              </a:extLst>
            </p:cNvPr>
            <p:cNvPicPr>
              <a:picLocks noChangeAspect="1"/>
            </p:cNvPicPr>
            <p:nvPr/>
          </p:nvPicPr>
          <p:blipFill rotWithShape="1">
            <a:blip r:embed="rId3"/>
            <a:srcRect l="38546" t="20548" r="38546" b="21737"/>
            <a:stretch/>
          </p:blipFill>
          <p:spPr>
            <a:xfrm>
              <a:off x="332945" y="2697819"/>
              <a:ext cx="831333" cy="1395963"/>
            </a:xfrm>
            <a:prstGeom prst="rect">
              <a:avLst/>
            </a:prstGeom>
          </p:spPr>
        </p:pic>
        <p:sp>
          <p:nvSpPr>
            <p:cNvPr id="224" name="Rectangle 223">
              <a:extLst>
                <a:ext uri="{FF2B5EF4-FFF2-40B4-BE49-F238E27FC236}">
                  <a16:creationId xmlns:a16="http://schemas.microsoft.com/office/drawing/2014/main" id="{56A354EB-DDC0-4AF2-913D-DCDC57072475}"/>
                </a:ext>
              </a:extLst>
            </p:cNvPr>
            <p:cNvSpPr/>
            <p:nvPr/>
          </p:nvSpPr>
          <p:spPr>
            <a:xfrm>
              <a:off x="475124" y="2886076"/>
              <a:ext cx="571075" cy="1016054"/>
            </a:xfrm>
            <a:prstGeom prst="rect">
              <a:avLst/>
            </a:prstGeom>
            <a:solidFill>
              <a:schemeClr val="bg2"/>
            </a:solid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grpSp>
      <p:pic>
        <p:nvPicPr>
          <p:cNvPr id="99" name="Picture 98">
            <a:extLst>
              <a:ext uri="{FF2B5EF4-FFF2-40B4-BE49-F238E27FC236}">
                <a16:creationId xmlns:a16="http://schemas.microsoft.com/office/drawing/2014/main" id="{CF052522-05F7-4FEB-BF86-AA6DC065DEB3}"/>
              </a:ext>
            </a:extLst>
          </p:cNvPr>
          <p:cNvPicPr>
            <a:picLocks noChangeAspect="1"/>
          </p:cNvPicPr>
          <p:nvPr/>
        </p:nvPicPr>
        <p:blipFill>
          <a:blip r:embed="rId7"/>
          <a:stretch>
            <a:fillRect/>
          </a:stretch>
        </p:blipFill>
        <p:spPr>
          <a:xfrm>
            <a:off x="6065018" y="2675125"/>
            <a:ext cx="995418" cy="586399"/>
          </a:xfrm>
          <a:prstGeom prst="rect">
            <a:avLst/>
          </a:prstGeom>
          <a:effectLst/>
        </p:spPr>
      </p:pic>
      <p:grpSp>
        <p:nvGrpSpPr>
          <p:cNvPr id="100" name="Group 99">
            <a:extLst>
              <a:ext uri="{FF2B5EF4-FFF2-40B4-BE49-F238E27FC236}">
                <a16:creationId xmlns:a16="http://schemas.microsoft.com/office/drawing/2014/main" id="{E834F931-8DA4-4A9D-9D6F-53F6459CB671}"/>
              </a:ext>
            </a:extLst>
          </p:cNvPr>
          <p:cNvGrpSpPr/>
          <p:nvPr/>
        </p:nvGrpSpPr>
        <p:grpSpPr>
          <a:xfrm>
            <a:off x="7727516" y="2270343"/>
            <a:ext cx="831333" cy="1395963"/>
            <a:chOff x="7769935" y="2270343"/>
            <a:chExt cx="831333" cy="1395963"/>
          </a:xfrm>
        </p:grpSpPr>
        <p:grpSp>
          <p:nvGrpSpPr>
            <p:cNvPr id="227" name="Group 226">
              <a:extLst>
                <a:ext uri="{FF2B5EF4-FFF2-40B4-BE49-F238E27FC236}">
                  <a16:creationId xmlns:a16="http://schemas.microsoft.com/office/drawing/2014/main" id="{66586EF2-9064-49B0-AB39-8FF4E9A10542}"/>
                </a:ext>
              </a:extLst>
            </p:cNvPr>
            <p:cNvGrpSpPr/>
            <p:nvPr/>
          </p:nvGrpSpPr>
          <p:grpSpPr>
            <a:xfrm>
              <a:off x="7769935" y="2270343"/>
              <a:ext cx="831333" cy="1395963"/>
              <a:chOff x="332945" y="2697819"/>
              <a:chExt cx="831333" cy="1395963"/>
            </a:xfrm>
          </p:grpSpPr>
          <p:pic>
            <p:nvPicPr>
              <p:cNvPr id="228" name="Picture 227">
                <a:extLst>
                  <a:ext uri="{FF2B5EF4-FFF2-40B4-BE49-F238E27FC236}">
                    <a16:creationId xmlns:a16="http://schemas.microsoft.com/office/drawing/2014/main" id="{1095F90D-6F38-46C3-9DC8-ADBD6DA5B779}"/>
                  </a:ext>
                </a:extLst>
              </p:cNvPr>
              <p:cNvPicPr>
                <a:picLocks noChangeAspect="1"/>
              </p:cNvPicPr>
              <p:nvPr/>
            </p:nvPicPr>
            <p:blipFill rotWithShape="1">
              <a:blip r:embed="rId3"/>
              <a:srcRect l="38546" t="20548" r="38546" b="21737"/>
              <a:stretch/>
            </p:blipFill>
            <p:spPr>
              <a:xfrm>
                <a:off x="332945" y="2697819"/>
                <a:ext cx="831333" cy="1395963"/>
              </a:xfrm>
              <a:prstGeom prst="rect">
                <a:avLst/>
              </a:prstGeom>
            </p:spPr>
          </p:pic>
          <p:sp>
            <p:nvSpPr>
              <p:cNvPr id="229" name="Rectangle 228">
                <a:extLst>
                  <a:ext uri="{FF2B5EF4-FFF2-40B4-BE49-F238E27FC236}">
                    <a16:creationId xmlns:a16="http://schemas.microsoft.com/office/drawing/2014/main" id="{385CF0EB-1EA6-4DED-A553-C7C4006F6BF8}"/>
                  </a:ext>
                </a:extLst>
              </p:cNvPr>
              <p:cNvSpPr/>
              <p:nvPr/>
            </p:nvSpPr>
            <p:spPr>
              <a:xfrm>
                <a:off x="475124" y="2886076"/>
                <a:ext cx="571075" cy="1016054"/>
              </a:xfrm>
              <a:prstGeom prst="rect">
                <a:avLst/>
              </a:prstGeom>
              <a:solidFill>
                <a:schemeClr val="bg2"/>
              </a:solid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grpSp>
        <p:pic>
          <p:nvPicPr>
            <p:cNvPr id="226" name="Picture 225" descr="A close up of a device&#10;&#10;Description automatically generated">
              <a:extLst>
                <a:ext uri="{FF2B5EF4-FFF2-40B4-BE49-F238E27FC236}">
                  <a16:creationId xmlns:a16="http://schemas.microsoft.com/office/drawing/2014/main" id="{058CDB6D-FFF8-48D4-B468-B097A923972A}"/>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78878" t="31576" r="7313" b="34392"/>
            <a:stretch/>
          </p:blipFill>
          <p:spPr>
            <a:xfrm>
              <a:off x="7912114" y="2599262"/>
              <a:ext cx="571075" cy="694193"/>
            </a:xfrm>
            <a:prstGeom prst="rect">
              <a:avLst/>
            </a:prstGeom>
          </p:spPr>
        </p:pic>
      </p:grpSp>
      <p:grpSp>
        <p:nvGrpSpPr>
          <p:cNvPr id="230" name="Graphic 58">
            <a:extLst>
              <a:ext uri="{FF2B5EF4-FFF2-40B4-BE49-F238E27FC236}">
                <a16:creationId xmlns:a16="http://schemas.microsoft.com/office/drawing/2014/main" id="{69A9EB39-9931-4FAE-88AB-A04704BA0C0A}"/>
              </a:ext>
            </a:extLst>
          </p:cNvPr>
          <p:cNvGrpSpPr/>
          <p:nvPr/>
        </p:nvGrpSpPr>
        <p:grpSpPr>
          <a:xfrm>
            <a:off x="6990634" y="3353111"/>
            <a:ext cx="335271" cy="379001"/>
            <a:chOff x="-1298259" y="849630"/>
            <a:chExt cx="390123" cy="441008"/>
          </a:xfrm>
          <a:solidFill>
            <a:schemeClr val="accent2"/>
          </a:solidFill>
        </p:grpSpPr>
        <p:sp>
          <p:nvSpPr>
            <p:cNvPr id="231" name="Freeform: Shape 230">
              <a:extLst>
                <a:ext uri="{FF2B5EF4-FFF2-40B4-BE49-F238E27FC236}">
                  <a16:creationId xmlns:a16="http://schemas.microsoft.com/office/drawing/2014/main" id="{A53A7AEC-2C89-468C-B4BC-AF423D411C5F}"/>
                </a:ext>
              </a:extLst>
            </p:cNvPr>
            <p:cNvSpPr/>
            <p:nvPr/>
          </p:nvSpPr>
          <p:spPr>
            <a:xfrm>
              <a:off x="-1320383" y="827506"/>
              <a:ext cx="424047" cy="474932"/>
            </a:xfrm>
            <a:custGeom>
              <a:avLst/>
              <a:gdLst>
                <a:gd name="connsiteX0" fmla="*/ 22124 w 424046"/>
                <a:gd name="connsiteY0" fmla="*/ 22124 h 474931"/>
                <a:gd name="connsiteX1" fmla="*/ 22124 w 424046"/>
                <a:gd name="connsiteY1" fmla="*/ 451598 h 474931"/>
                <a:gd name="connsiteX2" fmla="*/ 28230 w 424046"/>
                <a:gd name="connsiteY2" fmla="*/ 457704 h 474931"/>
                <a:gd name="connsiteX3" fmla="*/ 401392 w 424046"/>
                <a:gd name="connsiteY3" fmla="*/ 457704 h 474931"/>
                <a:gd name="connsiteX4" fmla="*/ 407498 w 424046"/>
                <a:gd name="connsiteY4" fmla="*/ 451598 h 474931"/>
                <a:gd name="connsiteX5" fmla="*/ 407498 w 424046"/>
                <a:gd name="connsiteY5" fmla="*/ 22124 h 474931"/>
                <a:gd name="connsiteX6" fmla="*/ 22124 w 424046"/>
                <a:gd name="connsiteY6" fmla="*/ 22124 h 474931"/>
                <a:gd name="connsiteX7" fmla="*/ 395285 w 424046"/>
                <a:gd name="connsiteY7" fmla="*/ 445492 h 474931"/>
                <a:gd name="connsiteX8" fmla="*/ 34337 w 424046"/>
                <a:gd name="connsiteY8" fmla="*/ 445492 h 474931"/>
                <a:gd name="connsiteX9" fmla="*/ 34337 w 424046"/>
                <a:gd name="connsiteY9" fmla="*/ 372895 h 474931"/>
                <a:gd name="connsiteX10" fmla="*/ 395285 w 424046"/>
                <a:gd name="connsiteY10" fmla="*/ 372895 h 474931"/>
                <a:gd name="connsiteX11" fmla="*/ 395285 w 424046"/>
                <a:gd name="connsiteY11" fmla="*/ 445492 h 474931"/>
                <a:gd name="connsiteX12" fmla="*/ 395285 w 424046"/>
                <a:gd name="connsiteY12" fmla="*/ 360683 h 474931"/>
                <a:gd name="connsiteX13" fmla="*/ 34337 w 424046"/>
                <a:gd name="connsiteY13" fmla="*/ 360683 h 474931"/>
                <a:gd name="connsiteX14" fmla="*/ 34337 w 424046"/>
                <a:gd name="connsiteY14" fmla="*/ 288086 h 474931"/>
                <a:gd name="connsiteX15" fmla="*/ 395285 w 424046"/>
                <a:gd name="connsiteY15" fmla="*/ 288086 h 474931"/>
                <a:gd name="connsiteX16" fmla="*/ 395285 w 424046"/>
                <a:gd name="connsiteY16" fmla="*/ 360683 h 474931"/>
                <a:gd name="connsiteX17" fmla="*/ 395285 w 424046"/>
                <a:gd name="connsiteY17" fmla="*/ 275873 h 474931"/>
                <a:gd name="connsiteX18" fmla="*/ 34337 w 424046"/>
                <a:gd name="connsiteY18" fmla="*/ 275873 h 474931"/>
                <a:gd name="connsiteX19" fmla="*/ 34337 w 424046"/>
                <a:gd name="connsiteY19" fmla="*/ 203277 h 474931"/>
                <a:gd name="connsiteX20" fmla="*/ 395285 w 424046"/>
                <a:gd name="connsiteY20" fmla="*/ 203277 h 474931"/>
                <a:gd name="connsiteX21" fmla="*/ 395285 w 424046"/>
                <a:gd name="connsiteY21" fmla="*/ 275873 h 474931"/>
                <a:gd name="connsiteX22" fmla="*/ 395285 w 424046"/>
                <a:gd name="connsiteY22" fmla="*/ 191064 h 474931"/>
                <a:gd name="connsiteX23" fmla="*/ 34337 w 424046"/>
                <a:gd name="connsiteY23" fmla="*/ 191064 h 474931"/>
                <a:gd name="connsiteX24" fmla="*/ 34337 w 424046"/>
                <a:gd name="connsiteY24" fmla="*/ 118467 h 474931"/>
                <a:gd name="connsiteX25" fmla="*/ 395285 w 424046"/>
                <a:gd name="connsiteY25" fmla="*/ 118467 h 474931"/>
                <a:gd name="connsiteX26" fmla="*/ 395285 w 424046"/>
                <a:gd name="connsiteY26" fmla="*/ 191064 h 474931"/>
                <a:gd name="connsiteX27" fmla="*/ 395285 w 424046"/>
                <a:gd name="connsiteY27" fmla="*/ 106255 h 474931"/>
                <a:gd name="connsiteX28" fmla="*/ 34337 w 424046"/>
                <a:gd name="connsiteY28" fmla="*/ 106255 h 474931"/>
                <a:gd name="connsiteX29" fmla="*/ 34337 w 424046"/>
                <a:gd name="connsiteY29" fmla="*/ 33658 h 474931"/>
                <a:gd name="connsiteX30" fmla="*/ 395285 w 424046"/>
                <a:gd name="connsiteY30" fmla="*/ 33658 h 474931"/>
                <a:gd name="connsiteX31" fmla="*/ 395285 w 424046"/>
                <a:gd name="connsiteY31" fmla="*/ 106255 h 474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4046" h="474931">
                  <a:moveTo>
                    <a:pt x="22124" y="22124"/>
                  </a:moveTo>
                  <a:lnTo>
                    <a:pt x="22124" y="451598"/>
                  </a:lnTo>
                  <a:cubicBezTo>
                    <a:pt x="22124" y="454990"/>
                    <a:pt x="24838" y="457704"/>
                    <a:pt x="28230" y="457704"/>
                  </a:cubicBezTo>
                  <a:lnTo>
                    <a:pt x="401392" y="457704"/>
                  </a:lnTo>
                  <a:cubicBezTo>
                    <a:pt x="404784" y="457704"/>
                    <a:pt x="407498" y="454990"/>
                    <a:pt x="407498" y="451598"/>
                  </a:cubicBezTo>
                  <a:lnTo>
                    <a:pt x="407498" y="22124"/>
                  </a:lnTo>
                  <a:lnTo>
                    <a:pt x="22124" y="22124"/>
                  </a:lnTo>
                  <a:close/>
                  <a:moveTo>
                    <a:pt x="395285" y="445492"/>
                  </a:moveTo>
                  <a:lnTo>
                    <a:pt x="34337" y="445492"/>
                  </a:lnTo>
                  <a:lnTo>
                    <a:pt x="34337" y="372895"/>
                  </a:lnTo>
                  <a:lnTo>
                    <a:pt x="395285" y="372895"/>
                  </a:lnTo>
                  <a:lnTo>
                    <a:pt x="395285" y="445492"/>
                  </a:lnTo>
                  <a:close/>
                  <a:moveTo>
                    <a:pt x="395285" y="360683"/>
                  </a:moveTo>
                  <a:lnTo>
                    <a:pt x="34337" y="360683"/>
                  </a:lnTo>
                  <a:lnTo>
                    <a:pt x="34337" y="288086"/>
                  </a:lnTo>
                  <a:lnTo>
                    <a:pt x="395285" y="288086"/>
                  </a:lnTo>
                  <a:lnTo>
                    <a:pt x="395285" y="360683"/>
                  </a:lnTo>
                  <a:close/>
                  <a:moveTo>
                    <a:pt x="395285" y="275873"/>
                  </a:moveTo>
                  <a:lnTo>
                    <a:pt x="34337" y="275873"/>
                  </a:lnTo>
                  <a:lnTo>
                    <a:pt x="34337" y="203277"/>
                  </a:lnTo>
                  <a:lnTo>
                    <a:pt x="395285" y="203277"/>
                  </a:lnTo>
                  <a:lnTo>
                    <a:pt x="395285" y="275873"/>
                  </a:lnTo>
                  <a:close/>
                  <a:moveTo>
                    <a:pt x="395285" y="191064"/>
                  </a:moveTo>
                  <a:lnTo>
                    <a:pt x="34337" y="191064"/>
                  </a:lnTo>
                  <a:lnTo>
                    <a:pt x="34337" y="118467"/>
                  </a:lnTo>
                  <a:lnTo>
                    <a:pt x="395285" y="118467"/>
                  </a:lnTo>
                  <a:lnTo>
                    <a:pt x="395285" y="191064"/>
                  </a:lnTo>
                  <a:close/>
                  <a:moveTo>
                    <a:pt x="395285" y="106255"/>
                  </a:moveTo>
                  <a:lnTo>
                    <a:pt x="34337" y="106255"/>
                  </a:lnTo>
                  <a:lnTo>
                    <a:pt x="34337" y="33658"/>
                  </a:lnTo>
                  <a:lnTo>
                    <a:pt x="395285" y="33658"/>
                  </a:lnTo>
                  <a:lnTo>
                    <a:pt x="395285" y="106255"/>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32" name="Freeform: Shape 231">
              <a:extLst>
                <a:ext uri="{FF2B5EF4-FFF2-40B4-BE49-F238E27FC236}">
                  <a16:creationId xmlns:a16="http://schemas.microsoft.com/office/drawing/2014/main" id="{32E6FE13-8D32-4F60-91BB-8B244CC2A9E0}"/>
                </a:ext>
              </a:extLst>
            </p:cNvPr>
            <p:cNvSpPr/>
            <p:nvPr/>
          </p:nvSpPr>
          <p:spPr>
            <a:xfrm>
              <a:off x="-1076811" y="1199988"/>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33" name="Freeform: Shape 232">
              <a:extLst>
                <a:ext uri="{FF2B5EF4-FFF2-40B4-BE49-F238E27FC236}">
                  <a16:creationId xmlns:a16="http://schemas.microsoft.com/office/drawing/2014/main" id="{3A2103D9-F7E1-4B00-9628-7AEF06ADBCCC}"/>
                </a:ext>
              </a:extLst>
            </p:cNvPr>
            <p:cNvSpPr/>
            <p:nvPr/>
          </p:nvSpPr>
          <p:spPr>
            <a:xfrm>
              <a:off x="-1212506"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34" name="Freeform: Shape 233">
              <a:extLst>
                <a:ext uri="{FF2B5EF4-FFF2-40B4-BE49-F238E27FC236}">
                  <a16:creationId xmlns:a16="http://schemas.microsoft.com/office/drawing/2014/main" id="{80DDAAA5-9C76-45AB-B4CF-EF5E47270167}"/>
                </a:ext>
              </a:extLst>
            </p:cNvPr>
            <p:cNvSpPr/>
            <p:nvPr/>
          </p:nvSpPr>
          <p:spPr>
            <a:xfrm>
              <a:off x="-1246429"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35" name="Freeform: Shape 234">
              <a:extLst>
                <a:ext uri="{FF2B5EF4-FFF2-40B4-BE49-F238E27FC236}">
                  <a16:creationId xmlns:a16="http://schemas.microsoft.com/office/drawing/2014/main" id="{4E4ACFB6-10A0-4D2B-9B4B-257A640299AD}"/>
                </a:ext>
              </a:extLst>
            </p:cNvPr>
            <p:cNvSpPr/>
            <p:nvPr/>
          </p:nvSpPr>
          <p:spPr>
            <a:xfrm>
              <a:off x="-1280353" y="1199988"/>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36" name="Freeform: Shape 235">
              <a:extLst>
                <a:ext uri="{FF2B5EF4-FFF2-40B4-BE49-F238E27FC236}">
                  <a16:creationId xmlns:a16="http://schemas.microsoft.com/office/drawing/2014/main" id="{57E1FA5A-F1B4-4821-B1A6-6FDA6EB0BDFB}"/>
                </a:ext>
              </a:extLst>
            </p:cNvPr>
            <p:cNvSpPr/>
            <p:nvPr/>
          </p:nvSpPr>
          <p:spPr>
            <a:xfrm>
              <a:off x="-1076811" y="1115179"/>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37" name="Freeform: Shape 236">
              <a:extLst>
                <a:ext uri="{FF2B5EF4-FFF2-40B4-BE49-F238E27FC236}">
                  <a16:creationId xmlns:a16="http://schemas.microsoft.com/office/drawing/2014/main" id="{11A80FDF-D218-44DB-A45F-A3D434E980B8}"/>
                </a:ext>
              </a:extLst>
            </p:cNvPr>
            <p:cNvSpPr/>
            <p:nvPr/>
          </p:nvSpPr>
          <p:spPr>
            <a:xfrm>
              <a:off x="-1212506"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38" name="Freeform: Shape 237">
              <a:extLst>
                <a:ext uri="{FF2B5EF4-FFF2-40B4-BE49-F238E27FC236}">
                  <a16:creationId xmlns:a16="http://schemas.microsoft.com/office/drawing/2014/main" id="{247EC461-1447-4ECE-B8AD-59557E3980CE}"/>
                </a:ext>
              </a:extLst>
            </p:cNvPr>
            <p:cNvSpPr/>
            <p:nvPr/>
          </p:nvSpPr>
          <p:spPr>
            <a:xfrm>
              <a:off x="-1246429"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39" name="Freeform: Shape 238">
              <a:extLst>
                <a:ext uri="{FF2B5EF4-FFF2-40B4-BE49-F238E27FC236}">
                  <a16:creationId xmlns:a16="http://schemas.microsoft.com/office/drawing/2014/main" id="{31D2B74A-7A74-41DF-90A7-EED63F62EE0D}"/>
                </a:ext>
              </a:extLst>
            </p:cNvPr>
            <p:cNvSpPr/>
            <p:nvPr/>
          </p:nvSpPr>
          <p:spPr>
            <a:xfrm>
              <a:off x="-1280353" y="1115179"/>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40" name="Freeform: Shape 239">
              <a:extLst>
                <a:ext uri="{FF2B5EF4-FFF2-40B4-BE49-F238E27FC236}">
                  <a16:creationId xmlns:a16="http://schemas.microsoft.com/office/drawing/2014/main" id="{73AB1B85-1C64-4566-BC53-9602830E1F0A}"/>
                </a:ext>
              </a:extLst>
            </p:cNvPr>
            <p:cNvSpPr/>
            <p:nvPr/>
          </p:nvSpPr>
          <p:spPr>
            <a:xfrm>
              <a:off x="-1076811" y="1030370"/>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41" name="Freeform: Shape 240">
              <a:extLst>
                <a:ext uri="{FF2B5EF4-FFF2-40B4-BE49-F238E27FC236}">
                  <a16:creationId xmlns:a16="http://schemas.microsoft.com/office/drawing/2014/main" id="{D43EC705-9CBF-424C-B518-0FC881F55CC4}"/>
                </a:ext>
              </a:extLst>
            </p:cNvPr>
            <p:cNvSpPr/>
            <p:nvPr/>
          </p:nvSpPr>
          <p:spPr>
            <a:xfrm>
              <a:off x="-1212506"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42" name="Freeform: Shape 241">
              <a:extLst>
                <a:ext uri="{FF2B5EF4-FFF2-40B4-BE49-F238E27FC236}">
                  <a16:creationId xmlns:a16="http://schemas.microsoft.com/office/drawing/2014/main" id="{BF8E0A63-0E1C-4E1D-97F8-52D85E9E4C86}"/>
                </a:ext>
              </a:extLst>
            </p:cNvPr>
            <p:cNvSpPr/>
            <p:nvPr/>
          </p:nvSpPr>
          <p:spPr>
            <a:xfrm>
              <a:off x="-1246429"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43" name="Freeform: Shape 242">
              <a:extLst>
                <a:ext uri="{FF2B5EF4-FFF2-40B4-BE49-F238E27FC236}">
                  <a16:creationId xmlns:a16="http://schemas.microsoft.com/office/drawing/2014/main" id="{418DA480-4CF5-48D1-89DC-1AA0538F3430}"/>
                </a:ext>
              </a:extLst>
            </p:cNvPr>
            <p:cNvSpPr/>
            <p:nvPr/>
          </p:nvSpPr>
          <p:spPr>
            <a:xfrm>
              <a:off x="-1280353" y="103037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44" name="Freeform: Shape 243">
              <a:extLst>
                <a:ext uri="{FF2B5EF4-FFF2-40B4-BE49-F238E27FC236}">
                  <a16:creationId xmlns:a16="http://schemas.microsoft.com/office/drawing/2014/main" id="{80415495-0936-4D52-8C52-34AFB3260D73}"/>
                </a:ext>
              </a:extLst>
            </p:cNvPr>
            <p:cNvSpPr/>
            <p:nvPr/>
          </p:nvSpPr>
          <p:spPr>
            <a:xfrm>
              <a:off x="-1076811" y="945560"/>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45" name="Freeform: Shape 244">
              <a:extLst>
                <a:ext uri="{FF2B5EF4-FFF2-40B4-BE49-F238E27FC236}">
                  <a16:creationId xmlns:a16="http://schemas.microsoft.com/office/drawing/2014/main" id="{0D028A60-7A90-4CA0-83E4-15F5EEFCDD2F}"/>
                </a:ext>
              </a:extLst>
            </p:cNvPr>
            <p:cNvSpPr/>
            <p:nvPr/>
          </p:nvSpPr>
          <p:spPr>
            <a:xfrm>
              <a:off x="-1212506"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46" name="Freeform: Shape 245">
              <a:extLst>
                <a:ext uri="{FF2B5EF4-FFF2-40B4-BE49-F238E27FC236}">
                  <a16:creationId xmlns:a16="http://schemas.microsoft.com/office/drawing/2014/main" id="{8E276429-642C-4399-8886-9509BFBA9A19}"/>
                </a:ext>
              </a:extLst>
            </p:cNvPr>
            <p:cNvSpPr/>
            <p:nvPr/>
          </p:nvSpPr>
          <p:spPr>
            <a:xfrm>
              <a:off x="-1246429"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47" name="Freeform: Shape 246">
              <a:extLst>
                <a:ext uri="{FF2B5EF4-FFF2-40B4-BE49-F238E27FC236}">
                  <a16:creationId xmlns:a16="http://schemas.microsoft.com/office/drawing/2014/main" id="{AE6546D3-058C-428F-826D-9F891734E88E}"/>
                </a:ext>
              </a:extLst>
            </p:cNvPr>
            <p:cNvSpPr/>
            <p:nvPr/>
          </p:nvSpPr>
          <p:spPr>
            <a:xfrm>
              <a:off x="-1280353" y="945560"/>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48" name="Freeform: Shape 247">
              <a:extLst>
                <a:ext uri="{FF2B5EF4-FFF2-40B4-BE49-F238E27FC236}">
                  <a16:creationId xmlns:a16="http://schemas.microsoft.com/office/drawing/2014/main" id="{A2446190-084A-4EE6-B864-5F68C1B8C83D}"/>
                </a:ext>
              </a:extLst>
            </p:cNvPr>
            <p:cNvSpPr/>
            <p:nvPr/>
          </p:nvSpPr>
          <p:spPr>
            <a:xfrm>
              <a:off x="-1076811" y="860751"/>
              <a:ext cx="135695" cy="50886"/>
            </a:xfrm>
            <a:custGeom>
              <a:avLst/>
              <a:gdLst>
                <a:gd name="connsiteX0" fmla="*/ 22124 w 135694"/>
                <a:gd name="connsiteY0" fmla="*/ 22124 h 50885"/>
                <a:gd name="connsiteX1" fmla="*/ 123895 w 135694"/>
                <a:gd name="connsiteY1" fmla="*/ 22124 h 50885"/>
                <a:gd name="connsiteX2" fmla="*/ 123895 w 135694"/>
                <a:gd name="connsiteY2" fmla="*/ 34337 h 50885"/>
                <a:gd name="connsiteX3" fmla="*/ 22124 w 135694"/>
                <a:gd name="connsiteY3" fmla="*/ 34337 h 50885"/>
              </a:gdLst>
              <a:ahLst/>
              <a:cxnLst>
                <a:cxn ang="0">
                  <a:pos x="connsiteX0" y="connsiteY0"/>
                </a:cxn>
                <a:cxn ang="0">
                  <a:pos x="connsiteX1" y="connsiteY1"/>
                </a:cxn>
                <a:cxn ang="0">
                  <a:pos x="connsiteX2" y="connsiteY2"/>
                </a:cxn>
                <a:cxn ang="0">
                  <a:pos x="connsiteX3" y="connsiteY3"/>
                </a:cxn>
              </a:cxnLst>
              <a:rect l="l" t="t" r="r" b="b"/>
              <a:pathLst>
                <a:path w="135694" h="50885">
                  <a:moveTo>
                    <a:pt x="22124" y="22124"/>
                  </a:moveTo>
                  <a:lnTo>
                    <a:pt x="123895" y="22124"/>
                  </a:lnTo>
                  <a:lnTo>
                    <a:pt x="123895"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49" name="Freeform: Shape 248">
              <a:extLst>
                <a:ext uri="{FF2B5EF4-FFF2-40B4-BE49-F238E27FC236}">
                  <a16:creationId xmlns:a16="http://schemas.microsoft.com/office/drawing/2014/main" id="{F53D280F-8B13-48CF-B7D7-19F2730A8309}"/>
                </a:ext>
              </a:extLst>
            </p:cNvPr>
            <p:cNvSpPr/>
            <p:nvPr/>
          </p:nvSpPr>
          <p:spPr>
            <a:xfrm>
              <a:off x="-1212506"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50" name="Freeform: Shape 249">
              <a:extLst>
                <a:ext uri="{FF2B5EF4-FFF2-40B4-BE49-F238E27FC236}">
                  <a16:creationId xmlns:a16="http://schemas.microsoft.com/office/drawing/2014/main" id="{8BA6EF4B-E023-4816-A8CE-3D542B9C96F7}"/>
                </a:ext>
              </a:extLst>
            </p:cNvPr>
            <p:cNvSpPr/>
            <p:nvPr/>
          </p:nvSpPr>
          <p:spPr>
            <a:xfrm>
              <a:off x="-1246429"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sp>
          <p:nvSpPr>
            <p:cNvPr id="251" name="Freeform: Shape 250">
              <a:extLst>
                <a:ext uri="{FF2B5EF4-FFF2-40B4-BE49-F238E27FC236}">
                  <a16:creationId xmlns:a16="http://schemas.microsoft.com/office/drawing/2014/main" id="{A4A9062D-6819-4FB7-B9FF-C4013FE59D41}"/>
                </a:ext>
              </a:extLst>
            </p:cNvPr>
            <p:cNvSpPr/>
            <p:nvPr/>
          </p:nvSpPr>
          <p:spPr>
            <a:xfrm>
              <a:off x="-1280353" y="860751"/>
              <a:ext cx="50886" cy="50886"/>
            </a:xfrm>
            <a:custGeom>
              <a:avLst/>
              <a:gdLst>
                <a:gd name="connsiteX0" fmla="*/ 22124 w 50885"/>
                <a:gd name="connsiteY0" fmla="*/ 22124 h 50885"/>
                <a:gd name="connsiteX1" fmla="*/ 39086 w 50885"/>
                <a:gd name="connsiteY1" fmla="*/ 22124 h 50885"/>
                <a:gd name="connsiteX2" fmla="*/ 39086 w 50885"/>
                <a:gd name="connsiteY2" fmla="*/ 34337 h 50885"/>
                <a:gd name="connsiteX3" fmla="*/ 22124 w 50885"/>
                <a:gd name="connsiteY3" fmla="*/ 34337 h 50885"/>
              </a:gdLst>
              <a:ahLst/>
              <a:cxnLst>
                <a:cxn ang="0">
                  <a:pos x="connsiteX0" y="connsiteY0"/>
                </a:cxn>
                <a:cxn ang="0">
                  <a:pos x="connsiteX1" y="connsiteY1"/>
                </a:cxn>
                <a:cxn ang="0">
                  <a:pos x="connsiteX2" y="connsiteY2"/>
                </a:cxn>
                <a:cxn ang="0">
                  <a:pos x="connsiteX3" y="connsiteY3"/>
                </a:cxn>
              </a:cxnLst>
              <a:rect l="l" t="t" r="r" b="b"/>
              <a:pathLst>
                <a:path w="50885" h="50885">
                  <a:moveTo>
                    <a:pt x="22124" y="22124"/>
                  </a:moveTo>
                  <a:lnTo>
                    <a:pt x="39086" y="22124"/>
                  </a:lnTo>
                  <a:lnTo>
                    <a:pt x="39086" y="34337"/>
                  </a:lnTo>
                  <a:lnTo>
                    <a:pt x="22124" y="34337"/>
                  </a:lnTo>
                  <a:close/>
                </a:path>
              </a:pathLst>
            </a:custGeom>
            <a:grpFill/>
            <a:ln w="1656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IBM Plex Sans"/>
                <a:ea typeface="+mn-ea"/>
                <a:cs typeface="+mn-cs"/>
              </a:endParaRPr>
            </a:p>
          </p:txBody>
        </p:sp>
      </p:grpSp>
      <p:sp>
        <p:nvSpPr>
          <p:cNvPr id="252" name="Rectangle 251">
            <a:extLst>
              <a:ext uri="{FF2B5EF4-FFF2-40B4-BE49-F238E27FC236}">
                <a16:creationId xmlns:a16="http://schemas.microsoft.com/office/drawing/2014/main" id="{C2594ED0-E19E-47B5-8416-A2C702CDAFE5}"/>
              </a:ext>
            </a:extLst>
          </p:cNvPr>
          <p:cNvSpPr/>
          <p:nvPr/>
        </p:nvSpPr>
        <p:spPr>
          <a:xfrm>
            <a:off x="6783214" y="3810096"/>
            <a:ext cx="750110" cy="313654"/>
          </a:xfrm>
          <a:prstGeom prst="rect">
            <a:avLst/>
          </a:prstGeom>
          <a:solidFill>
            <a:schemeClr val="accent2"/>
          </a:solidFill>
        </p:spPr>
        <p:txBody>
          <a:bodyPr wrap="square" lIns="0" tIns="0" rIns="0" bIns="0" rtlCol="0" anchor="ctr">
            <a:no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IBM Plex Sans"/>
              <a:ea typeface="+mn-ea"/>
              <a:cs typeface="+mn-cs"/>
            </a:endParaRPr>
          </a:p>
        </p:txBody>
      </p:sp>
      <p:sp>
        <p:nvSpPr>
          <p:cNvPr id="253" name="Rectangle 252">
            <a:extLst>
              <a:ext uri="{FF2B5EF4-FFF2-40B4-BE49-F238E27FC236}">
                <a16:creationId xmlns:a16="http://schemas.microsoft.com/office/drawing/2014/main" id="{A07E5933-935F-40DE-84E5-3AE4A859849C}"/>
              </a:ext>
            </a:extLst>
          </p:cNvPr>
          <p:cNvSpPr/>
          <p:nvPr/>
        </p:nvSpPr>
        <p:spPr>
          <a:xfrm>
            <a:off x="6809858" y="3897674"/>
            <a:ext cx="696822" cy="138499"/>
          </a:xfrm>
          <a:prstGeom prst="rect">
            <a:avLst/>
          </a:prstGeom>
          <a:noFill/>
        </p:spPr>
        <p:txBody>
          <a:bodyPr wrap="square" lIns="0" tIns="0" rIns="0" bIns="0" rtlCol="0" anchor="ctr">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EAEAEA"/>
                </a:solidFill>
                <a:effectLst/>
                <a:uLnTx/>
                <a:uFillTx/>
                <a:latin typeface="IBM Plex Sans"/>
                <a:ea typeface="+mn-ea"/>
                <a:cs typeface="+mn-cs"/>
              </a:rPr>
              <a:t>Maximo</a:t>
            </a:r>
          </a:p>
        </p:txBody>
      </p:sp>
      <p:cxnSp>
        <p:nvCxnSpPr>
          <p:cNvPr id="254" name="Straight Arrow Connector 253">
            <a:extLst>
              <a:ext uri="{FF2B5EF4-FFF2-40B4-BE49-F238E27FC236}">
                <a16:creationId xmlns:a16="http://schemas.microsoft.com/office/drawing/2014/main" id="{57B7F8D1-48EB-4314-A302-E0D594BA4185}"/>
              </a:ext>
            </a:extLst>
          </p:cNvPr>
          <p:cNvCxnSpPr>
            <a:cxnSpLocks/>
          </p:cNvCxnSpPr>
          <p:nvPr/>
        </p:nvCxnSpPr>
        <p:spPr>
          <a:xfrm flipV="1">
            <a:off x="6878955" y="3275128"/>
            <a:ext cx="0" cy="534968"/>
          </a:xfrm>
          <a:prstGeom prst="straightConnector1">
            <a:avLst/>
          </a:prstGeom>
          <a:ln w="9525">
            <a:solidFill>
              <a:schemeClr val="tx1"/>
            </a:solidFill>
            <a:headEnd type="triangle" w="sm" len="sm"/>
            <a:tailEnd type="none" w="sm" len="sm"/>
          </a:ln>
          <a:effectLst/>
        </p:spPr>
        <p:style>
          <a:lnRef idx="2">
            <a:schemeClr val="accent1"/>
          </a:lnRef>
          <a:fillRef idx="0">
            <a:schemeClr val="accent1"/>
          </a:fillRef>
          <a:effectRef idx="1">
            <a:schemeClr val="accent1"/>
          </a:effectRef>
          <a:fontRef idx="minor">
            <a:schemeClr val="tx1"/>
          </a:fontRef>
        </p:style>
      </p:cxnSp>
      <p:cxnSp>
        <p:nvCxnSpPr>
          <p:cNvPr id="255" name="Connector: Elbow 254">
            <a:extLst>
              <a:ext uri="{FF2B5EF4-FFF2-40B4-BE49-F238E27FC236}">
                <a16:creationId xmlns:a16="http://schemas.microsoft.com/office/drawing/2014/main" id="{B1F0C8B9-27BD-4D4C-9756-8D4678BDB923}"/>
              </a:ext>
            </a:extLst>
          </p:cNvPr>
          <p:cNvCxnSpPr>
            <a:cxnSpLocks/>
          </p:cNvCxnSpPr>
          <p:nvPr/>
        </p:nvCxnSpPr>
        <p:spPr>
          <a:xfrm rot="5400000" flipH="1" flipV="1">
            <a:off x="7231187" y="3224785"/>
            <a:ext cx="785135" cy="385488"/>
          </a:xfrm>
          <a:prstGeom prst="bentConnector2">
            <a:avLst/>
          </a:prstGeom>
          <a:ln w="9525">
            <a:solidFill>
              <a:schemeClr val="tx1"/>
            </a:solidFill>
            <a:headEnd type="triangle" w="sm" len="sm"/>
            <a:tailEnd type="none" w="sm" len="sm"/>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028769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724320C-35B5-984C-ABD8-251C1C3D947D}"/>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0BE6F14-FF48-0F4F-A8AA-2E3F25371E4A}" type="slidenum">
              <a:rPr kumimoji="0" lang="en-US" sz="600" b="0" i="0" u="none" strike="noStrike" kern="1200" cap="none" spc="0" normalizeH="0" baseline="0" noProof="0" smtClean="0">
                <a:ln>
                  <a:noFill/>
                </a:ln>
                <a:solidFill>
                  <a:srgbClr val="000000"/>
                </a:solidFill>
                <a:effectLst/>
                <a:uLnTx/>
                <a:uFillTx/>
                <a:latin typeface="IBM Plex Sans"/>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26</a:t>
            </a:fld>
            <a:endParaRPr kumimoji="0" lang="en-US" sz="600" b="0" i="0" u="none" strike="noStrike" kern="1200" cap="none" spc="0" normalizeH="0" baseline="0" noProof="0">
              <a:ln>
                <a:noFill/>
              </a:ln>
              <a:solidFill>
                <a:srgbClr val="000000"/>
              </a:solidFill>
              <a:effectLst/>
              <a:uLnTx/>
              <a:uFillTx/>
              <a:latin typeface="IBM Plex Sans"/>
              <a:cs typeface="Arial" charset="0"/>
            </a:endParaRPr>
          </a:p>
        </p:txBody>
      </p:sp>
      <p:sp>
        <p:nvSpPr>
          <p:cNvPr id="7" name="Footer Placeholder 6">
            <a:extLst>
              <a:ext uri="{FF2B5EF4-FFF2-40B4-BE49-F238E27FC236}">
                <a16:creationId xmlns:a16="http://schemas.microsoft.com/office/drawing/2014/main" id="{F7F3FD1D-4CC5-A942-9468-B837A39962E7}"/>
              </a:ext>
            </a:extLst>
          </p:cNvPr>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pt-BR" sz="600" b="0" i="0" u="none" strike="noStrike" kern="1200" cap="none" spc="0" normalizeH="0" baseline="0" noProof="0" dirty="0">
                <a:ln>
                  <a:noFill/>
                </a:ln>
                <a:solidFill>
                  <a:srgbClr val="000000"/>
                </a:solidFill>
                <a:effectLst/>
                <a:uLnTx/>
                <a:uFillTx/>
                <a:latin typeface="IBM Plex Sans"/>
                <a:cs typeface="Arial" charset="0"/>
              </a:rPr>
              <a:t>IBM Maximo / © 2020 IBM Corporation</a:t>
            </a:r>
            <a:endParaRPr kumimoji="0" lang="en-US" sz="600" b="0" i="0" u="none" strike="noStrike" kern="1200" cap="none" spc="0" normalizeH="0" baseline="0" noProof="0" dirty="0">
              <a:ln>
                <a:noFill/>
              </a:ln>
              <a:solidFill>
                <a:srgbClr val="000000"/>
              </a:solidFill>
              <a:effectLst/>
              <a:uLnTx/>
              <a:uFillTx/>
              <a:latin typeface="IBM Plex Sans"/>
              <a:cs typeface="Arial" charset="0"/>
            </a:endParaRPr>
          </a:p>
        </p:txBody>
      </p:sp>
      <p:sp>
        <p:nvSpPr>
          <p:cNvPr id="8" name="Title 7">
            <a:extLst>
              <a:ext uri="{FF2B5EF4-FFF2-40B4-BE49-F238E27FC236}">
                <a16:creationId xmlns:a16="http://schemas.microsoft.com/office/drawing/2014/main" id="{07153337-C97B-B34B-A961-44200B124C97}"/>
              </a:ext>
            </a:extLst>
          </p:cNvPr>
          <p:cNvSpPr>
            <a:spLocks noGrp="1"/>
          </p:cNvSpPr>
          <p:nvPr>
            <p:ph type="title"/>
          </p:nvPr>
        </p:nvSpPr>
        <p:spPr/>
        <p:txBody>
          <a:bodyPr/>
          <a:lstStyle/>
          <a:p>
            <a:r>
              <a:rPr lang="en-US" dirty="0"/>
              <a:t>Administration...</a:t>
            </a:r>
            <a:r>
              <a:rPr lang="en-US" dirty="0">
                <a:solidFill>
                  <a:schemeClr val="accent2"/>
                </a:solidFill>
              </a:rPr>
              <a:t>enhanced</a:t>
            </a:r>
          </a:p>
        </p:txBody>
      </p:sp>
      <p:sp>
        <p:nvSpPr>
          <p:cNvPr id="22" name="Rectangle 21">
            <a:extLst>
              <a:ext uri="{FF2B5EF4-FFF2-40B4-BE49-F238E27FC236}">
                <a16:creationId xmlns:a16="http://schemas.microsoft.com/office/drawing/2014/main" id="{A0C27295-7F49-4181-BC9E-CF1D1BA86FAD}"/>
              </a:ext>
            </a:extLst>
          </p:cNvPr>
          <p:cNvSpPr/>
          <p:nvPr/>
        </p:nvSpPr>
        <p:spPr>
          <a:xfrm>
            <a:off x="228600" y="1432820"/>
            <a:ext cx="2389287" cy="1215717"/>
          </a:xfrm>
          <a:prstGeom prst="rect">
            <a:avLst/>
          </a:prstGeom>
        </p:spPr>
        <p:txBody>
          <a:bodyPr wrap="square" lIns="0" tIns="0" rIns="0" bIns="0">
            <a:spAutoFit/>
          </a:bodyPr>
          <a:lstStyle/>
          <a:p>
            <a:pPr marL="0" marR="0" lvl="0" indent="0" algn="l" defTabSz="6858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define queries</a:t>
            </a:r>
          </a:p>
          <a:p>
            <a:pPr marL="0" marR="0" lvl="0" indent="0" algn="l" defTabSz="6858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lookup data</a:t>
            </a:r>
          </a:p>
          <a:p>
            <a:pPr marL="0" marR="0" lvl="0" indent="0" algn="l" defTabSz="6858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push notifications</a:t>
            </a:r>
          </a:p>
          <a:p>
            <a:pPr marL="0" marR="0" lvl="0" indent="0" algn="l" defTabSz="6858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IBM Plex Sans" charset="0"/>
                <a:ea typeface="IBM Plex Sans" charset="0"/>
                <a:cs typeface="IBM Plex Sans" charset="0"/>
              </a:rPr>
              <a:t> </a:t>
            </a:r>
            <a:r>
              <a:rPr kumimoji="0" lang="en-US" sz="1600" b="0" i="0" u="none" strike="noStrike" kern="1200" cap="none" spc="0" normalizeH="0" baseline="0" noProof="0" dirty="0">
                <a:ln>
                  <a:noFill/>
                </a:ln>
                <a:solidFill>
                  <a:srgbClr val="0064FF"/>
                </a:solidFill>
                <a:effectLst/>
                <a:uLnTx/>
                <a:uFillTx/>
                <a:latin typeface="IBM Plex Sans" charset="0"/>
                <a:ea typeface="IBM Plex Sans" charset="0"/>
                <a:cs typeface="IBM Plex Sans" charset="0"/>
              </a:rPr>
              <a:t>deploy applications</a:t>
            </a:r>
          </a:p>
        </p:txBody>
      </p:sp>
      <p:grpSp>
        <p:nvGrpSpPr>
          <p:cNvPr id="9" name="Group 8">
            <a:extLst>
              <a:ext uri="{FF2B5EF4-FFF2-40B4-BE49-F238E27FC236}">
                <a16:creationId xmlns:a16="http://schemas.microsoft.com/office/drawing/2014/main" id="{B3D32180-CB59-4084-A3E7-A24A23ED3D87}"/>
              </a:ext>
            </a:extLst>
          </p:cNvPr>
          <p:cNvGrpSpPr/>
          <p:nvPr/>
        </p:nvGrpSpPr>
        <p:grpSpPr>
          <a:xfrm>
            <a:off x="3429000" y="706845"/>
            <a:ext cx="5476240" cy="4235488"/>
            <a:chOff x="3210560" y="988429"/>
            <a:chExt cx="5112167" cy="3953903"/>
          </a:xfrm>
        </p:grpSpPr>
        <p:pic>
          <p:nvPicPr>
            <p:cNvPr id="15" name="Picture 14">
              <a:extLst>
                <a:ext uri="{FF2B5EF4-FFF2-40B4-BE49-F238E27FC236}">
                  <a16:creationId xmlns:a16="http://schemas.microsoft.com/office/drawing/2014/main" id="{1AE987C6-B5D2-4449-B80F-C91A6CBC24D5}"/>
                </a:ext>
              </a:extLst>
            </p:cNvPr>
            <p:cNvPicPr>
              <a:picLocks noChangeAspect="1"/>
            </p:cNvPicPr>
            <p:nvPr/>
          </p:nvPicPr>
          <p:blipFill rotWithShape="1">
            <a:blip r:embed="rId3"/>
            <a:srcRect l="750"/>
            <a:stretch/>
          </p:blipFill>
          <p:spPr>
            <a:xfrm>
              <a:off x="3210560" y="988429"/>
              <a:ext cx="5112167" cy="3953903"/>
            </a:xfrm>
            <a:prstGeom prst="rect">
              <a:avLst/>
            </a:prstGeom>
          </p:spPr>
        </p:pic>
        <p:pic>
          <p:nvPicPr>
            <p:cNvPr id="5" name="Picture 4">
              <a:extLst>
                <a:ext uri="{FF2B5EF4-FFF2-40B4-BE49-F238E27FC236}">
                  <a16:creationId xmlns:a16="http://schemas.microsoft.com/office/drawing/2014/main" id="{4048BA3B-334E-4BD5-B5F2-33BB3CC3A335}"/>
                </a:ext>
              </a:extLst>
            </p:cNvPr>
            <p:cNvPicPr>
              <a:picLocks noChangeAspect="1"/>
            </p:cNvPicPr>
            <p:nvPr/>
          </p:nvPicPr>
          <p:blipFill rotWithShape="1">
            <a:blip r:embed="rId4"/>
            <a:srcRect t="986"/>
            <a:stretch/>
          </p:blipFill>
          <p:spPr>
            <a:xfrm>
              <a:off x="3767025" y="1478280"/>
              <a:ext cx="4005376" cy="2488367"/>
            </a:xfrm>
            <a:prstGeom prst="rect">
              <a:avLst/>
            </a:prstGeom>
          </p:spPr>
        </p:pic>
        <p:pic>
          <p:nvPicPr>
            <p:cNvPr id="18" name="Picture 17">
              <a:extLst>
                <a:ext uri="{FF2B5EF4-FFF2-40B4-BE49-F238E27FC236}">
                  <a16:creationId xmlns:a16="http://schemas.microsoft.com/office/drawing/2014/main" id="{B42F63CC-C62E-4855-A5E0-BF404F48B467}"/>
                </a:ext>
              </a:extLst>
            </p:cNvPr>
            <p:cNvPicPr>
              <a:picLocks noChangeAspect="1"/>
            </p:cNvPicPr>
            <p:nvPr/>
          </p:nvPicPr>
          <p:blipFill rotWithShape="1">
            <a:blip r:embed="rId4"/>
            <a:srcRect t="75419"/>
            <a:stretch/>
          </p:blipFill>
          <p:spPr>
            <a:xfrm>
              <a:off x="3767025" y="3966647"/>
              <a:ext cx="4005376" cy="512076"/>
            </a:xfrm>
            <a:prstGeom prst="rect">
              <a:avLst/>
            </a:prstGeom>
          </p:spPr>
        </p:pic>
        <p:sp>
          <p:nvSpPr>
            <p:cNvPr id="6" name="Rectangle 5">
              <a:extLst>
                <a:ext uri="{FF2B5EF4-FFF2-40B4-BE49-F238E27FC236}">
                  <a16:creationId xmlns:a16="http://schemas.microsoft.com/office/drawing/2014/main" id="{83C56178-5F59-482B-9703-636FA707D3C8}"/>
                </a:ext>
              </a:extLst>
            </p:cNvPr>
            <p:cNvSpPr/>
            <p:nvPr/>
          </p:nvSpPr>
          <p:spPr>
            <a:xfrm>
              <a:off x="3882390" y="3966647"/>
              <a:ext cx="2575560" cy="489851"/>
            </a:xfrm>
            <a:prstGeom prst="rect">
              <a:avLst/>
            </a:prstGeom>
            <a:solidFill>
              <a:schemeClr val="bg2"/>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grpSp>
    </p:spTree>
    <p:extLst>
      <p:ext uri="{BB962C8B-B14F-4D97-AF65-F5344CB8AC3E}">
        <p14:creationId xmlns:p14="http://schemas.microsoft.com/office/powerpoint/2010/main" val="8999044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724320C-35B5-984C-ABD8-251C1C3D947D}"/>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0BE6F14-FF48-0F4F-A8AA-2E3F25371E4A}" type="slidenum">
              <a:rPr kumimoji="0" lang="en-US" sz="600" b="0" i="0" u="none" strike="noStrike" kern="1200" cap="none" spc="0" normalizeH="0" baseline="0" noProof="0" smtClean="0">
                <a:ln>
                  <a:noFill/>
                </a:ln>
                <a:solidFill>
                  <a:srgbClr val="000000"/>
                </a:solidFill>
                <a:effectLst/>
                <a:uLnTx/>
                <a:uFillTx/>
                <a:latin typeface="IBM Plex Sans"/>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27</a:t>
            </a:fld>
            <a:endParaRPr kumimoji="0" lang="en-US" sz="600" b="0" i="0" u="none" strike="noStrike" kern="1200" cap="none" spc="0" normalizeH="0" baseline="0" noProof="0">
              <a:ln>
                <a:noFill/>
              </a:ln>
              <a:solidFill>
                <a:srgbClr val="000000"/>
              </a:solidFill>
              <a:effectLst/>
              <a:uLnTx/>
              <a:uFillTx/>
              <a:latin typeface="IBM Plex Sans"/>
              <a:cs typeface="Arial" charset="0"/>
            </a:endParaRPr>
          </a:p>
        </p:txBody>
      </p:sp>
      <p:sp>
        <p:nvSpPr>
          <p:cNvPr id="7" name="Footer Placeholder 6">
            <a:extLst>
              <a:ext uri="{FF2B5EF4-FFF2-40B4-BE49-F238E27FC236}">
                <a16:creationId xmlns:a16="http://schemas.microsoft.com/office/drawing/2014/main" id="{F7F3FD1D-4CC5-A942-9468-B837A39962E7}"/>
              </a:ext>
            </a:extLst>
          </p:cNvPr>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pt-BR" sz="600" b="0" i="0" u="none" strike="noStrike" kern="1200" cap="none" spc="0" normalizeH="0" baseline="0" noProof="0" dirty="0">
                <a:ln>
                  <a:noFill/>
                </a:ln>
                <a:solidFill>
                  <a:srgbClr val="000000"/>
                </a:solidFill>
                <a:effectLst/>
                <a:uLnTx/>
                <a:uFillTx/>
                <a:latin typeface="IBM Plex Sans"/>
                <a:cs typeface="Arial" charset="0"/>
              </a:rPr>
              <a:t>IBM Maximo / © 2020 IBM Corporation</a:t>
            </a:r>
            <a:endParaRPr kumimoji="0" lang="en-US" sz="600" b="0" i="0" u="none" strike="noStrike" kern="1200" cap="none" spc="0" normalizeH="0" baseline="0" noProof="0" dirty="0">
              <a:ln>
                <a:noFill/>
              </a:ln>
              <a:solidFill>
                <a:srgbClr val="000000"/>
              </a:solidFill>
              <a:effectLst/>
              <a:uLnTx/>
              <a:uFillTx/>
              <a:latin typeface="IBM Plex Sans"/>
              <a:cs typeface="Arial" charset="0"/>
            </a:endParaRPr>
          </a:p>
        </p:txBody>
      </p:sp>
      <p:pic>
        <p:nvPicPr>
          <p:cNvPr id="15" name="Picture 14">
            <a:extLst>
              <a:ext uri="{FF2B5EF4-FFF2-40B4-BE49-F238E27FC236}">
                <a16:creationId xmlns:a16="http://schemas.microsoft.com/office/drawing/2014/main" id="{1AE987C6-B5D2-4449-B80F-C91A6CBC24D5}"/>
              </a:ext>
            </a:extLst>
          </p:cNvPr>
          <p:cNvPicPr>
            <a:picLocks noChangeAspect="1"/>
          </p:cNvPicPr>
          <p:nvPr/>
        </p:nvPicPr>
        <p:blipFill rotWithShape="1">
          <a:blip r:embed="rId3"/>
          <a:srcRect l="750"/>
          <a:stretch/>
        </p:blipFill>
        <p:spPr>
          <a:xfrm>
            <a:off x="-15240" y="452419"/>
            <a:ext cx="5476240" cy="4235488"/>
          </a:xfrm>
          <a:prstGeom prst="rect">
            <a:avLst/>
          </a:prstGeom>
        </p:spPr>
      </p:pic>
      <p:sp>
        <p:nvSpPr>
          <p:cNvPr id="8" name="Title 7">
            <a:extLst>
              <a:ext uri="{FF2B5EF4-FFF2-40B4-BE49-F238E27FC236}">
                <a16:creationId xmlns:a16="http://schemas.microsoft.com/office/drawing/2014/main" id="{07153337-C97B-B34B-A961-44200B124C97}"/>
              </a:ext>
            </a:extLst>
          </p:cNvPr>
          <p:cNvSpPr>
            <a:spLocks noGrp="1"/>
          </p:cNvSpPr>
          <p:nvPr>
            <p:ph type="title"/>
          </p:nvPr>
        </p:nvSpPr>
        <p:spPr>
          <a:xfrm>
            <a:off x="228600" y="201168"/>
            <a:ext cx="8686800" cy="959358"/>
          </a:xfrm>
        </p:spPr>
        <p:txBody>
          <a:bodyPr/>
          <a:lstStyle/>
          <a:p>
            <a:r>
              <a:rPr lang="en-US" dirty="0"/>
              <a:t>Administration: Push notification application...</a:t>
            </a:r>
            <a:r>
              <a:rPr lang="en-US" dirty="0">
                <a:solidFill>
                  <a:schemeClr val="accent2"/>
                </a:solidFill>
              </a:rPr>
              <a:t>new</a:t>
            </a:r>
          </a:p>
        </p:txBody>
      </p:sp>
      <p:sp>
        <p:nvSpPr>
          <p:cNvPr id="17" name="Footer Placeholder 6">
            <a:extLst>
              <a:ext uri="{FF2B5EF4-FFF2-40B4-BE49-F238E27FC236}">
                <a16:creationId xmlns:a16="http://schemas.microsoft.com/office/drawing/2014/main" id="{5416FFFB-436E-4110-933B-2E98D579EB12}"/>
              </a:ext>
            </a:extLst>
          </p:cNvPr>
          <p:cNvSpPr txBox="1">
            <a:spLocks/>
          </p:cNvSpPr>
          <p:nvPr/>
        </p:nvSpPr>
        <p:spPr>
          <a:xfrm>
            <a:off x="228600" y="4567341"/>
            <a:ext cx="6400800" cy="189712"/>
          </a:xfrm>
          <a:prstGeom prst="rect">
            <a:avLst/>
          </a:prstGeom>
        </p:spPr>
        <p:txBody>
          <a:bodyPr vert="horz" lIns="0" tIns="0" rIns="0" bIns="0" rtlCol="0" anchor="ctr"/>
          <a:lstStyle>
            <a:defPPr>
              <a:defRPr lang="en-US"/>
            </a:defPPr>
            <a:lvl1pPr marL="0" algn="l"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IBM Plex Sans"/>
                <a:cs typeface="Arial" charset="0"/>
              </a:rPr>
              <a:t>*Push Notifications separate </a:t>
            </a:r>
            <a:r>
              <a:rPr kumimoji="0" lang="en-US" sz="600" b="0" i="0" u="none" strike="noStrike" kern="1200" cap="none" spc="0" normalizeH="0" baseline="0" noProof="0" dirty="0" err="1">
                <a:ln>
                  <a:noFill/>
                </a:ln>
                <a:solidFill>
                  <a:srgbClr val="000000"/>
                </a:solidFill>
                <a:effectLst/>
                <a:uLnTx/>
                <a:uFillTx/>
                <a:latin typeface="IBM Plex Sans"/>
                <a:cs typeface="Arial" charset="0"/>
              </a:rPr>
              <a:t>iFix</a:t>
            </a:r>
            <a:r>
              <a:rPr kumimoji="0" lang="en-US" sz="600" b="0" i="0" u="none" strike="noStrike" kern="1200" cap="none" spc="0" normalizeH="0" baseline="0" noProof="0" dirty="0">
                <a:ln>
                  <a:noFill/>
                </a:ln>
                <a:solidFill>
                  <a:srgbClr val="000000"/>
                </a:solidFill>
                <a:effectLst/>
                <a:uLnTx/>
                <a:uFillTx/>
                <a:latin typeface="IBM Plex Sans"/>
                <a:cs typeface="Arial" charset="0"/>
              </a:rPr>
              <a:t> install until Maximo 7.6.1.2</a:t>
            </a:r>
          </a:p>
        </p:txBody>
      </p:sp>
      <p:pic>
        <p:nvPicPr>
          <p:cNvPr id="4" name="Picture 3">
            <a:extLst>
              <a:ext uri="{FF2B5EF4-FFF2-40B4-BE49-F238E27FC236}">
                <a16:creationId xmlns:a16="http://schemas.microsoft.com/office/drawing/2014/main" id="{2CBAABF8-8FC9-4BCD-B2BB-51B58C664442}"/>
              </a:ext>
            </a:extLst>
          </p:cNvPr>
          <p:cNvPicPr>
            <a:picLocks noChangeAspect="1"/>
          </p:cNvPicPr>
          <p:nvPr/>
        </p:nvPicPr>
        <p:blipFill rotWithShape="1">
          <a:blip r:embed="rId4"/>
          <a:srcRect r="9378"/>
          <a:stretch/>
        </p:blipFill>
        <p:spPr>
          <a:xfrm>
            <a:off x="592993" y="940644"/>
            <a:ext cx="4290626" cy="2137687"/>
          </a:xfrm>
          <a:prstGeom prst="rect">
            <a:avLst/>
          </a:prstGeom>
        </p:spPr>
      </p:pic>
      <p:pic>
        <p:nvPicPr>
          <p:cNvPr id="21" name="Picture 20">
            <a:extLst>
              <a:ext uri="{FF2B5EF4-FFF2-40B4-BE49-F238E27FC236}">
                <a16:creationId xmlns:a16="http://schemas.microsoft.com/office/drawing/2014/main" id="{59CFA932-55EB-4C93-B899-D3EB2296BE99}"/>
              </a:ext>
            </a:extLst>
          </p:cNvPr>
          <p:cNvPicPr>
            <a:picLocks noChangeAspect="1"/>
          </p:cNvPicPr>
          <p:nvPr/>
        </p:nvPicPr>
        <p:blipFill rotWithShape="1">
          <a:blip r:embed="rId4"/>
          <a:srcRect t="87071" r="9378"/>
          <a:stretch/>
        </p:blipFill>
        <p:spPr>
          <a:xfrm>
            <a:off x="592993" y="3078331"/>
            <a:ext cx="4290626" cy="1124525"/>
          </a:xfrm>
          <a:prstGeom prst="rect">
            <a:avLst/>
          </a:prstGeom>
        </p:spPr>
      </p:pic>
      <p:sp>
        <p:nvSpPr>
          <p:cNvPr id="23" name="Rectangle 22">
            <a:extLst>
              <a:ext uri="{FF2B5EF4-FFF2-40B4-BE49-F238E27FC236}">
                <a16:creationId xmlns:a16="http://schemas.microsoft.com/office/drawing/2014/main" id="{77DF989F-BFD7-4448-918B-EC0CCC68A1F2}"/>
              </a:ext>
            </a:extLst>
          </p:cNvPr>
          <p:cNvSpPr/>
          <p:nvPr/>
        </p:nvSpPr>
        <p:spPr>
          <a:xfrm>
            <a:off x="1513568" y="3078331"/>
            <a:ext cx="581932" cy="925979"/>
          </a:xfrm>
          <a:prstGeom prst="rect">
            <a:avLst/>
          </a:prstGeom>
          <a:solidFill>
            <a:schemeClr val="bg2"/>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pic>
        <p:nvPicPr>
          <p:cNvPr id="19" name="Picture 18">
            <a:extLst>
              <a:ext uri="{FF2B5EF4-FFF2-40B4-BE49-F238E27FC236}">
                <a16:creationId xmlns:a16="http://schemas.microsoft.com/office/drawing/2014/main" id="{72F0B16C-891F-4435-A70F-92FFD88C8507}"/>
              </a:ext>
            </a:extLst>
          </p:cNvPr>
          <p:cNvPicPr>
            <a:picLocks noChangeAspect="1"/>
          </p:cNvPicPr>
          <p:nvPr/>
        </p:nvPicPr>
        <p:blipFill>
          <a:blip r:embed="rId5"/>
          <a:stretch>
            <a:fillRect/>
          </a:stretch>
        </p:blipFill>
        <p:spPr>
          <a:xfrm>
            <a:off x="4572000" y="1845560"/>
            <a:ext cx="4307648" cy="265235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6863430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5" name="Picture 154">
            <a:extLst>
              <a:ext uri="{FF2B5EF4-FFF2-40B4-BE49-F238E27FC236}">
                <a16:creationId xmlns:a16="http://schemas.microsoft.com/office/drawing/2014/main" id="{14771339-0CBB-43D9-AD06-885B7DB191F0}"/>
              </a:ext>
            </a:extLst>
          </p:cNvPr>
          <p:cNvPicPr>
            <a:picLocks noChangeAspect="1"/>
          </p:cNvPicPr>
          <p:nvPr/>
        </p:nvPicPr>
        <p:blipFill rotWithShape="1">
          <a:blip r:embed="rId3"/>
          <a:srcRect l="38546" t="20548" r="38546" b="21737"/>
          <a:stretch/>
        </p:blipFill>
        <p:spPr>
          <a:xfrm>
            <a:off x="6858000" y="1477727"/>
            <a:ext cx="1837037" cy="3084727"/>
          </a:xfrm>
          <a:prstGeom prst="rect">
            <a:avLst/>
          </a:prstGeom>
        </p:spPr>
      </p:pic>
      <p:sp>
        <p:nvSpPr>
          <p:cNvPr id="156" name="Rectangle 155">
            <a:extLst>
              <a:ext uri="{FF2B5EF4-FFF2-40B4-BE49-F238E27FC236}">
                <a16:creationId xmlns:a16="http://schemas.microsoft.com/office/drawing/2014/main" id="{16A1EFB6-C277-4F16-9FD5-7397BF307717}"/>
              </a:ext>
            </a:extLst>
          </p:cNvPr>
          <p:cNvSpPr/>
          <p:nvPr/>
        </p:nvSpPr>
        <p:spPr>
          <a:xfrm>
            <a:off x="7169377" y="2734447"/>
            <a:ext cx="1261933" cy="1392692"/>
          </a:xfrm>
          <a:prstGeom prst="rect">
            <a:avLst/>
          </a:prstGeom>
          <a:solidFill>
            <a:schemeClr val="bg2"/>
          </a:solid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pic>
        <p:nvPicPr>
          <p:cNvPr id="11" name="Picture 10">
            <a:extLst>
              <a:ext uri="{FF2B5EF4-FFF2-40B4-BE49-F238E27FC236}">
                <a16:creationId xmlns:a16="http://schemas.microsoft.com/office/drawing/2014/main" id="{F893E53A-E616-4701-8F54-387E4DA3F115}"/>
              </a:ext>
            </a:extLst>
          </p:cNvPr>
          <p:cNvPicPr>
            <a:picLocks noChangeAspect="1"/>
          </p:cNvPicPr>
          <p:nvPr/>
        </p:nvPicPr>
        <p:blipFill rotWithShape="1">
          <a:blip r:embed="rId4"/>
          <a:srcRect r="902"/>
          <a:stretch/>
        </p:blipFill>
        <p:spPr>
          <a:xfrm>
            <a:off x="7169377" y="1906603"/>
            <a:ext cx="1259989" cy="2180470"/>
          </a:xfrm>
          <a:prstGeom prst="rect">
            <a:avLst/>
          </a:prstGeom>
        </p:spPr>
      </p:pic>
      <p:pic>
        <p:nvPicPr>
          <p:cNvPr id="162" name="Picture 161">
            <a:extLst>
              <a:ext uri="{FF2B5EF4-FFF2-40B4-BE49-F238E27FC236}">
                <a16:creationId xmlns:a16="http://schemas.microsoft.com/office/drawing/2014/main" id="{41F9622E-2793-43CD-846E-2048C9E810EE}"/>
              </a:ext>
            </a:extLst>
          </p:cNvPr>
          <p:cNvPicPr>
            <a:picLocks noChangeAspect="1"/>
          </p:cNvPicPr>
          <p:nvPr/>
        </p:nvPicPr>
        <p:blipFill rotWithShape="1">
          <a:blip r:embed="rId3"/>
          <a:srcRect l="38546" t="20548" r="38546" b="21737"/>
          <a:stretch/>
        </p:blipFill>
        <p:spPr>
          <a:xfrm>
            <a:off x="4969478" y="1477727"/>
            <a:ext cx="1837037" cy="3084727"/>
          </a:xfrm>
          <a:prstGeom prst="rect">
            <a:avLst/>
          </a:prstGeom>
        </p:spPr>
      </p:pic>
      <p:pic>
        <p:nvPicPr>
          <p:cNvPr id="9" name="Picture 8">
            <a:extLst>
              <a:ext uri="{FF2B5EF4-FFF2-40B4-BE49-F238E27FC236}">
                <a16:creationId xmlns:a16="http://schemas.microsoft.com/office/drawing/2014/main" id="{902A092C-6C69-4E5C-9D1B-214E87B4E93D}"/>
              </a:ext>
            </a:extLst>
          </p:cNvPr>
          <p:cNvPicPr>
            <a:picLocks noChangeAspect="1"/>
          </p:cNvPicPr>
          <p:nvPr/>
        </p:nvPicPr>
        <p:blipFill rotWithShape="1">
          <a:blip r:embed="rId5"/>
          <a:srcRect r="794"/>
          <a:stretch/>
        </p:blipFill>
        <p:spPr>
          <a:xfrm>
            <a:off x="5280854" y="1906602"/>
            <a:ext cx="1261933" cy="2220537"/>
          </a:xfrm>
          <a:prstGeom prst="rect">
            <a:avLst/>
          </a:prstGeom>
        </p:spPr>
      </p:pic>
      <p:pic>
        <p:nvPicPr>
          <p:cNvPr id="38" name="Picture 37">
            <a:extLst>
              <a:ext uri="{FF2B5EF4-FFF2-40B4-BE49-F238E27FC236}">
                <a16:creationId xmlns:a16="http://schemas.microsoft.com/office/drawing/2014/main" id="{9B9D84E8-4B6F-474E-91AE-C40A34BFD767}"/>
              </a:ext>
            </a:extLst>
          </p:cNvPr>
          <p:cNvPicPr>
            <a:picLocks noChangeAspect="1"/>
          </p:cNvPicPr>
          <p:nvPr/>
        </p:nvPicPr>
        <p:blipFill rotWithShape="1">
          <a:blip r:embed="rId3"/>
          <a:srcRect l="38546" t="20548" r="38546" b="21737"/>
          <a:stretch/>
        </p:blipFill>
        <p:spPr>
          <a:xfrm>
            <a:off x="2290118" y="1477727"/>
            <a:ext cx="1837037" cy="3084727"/>
          </a:xfrm>
          <a:prstGeom prst="rect">
            <a:avLst/>
          </a:prstGeom>
        </p:spPr>
      </p:pic>
      <p:pic>
        <p:nvPicPr>
          <p:cNvPr id="117" name="Picture 116">
            <a:extLst>
              <a:ext uri="{FF2B5EF4-FFF2-40B4-BE49-F238E27FC236}">
                <a16:creationId xmlns:a16="http://schemas.microsoft.com/office/drawing/2014/main" id="{47327F58-F8E6-4E6A-90EC-FAB19F5D960F}"/>
              </a:ext>
            </a:extLst>
          </p:cNvPr>
          <p:cNvPicPr>
            <a:picLocks noChangeAspect="1"/>
          </p:cNvPicPr>
          <p:nvPr/>
        </p:nvPicPr>
        <p:blipFill rotWithShape="1">
          <a:blip r:embed="rId3"/>
          <a:srcRect l="38546" t="20548" r="38546" b="21737"/>
          <a:stretch/>
        </p:blipFill>
        <p:spPr>
          <a:xfrm>
            <a:off x="401596" y="1477727"/>
            <a:ext cx="1837037" cy="3084727"/>
          </a:xfrm>
          <a:prstGeom prst="rect">
            <a:avLst/>
          </a:prstGeom>
        </p:spPr>
      </p:pic>
      <p:pic>
        <p:nvPicPr>
          <p:cNvPr id="4" name="Picture 3">
            <a:extLst>
              <a:ext uri="{FF2B5EF4-FFF2-40B4-BE49-F238E27FC236}">
                <a16:creationId xmlns:a16="http://schemas.microsoft.com/office/drawing/2014/main" id="{EA82BF86-E073-4F41-B134-A2A80BDB4103}"/>
              </a:ext>
            </a:extLst>
          </p:cNvPr>
          <p:cNvPicPr>
            <a:picLocks noChangeAspect="1"/>
          </p:cNvPicPr>
          <p:nvPr/>
        </p:nvPicPr>
        <p:blipFill rotWithShape="1">
          <a:blip r:embed="rId5"/>
          <a:srcRect r="1059"/>
          <a:stretch/>
        </p:blipFill>
        <p:spPr>
          <a:xfrm>
            <a:off x="712972" y="1906602"/>
            <a:ext cx="1259989" cy="2220538"/>
          </a:xfrm>
          <a:prstGeom prst="rect">
            <a:avLst/>
          </a:prstGeom>
        </p:spPr>
      </p:pic>
      <p:sp>
        <p:nvSpPr>
          <p:cNvPr id="40" name="Rectangle 39">
            <a:extLst>
              <a:ext uri="{FF2B5EF4-FFF2-40B4-BE49-F238E27FC236}">
                <a16:creationId xmlns:a16="http://schemas.microsoft.com/office/drawing/2014/main" id="{C6715D7B-8165-4821-8563-6D1571C4B2AE}"/>
              </a:ext>
            </a:extLst>
          </p:cNvPr>
          <p:cNvSpPr/>
          <p:nvPr/>
        </p:nvSpPr>
        <p:spPr>
          <a:xfrm>
            <a:off x="2601495" y="2734447"/>
            <a:ext cx="1261933" cy="1392692"/>
          </a:xfrm>
          <a:prstGeom prst="rect">
            <a:avLst/>
          </a:prstGeom>
          <a:solidFill>
            <a:schemeClr val="bg2"/>
          </a:solidFill>
          <a:ln>
            <a:noFill/>
          </a:ln>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3" name="Slide Number Placeholder 2">
            <a:extLst>
              <a:ext uri="{FF2B5EF4-FFF2-40B4-BE49-F238E27FC236}">
                <a16:creationId xmlns:a16="http://schemas.microsoft.com/office/drawing/2014/main" id="{6724320C-35B5-984C-ABD8-251C1C3D947D}"/>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0BE6F14-FF48-0F4F-A8AA-2E3F25371E4A}" type="slidenum">
              <a:rPr kumimoji="0" lang="en-US" sz="600" b="0" i="0" u="none" strike="noStrike" kern="1200" cap="none" spc="0" normalizeH="0" baseline="0" noProof="0" smtClean="0">
                <a:ln>
                  <a:noFill/>
                </a:ln>
                <a:solidFill>
                  <a:srgbClr val="000000"/>
                </a:solidFill>
                <a:effectLst/>
                <a:uLnTx/>
                <a:uFillTx/>
                <a:latin typeface="IBM Plex Sans"/>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28</a:t>
            </a:fld>
            <a:endParaRPr kumimoji="0" lang="en-US" sz="600" b="0" i="0" u="none" strike="noStrike" kern="1200" cap="none" spc="0" normalizeH="0" baseline="0" noProof="0">
              <a:ln>
                <a:noFill/>
              </a:ln>
              <a:solidFill>
                <a:srgbClr val="000000"/>
              </a:solidFill>
              <a:effectLst/>
              <a:uLnTx/>
              <a:uFillTx/>
              <a:latin typeface="IBM Plex Sans"/>
              <a:cs typeface="Arial" charset="0"/>
            </a:endParaRPr>
          </a:p>
        </p:txBody>
      </p:sp>
      <p:sp>
        <p:nvSpPr>
          <p:cNvPr id="7" name="Footer Placeholder 6">
            <a:extLst>
              <a:ext uri="{FF2B5EF4-FFF2-40B4-BE49-F238E27FC236}">
                <a16:creationId xmlns:a16="http://schemas.microsoft.com/office/drawing/2014/main" id="{F7F3FD1D-4CC5-A942-9468-B837A39962E7}"/>
              </a:ext>
            </a:extLst>
          </p:cNvPr>
          <p:cNvSpPr>
            <a:spLocks noGrp="1"/>
          </p:cNvSpPr>
          <p:nvPr>
            <p:ph type="ftr" sz="quarter" idx="3"/>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pt-BR" sz="600" b="0" i="0" u="none" strike="noStrike" kern="1200" cap="none" spc="0" normalizeH="0" baseline="0" noProof="0" dirty="0">
                <a:ln>
                  <a:noFill/>
                </a:ln>
                <a:solidFill>
                  <a:srgbClr val="000000"/>
                </a:solidFill>
                <a:effectLst/>
                <a:uLnTx/>
                <a:uFillTx/>
                <a:latin typeface="IBM Plex Sans"/>
                <a:cs typeface="Arial" charset="0"/>
              </a:rPr>
              <a:t>IBM Maximo / © 2020 IBM Corporation</a:t>
            </a:r>
            <a:endParaRPr kumimoji="0" lang="en-US" sz="600" b="0" i="0" u="none" strike="noStrike" kern="1200" cap="none" spc="0" normalizeH="0" baseline="0" noProof="0" dirty="0">
              <a:ln>
                <a:noFill/>
              </a:ln>
              <a:solidFill>
                <a:srgbClr val="000000"/>
              </a:solidFill>
              <a:effectLst/>
              <a:uLnTx/>
              <a:uFillTx/>
              <a:latin typeface="IBM Plex Sans"/>
              <a:cs typeface="Arial" charset="0"/>
            </a:endParaRPr>
          </a:p>
        </p:txBody>
      </p:sp>
      <p:sp>
        <p:nvSpPr>
          <p:cNvPr id="22" name="Title 1">
            <a:extLst>
              <a:ext uri="{FF2B5EF4-FFF2-40B4-BE49-F238E27FC236}">
                <a16:creationId xmlns:a16="http://schemas.microsoft.com/office/drawing/2014/main" id="{61518B40-917C-4298-8AF2-0769AF3C22F6}"/>
              </a:ext>
            </a:extLst>
          </p:cNvPr>
          <p:cNvSpPr>
            <a:spLocks noGrp="1"/>
          </p:cNvSpPr>
          <p:nvPr>
            <p:ph type="title"/>
          </p:nvPr>
        </p:nvSpPr>
        <p:spPr>
          <a:xfrm>
            <a:off x="228599" y="201168"/>
            <a:ext cx="6393911" cy="855726"/>
          </a:xfrm>
        </p:spPr>
        <p:txBody>
          <a:bodyPr/>
          <a:lstStyle/>
          <a:p>
            <a:r>
              <a:rPr lang="en-US" dirty="0"/>
              <a:t>User Experience: Same for ease of upgrade</a:t>
            </a:r>
          </a:p>
        </p:txBody>
      </p:sp>
      <p:sp>
        <p:nvSpPr>
          <p:cNvPr id="26" name="Rectangle 25">
            <a:extLst>
              <a:ext uri="{FF2B5EF4-FFF2-40B4-BE49-F238E27FC236}">
                <a16:creationId xmlns:a16="http://schemas.microsoft.com/office/drawing/2014/main" id="{EA4C3CF1-2831-4DE1-8547-0A9D49A1C015}"/>
              </a:ext>
            </a:extLst>
          </p:cNvPr>
          <p:cNvSpPr/>
          <p:nvPr/>
        </p:nvSpPr>
        <p:spPr>
          <a:xfrm>
            <a:off x="426310" y="982407"/>
            <a:ext cx="3564852" cy="246221"/>
          </a:xfrm>
          <a:prstGeom prst="rect">
            <a:avLst/>
          </a:prstGeom>
        </p:spPr>
        <p:txBody>
          <a:bodyPr wrap="square" lIns="0" tIns="0" rIns="0" bIns="0" anchor="t">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IBM Plex Sans"/>
                <a:ea typeface="IBM Plex Sans" charset="0"/>
                <a:cs typeface="IBM Plex Sans" charset="0"/>
              </a:rPr>
              <a:t>Anywhere 7.6.3.1</a:t>
            </a:r>
          </a:p>
        </p:txBody>
      </p:sp>
      <p:sp>
        <p:nvSpPr>
          <p:cNvPr id="28" name="Rectangle 27">
            <a:extLst>
              <a:ext uri="{FF2B5EF4-FFF2-40B4-BE49-F238E27FC236}">
                <a16:creationId xmlns:a16="http://schemas.microsoft.com/office/drawing/2014/main" id="{B94A4466-63A4-4F38-A188-06C49CBBB165}"/>
              </a:ext>
            </a:extLst>
          </p:cNvPr>
          <p:cNvSpPr/>
          <p:nvPr/>
        </p:nvSpPr>
        <p:spPr>
          <a:xfrm>
            <a:off x="4998308" y="982407"/>
            <a:ext cx="3564852" cy="246221"/>
          </a:xfrm>
          <a:prstGeom prst="rect">
            <a:avLst/>
          </a:prstGeom>
        </p:spPr>
        <p:txBody>
          <a:bodyPr wrap="square" lIns="0" tIns="0" rIns="0" bIns="0" anchor="t">
            <a:spAutoFit/>
          </a:bodyPr>
          <a:lstStyle/>
          <a:p>
            <a:pPr marL="0" marR="0" lvl="0" indent="0" algn="ctr" defTabSz="685800" rtl="0" eaLnBrk="1" fontAlgn="base"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IBM Plex Sans"/>
                <a:ea typeface="IBM Plex Sans" charset="0"/>
                <a:cs typeface="IBM Plex Sans" charset="0"/>
              </a:rPr>
              <a:t>Anywhere 7.6.4</a:t>
            </a:r>
          </a:p>
        </p:txBody>
      </p:sp>
      <p:pic>
        <p:nvPicPr>
          <p:cNvPr id="6" name="Picture 5">
            <a:extLst>
              <a:ext uri="{FF2B5EF4-FFF2-40B4-BE49-F238E27FC236}">
                <a16:creationId xmlns:a16="http://schemas.microsoft.com/office/drawing/2014/main" id="{0EF02F5D-D650-4256-81FF-1DAE81DF25CF}"/>
              </a:ext>
            </a:extLst>
          </p:cNvPr>
          <p:cNvPicPr>
            <a:picLocks noChangeAspect="1"/>
          </p:cNvPicPr>
          <p:nvPr/>
        </p:nvPicPr>
        <p:blipFill rotWithShape="1">
          <a:blip r:embed="rId4"/>
          <a:srcRect r="1156"/>
          <a:stretch/>
        </p:blipFill>
        <p:spPr>
          <a:xfrm>
            <a:off x="2601495" y="1906602"/>
            <a:ext cx="1259989" cy="2186076"/>
          </a:xfrm>
          <a:prstGeom prst="rect">
            <a:avLst/>
          </a:prstGeom>
        </p:spPr>
      </p:pic>
    </p:spTree>
    <p:extLst>
      <p:ext uri="{BB962C8B-B14F-4D97-AF65-F5344CB8AC3E}">
        <p14:creationId xmlns:p14="http://schemas.microsoft.com/office/powerpoint/2010/main" val="23502961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19309CB-8BE1-6F46-B28F-E99FFB33BC9B}"/>
              </a:ext>
            </a:extLst>
          </p:cNvPr>
          <p:cNvSpPr>
            <a:spLocks noChangeArrowheads="1"/>
          </p:cNvSpPr>
          <p:nvPr/>
        </p:nvSpPr>
        <p:spPr bwMode="auto">
          <a:xfrm>
            <a:off x="5387248" y="0"/>
            <a:ext cx="3756752" cy="5143500"/>
          </a:xfrm>
          <a:prstGeom prst="rect">
            <a:avLst/>
          </a:prstGeom>
          <a:solidFill>
            <a:schemeClr val="accent2"/>
          </a:solidFill>
          <a:ln>
            <a:noFill/>
          </a:ln>
        </p:spPr>
        <p:txBody>
          <a:bodyPr lIns="0" tIns="0" rIns="0" bIns="0" anchor="ctr"/>
          <a:lstStyle/>
          <a:p>
            <a:pPr algn="ctr" defTabSz="457189">
              <a:defRPr/>
            </a:pPr>
            <a:endParaRPr lang="en-US" sz="1500">
              <a:solidFill>
                <a:srgbClr val="5596E6">
                  <a:lumMod val="75000"/>
                </a:srgbClr>
              </a:solidFill>
              <a:latin typeface="IBM Plex Sans" charset="0"/>
              <a:ea typeface="IBM Plex Sans" charset="0"/>
              <a:cs typeface="IBM Plex Sans" charset="0"/>
            </a:endParaRPr>
          </a:p>
        </p:txBody>
      </p:sp>
      <p:sp>
        <p:nvSpPr>
          <p:cNvPr id="4" name="Title 3"/>
          <p:cNvSpPr>
            <a:spLocks noGrp="1"/>
          </p:cNvSpPr>
          <p:nvPr>
            <p:ph type="title"/>
          </p:nvPr>
        </p:nvSpPr>
        <p:spPr/>
        <p:txBody>
          <a:bodyPr/>
          <a:lstStyle/>
          <a:p>
            <a:r>
              <a:rPr lang="en-US"/>
              <a:t>Inspections </a:t>
            </a:r>
            <a:r>
              <a:rPr lang="mr-IN"/>
              <a:t>–</a:t>
            </a:r>
            <a:r>
              <a:rPr lang="en-US"/>
              <a:t> Manage Forms </a:t>
            </a:r>
            <a:br>
              <a:rPr lang="en-US"/>
            </a:br>
            <a:endParaRPr lang="en-US"/>
          </a:p>
        </p:txBody>
      </p:sp>
      <p:pic>
        <p:nvPicPr>
          <p:cNvPr id="5" name="Picture 4">
            <a:extLst>
              <a:ext uri="{FF2B5EF4-FFF2-40B4-BE49-F238E27FC236}">
                <a16:creationId xmlns:a16="http://schemas.microsoft.com/office/drawing/2014/main" id="{7BE0CC23-F783-4987-853E-55C63E4CBDC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0596" y="736118"/>
            <a:ext cx="4402413" cy="2763216"/>
          </a:xfrm>
          <a:prstGeom prst="rect">
            <a:avLst/>
          </a:prstGeom>
          <a:ln>
            <a:solidFill>
              <a:srgbClr val="655B5C"/>
            </a:solidFill>
          </a:ln>
        </p:spPr>
      </p:pic>
      <p:sp>
        <p:nvSpPr>
          <p:cNvPr id="7" name="Rectangle 6"/>
          <p:cNvSpPr/>
          <p:nvPr/>
        </p:nvSpPr>
        <p:spPr>
          <a:xfrm>
            <a:off x="5477548" y="389574"/>
            <a:ext cx="3576157" cy="4447371"/>
          </a:xfrm>
          <a:prstGeom prst="rect">
            <a:avLst/>
          </a:prstGeom>
        </p:spPr>
        <p:txBody>
          <a:bodyPr wrap="square">
            <a:spAutoFit/>
          </a:bodyPr>
          <a:lstStyle/>
          <a:p>
            <a:pPr defTabSz="457189">
              <a:buClr>
                <a:srgbClr val="FEFFFB"/>
              </a:buClr>
              <a:defRPr/>
            </a:pPr>
            <a:r>
              <a:rPr lang="en-CA" sz="1500" dirty="0">
                <a:solidFill>
                  <a:srgbClr val="FEFFFB"/>
                </a:solidFill>
                <a:latin typeface="IBM Plex Sans" charset="0"/>
                <a:ea typeface="IBM Plex Sans" charset="0"/>
                <a:cs typeface="IBM Plex Sans" charset="0"/>
              </a:rPr>
              <a:t>Provides capabilities to define an electronic inspection form:</a:t>
            </a:r>
          </a:p>
          <a:p>
            <a:pPr defTabSz="457189">
              <a:buClr>
                <a:srgbClr val="FEFFFB"/>
              </a:buClr>
              <a:defRPr/>
            </a:pPr>
            <a:endParaRPr lang="en-CA" sz="1500" dirty="0">
              <a:solidFill>
                <a:srgbClr val="FEFFFB"/>
              </a:solidFill>
              <a:latin typeface="IBM Plex Sans" charset="0"/>
              <a:ea typeface="IBM Plex Sans" charset="0"/>
              <a:cs typeface="IBM Plex Sans" charset="0"/>
            </a:endParaRPr>
          </a:p>
          <a:p>
            <a:pPr marL="141284" indent="-141284" defTabSz="457189">
              <a:buClr>
                <a:srgbClr val="FEFFFB"/>
              </a:buClr>
              <a:buFont typeface="Arial" panose="020B0604020202020204" pitchFamily="34" charset="0"/>
              <a:buChar char="•"/>
              <a:defRPr/>
            </a:pPr>
            <a:r>
              <a:rPr lang="en-CA" sz="1400" dirty="0">
                <a:solidFill>
                  <a:srgbClr val="FEFFFB"/>
                </a:solidFill>
                <a:latin typeface="IBM Plex Sans" charset="0"/>
                <a:ea typeface="IBM Plex Sans" charset="0"/>
                <a:cs typeface="IBM Plex Sans" charset="0"/>
              </a:rPr>
              <a:t>Accommodate requirements of traditional paper based inspections</a:t>
            </a:r>
          </a:p>
          <a:p>
            <a:pPr marL="360354" lvl="2" indent="-219070" defTabSz="457189">
              <a:buClr>
                <a:srgbClr val="FEFFFB"/>
              </a:buClr>
              <a:buFont typeface="Arial" panose="020B0604020202020204" pitchFamily="34" charset="0"/>
              <a:buChar char="•"/>
              <a:defRPr/>
            </a:pPr>
            <a:r>
              <a:rPr lang="en-CA" sz="1400" dirty="0">
                <a:solidFill>
                  <a:srgbClr val="FEFFFB"/>
                </a:solidFill>
                <a:latin typeface="IBM Plex Sans" charset="0"/>
                <a:ea typeface="IBM Plex Sans" charset="0"/>
                <a:cs typeface="IBM Plex Sans" charset="0"/>
              </a:rPr>
              <a:t>Group questions, mark required.</a:t>
            </a:r>
          </a:p>
          <a:p>
            <a:pPr marL="360354" lvl="2" indent="-219070" defTabSz="457189">
              <a:buClr>
                <a:srgbClr val="FEFFFB"/>
              </a:buClr>
              <a:buFont typeface="Arial" panose="020B0604020202020204" pitchFamily="34" charset="0"/>
              <a:buChar char="•"/>
              <a:defRPr/>
            </a:pPr>
            <a:r>
              <a:rPr lang="en-CA" sz="1400" dirty="0">
                <a:solidFill>
                  <a:srgbClr val="FEFFFB"/>
                </a:solidFill>
                <a:latin typeface="IBM Plex Sans" charset="0"/>
                <a:ea typeface="IBM Plex Sans" charset="0"/>
                <a:cs typeface="IBM Plex Sans" charset="0"/>
              </a:rPr>
              <a:t>Attach documents, free form text, meter readings</a:t>
            </a:r>
          </a:p>
          <a:p>
            <a:pPr marL="360354" lvl="2" indent="-219070" defTabSz="457189">
              <a:buClr>
                <a:srgbClr val="FEFFFB"/>
              </a:buClr>
              <a:buFont typeface="Arial" panose="020B0604020202020204" pitchFamily="34" charset="0"/>
              <a:buChar char="•"/>
              <a:defRPr/>
            </a:pPr>
            <a:r>
              <a:rPr lang="en-CA" sz="1400" dirty="0">
                <a:solidFill>
                  <a:srgbClr val="FEFFFB"/>
                </a:solidFill>
                <a:latin typeface="IBM Plex Sans" charset="0"/>
                <a:ea typeface="IBM Plex Sans" charset="0"/>
                <a:cs typeface="IBM Plex Sans" charset="0"/>
              </a:rPr>
              <a:t>Conditional Questions</a:t>
            </a:r>
          </a:p>
          <a:p>
            <a:pPr marL="360354" lvl="2" indent="-219070" defTabSz="457189">
              <a:buClr>
                <a:srgbClr val="FEFFFB"/>
              </a:buClr>
              <a:buFont typeface="Arial" panose="020B0604020202020204" pitchFamily="34" charset="0"/>
              <a:buChar char="•"/>
              <a:defRPr/>
            </a:pPr>
            <a:r>
              <a:rPr lang="en-CA" sz="1400" dirty="0">
                <a:solidFill>
                  <a:srgbClr val="FEFFFB"/>
                </a:solidFill>
                <a:latin typeface="IBM Plex Sans" charset="0"/>
                <a:ea typeface="IBM Plex Sans" charset="0"/>
                <a:cs typeface="IBM Plex Sans" charset="0"/>
              </a:rPr>
              <a:t>Colors and Icons to indicate response</a:t>
            </a:r>
          </a:p>
          <a:p>
            <a:pPr marL="141284" indent="-141284" defTabSz="457189">
              <a:buClr>
                <a:srgbClr val="FEFFFB"/>
              </a:buClr>
              <a:buFont typeface="Arial" panose="020B0604020202020204" pitchFamily="34" charset="0"/>
              <a:buChar char="•"/>
              <a:defRPr/>
            </a:pPr>
            <a:endParaRPr lang="en-CA" sz="1400" dirty="0">
              <a:solidFill>
                <a:srgbClr val="FEFFFB"/>
              </a:solidFill>
              <a:latin typeface="IBM Plex Sans" charset="0"/>
              <a:ea typeface="IBM Plex Sans" charset="0"/>
              <a:cs typeface="IBM Plex Sans" charset="0"/>
            </a:endParaRPr>
          </a:p>
          <a:p>
            <a:pPr marL="141284" indent="-141284" defTabSz="457189">
              <a:buClr>
                <a:srgbClr val="FEFFFB"/>
              </a:buClr>
              <a:buFont typeface="Arial" panose="020B0604020202020204" pitchFamily="34" charset="0"/>
              <a:buChar char="•"/>
              <a:defRPr/>
            </a:pPr>
            <a:r>
              <a:rPr lang="en-CA" sz="1400" dirty="0">
                <a:solidFill>
                  <a:srgbClr val="FEFFFB"/>
                </a:solidFill>
                <a:latin typeface="IBM Plex Sans" charset="0"/>
                <a:ea typeface="IBM Plex Sans" charset="0"/>
                <a:cs typeface="IBM Plex Sans" charset="0"/>
              </a:rPr>
              <a:t>Revision control</a:t>
            </a:r>
          </a:p>
          <a:p>
            <a:pPr marL="141284" indent="-141284" defTabSz="457189">
              <a:buClr>
                <a:srgbClr val="FEFFFB"/>
              </a:buClr>
              <a:buFont typeface="Arial" panose="020B0604020202020204" pitchFamily="34" charset="0"/>
              <a:buChar char="•"/>
              <a:defRPr/>
            </a:pPr>
            <a:endParaRPr lang="en-CA" sz="1400" dirty="0">
              <a:solidFill>
                <a:srgbClr val="FEFFFB"/>
              </a:solidFill>
              <a:latin typeface="IBM Plex Sans" charset="0"/>
              <a:ea typeface="IBM Plex Sans" charset="0"/>
              <a:cs typeface="IBM Plex Sans" charset="0"/>
            </a:endParaRPr>
          </a:p>
          <a:p>
            <a:pPr marL="141284" indent="-141284" defTabSz="457189">
              <a:buClr>
                <a:srgbClr val="FEFFFB"/>
              </a:buClr>
              <a:buFont typeface="Arial" panose="020B0604020202020204" pitchFamily="34" charset="0"/>
              <a:buChar char="•"/>
              <a:defRPr/>
            </a:pPr>
            <a:r>
              <a:rPr lang="en-CA" sz="1400" dirty="0">
                <a:solidFill>
                  <a:srgbClr val="FEFFFB"/>
                </a:solidFill>
                <a:latin typeface="IBM Plex Sans" charset="0"/>
                <a:ea typeface="IBM Plex Sans" charset="0"/>
                <a:cs typeface="IBM Plex Sans" charset="0"/>
              </a:rPr>
              <a:t>Audio guided inspections and follow up actions</a:t>
            </a:r>
          </a:p>
          <a:p>
            <a:pPr marL="141284" indent="-141284" defTabSz="457189">
              <a:buClr>
                <a:srgbClr val="FEFFFB"/>
              </a:buClr>
              <a:buFont typeface="Arial" panose="020B0604020202020204" pitchFamily="34" charset="0"/>
              <a:buChar char="•"/>
              <a:defRPr/>
            </a:pPr>
            <a:endParaRPr lang="en-CA" sz="1400" dirty="0">
              <a:solidFill>
                <a:srgbClr val="FEFFFB"/>
              </a:solidFill>
              <a:latin typeface="IBM Plex Sans" charset="0"/>
              <a:ea typeface="IBM Plex Sans" charset="0"/>
              <a:cs typeface="IBM Plex Sans" charset="0"/>
            </a:endParaRPr>
          </a:p>
          <a:p>
            <a:pPr marL="177796" indent="-168271" defTabSz="457189">
              <a:buClr>
                <a:srgbClr val="FEFFFB"/>
              </a:buClr>
              <a:buFont typeface="Arial" panose="020B0604020202020204" pitchFamily="34" charset="0"/>
              <a:buChar char="•"/>
              <a:defRPr/>
            </a:pPr>
            <a:r>
              <a:rPr lang="en-CA" sz="1400" dirty="0">
                <a:solidFill>
                  <a:srgbClr val="FEFFFB"/>
                </a:solidFill>
                <a:latin typeface="IBM Plex Sans" charset="0"/>
                <a:ea typeface="IBM Plex Sans" charset="0"/>
                <a:cs typeface="IBM Plex Sans" charset="0"/>
              </a:rPr>
              <a:t>Used for Job Plans and Routes</a:t>
            </a:r>
          </a:p>
          <a:p>
            <a:pPr marL="177796" indent="-168271" defTabSz="457189">
              <a:buClr>
                <a:srgbClr val="FEFFFB"/>
              </a:buClr>
              <a:buFont typeface="Arial" panose="020B0604020202020204" pitchFamily="34" charset="0"/>
              <a:buChar char="•"/>
              <a:defRPr/>
            </a:pPr>
            <a:endParaRPr lang="en-CA" sz="1400" dirty="0">
              <a:solidFill>
                <a:srgbClr val="FEFFFB"/>
              </a:solidFill>
              <a:latin typeface="IBM Plex Sans" charset="0"/>
              <a:ea typeface="IBM Plex Sans" charset="0"/>
              <a:cs typeface="IBM Plex Sans" charset="0"/>
            </a:endParaRPr>
          </a:p>
          <a:p>
            <a:pPr marL="177796" indent="-168271" defTabSz="457189">
              <a:buClr>
                <a:srgbClr val="FEFFFB"/>
              </a:buClr>
              <a:buFont typeface="Arial" panose="020B0604020202020204" pitchFamily="34" charset="0"/>
              <a:buChar char="•"/>
              <a:defRPr/>
            </a:pPr>
            <a:r>
              <a:rPr lang="en-CA" sz="1400" dirty="0">
                <a:solidFill>
                  <a:srgbClr val="FEFFFB"/>
                </a:solidFill>
                <a:latin typeface="IBM Plex Sans" charset="0"/>
                <a:ea typeface="IBM Plex Sans" charset="0"/>
                <a:cs typeface="IBM Plex Sans" charset="0"/>
              </a:rPr>
              <a:t>PM can be set up for recurrent inspection on assets and locations</a:t>
            </a:r>
          </a:p>
        </p:txBody>
      </p:sp>
      <p:pic>
        <p:nvPicPr>
          <p:cNvPr id="8" name="Picture 7">
            <a:extLst>
              <a:ext uri="{FF2B5EF4-FFF2-40B4-BE49-F238E27FC236}">
                <a16:creationId xmlns:a16="http://schemas.microsoft.com/office/drawing/2014/main" id="{94D52923-2996-4F96-8DE7-FE1717B1DC6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1723" y="3268515"/>
            <a:ext cx="4485227" cy="1567648"/>
          </a:xfrm>
          <a:prstGeom prst="rect">
            <a:avLst/>
          </a:prstGeom>
        </p:spPr>
      </p:pic>
      <p:sp>
        <p:nvSpPr>
          <p:cNvPr id="9" name="Slide Number Placeholder 1">
            <a:extLst>
              <a:ext uri="{FF2B5EF4-FFF2-40B4-BE49-F238E27FC236}">
                <a16:creationId xmlns:a16="http://schemas.microsoft.com/office/drawing/2014/main" id="{42AD017D-A423-48B7-A55E-0347AA7C94AB}"/>
              </a:ext>
            </a:extLst>
          </p:cNvPr>
          <p:cNvSpPr txBox="1">
            <a:spLocks/>
          </p:cNvSpPr>
          <p:nvPr/>
        </p:nvSpPr>
        <p:spPr>
          <a:xfrm>
            <a:off x="8769246" y="4912755"/>
            <a:ext cx="323807" cy="137160"/>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457189">
              <a:defRPr/>
            </a:pPr>
            <a:fld id="{FAE4B3C6-245C-644B-9074-60488D830437}" type="slidenum">
              <a:rPr lang="en-US" sz="600">
                <a:solidFill>
                  <a:srgbClr val="000000"/>
                </a:solidFill>
                <a:latin typeface="IBM Plex Sans Regular" charset="0"/>
              </a:rPr>
              <a:pPr defTabSz="457189">
                <a:defRPr/>
              </a:pPr>
              <a:t>29</a:t>
            </a:fld>
            <a:endParaRPr lang="en-US" sz="600" dirty="0">
              <a:solidFill>
                <a:srgbClr val="000000"/>
              </a:solidFill>
              <a:latin typeface="IBM Plex Sans Regular" charset="0"/>
            </a:endParaRPr>
          </a:p>
        </p:txBody>
      </p:sp>
      <p:sp>
        <p:nvSpPr>
          <p:cNvPr id="12" name="Footer Placeholder 9">
            <a:extLst>
              <a:ext uri="{FF2B5EF4-FFF2-40B4-BE49-F238E27FC236}">
                <a16:creationId xmlns:a16="http://schemas.microsoft.com/office/drawing/2014/main" id="{A185230C-8F25-4747-A3D8-A9542003967E}"/>
              </a:ext>
            </a:extLst>
          </p:cNvPr>
          <p:cNvSpPr>
            <a:spLocks noGrp="1"/>
          </p:cNvSpPr>
          <p:nvPr>
            <p:ph type="ftr" sz="quarter" idx="3"/>
          </p:nvPr>
        </p:nvSpPr>
        <p:spPr>
          <a:xfrm>
            <a:off x="228600" y="4826480"/>
            <a:ext cx="6400800" cy="137160"/>
          </a:xfrm>
          <a:prstGeom prst="rect">
            <a:avLst/>
          </a:prstGeom>
        </p:spPr>
        <p:txBody>
          <a:bodyPr vert="horz" lIns="0" tIns="0" rIns="0" bIns="0" rtlCol="0" anchor="ctr"/>
          <a:lstStyle>
            <a:defPPr>
              <a:defRPr lang="en-US"/>
            </a:defPPr>
            <a:lvl1pPr marL="0" algn="l"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defRPr/>
            </a:pPr>
            <a:r>
              <a:rPr lang="de-DE"/>
              <a:t>IBM Watson IoT / © 2020 IBM Corporation</a:t>
            </a:r>
            <a:endParaRPr lang="en-US" dirty="0">
              <a:solidFill>
                <a:srgbClr val="000000"/>
              </a:solidFill>
              <a:latin typeface="IBM Plex Sans"/>
            </a:endParaRPr>
          </a:p>
        </p:txBody>
      </p:sp>
    </p:spTree>
    <p:extLst>
      <p:ext uri="{BB962C8B-B14F-4D97-AF65-F5344CB8AC3E}">
        <p14:creationId xmlns:p14="http://schemas.microsoft.com/office/powerpoint/2010/main" val="1091779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DE88772-8BC3-9545-89FA-0D9164EFC305}"/>
              </a:ext>
            </a:extLst>
          </p:cNvPr>
          <p:cNvSpPr>
            <a:spLocks noGrp="1"/>
          </p:cNvSpPr>
          <p:nvPr>
            <p:ph sz="quarter" idx="19"/>
          </p:nvPr>
        </p:nvSpPr>
        <p:spPr>
          <a:xfrm>
            <a:off x="0" y="857249"/>
            <a:ext cx="2286000" cy="4286250"/>
          </a:xfrm>
        </p:spPr>
        <p:txBody>
          <a:bodyPr/>
          <a:lstStyle/>
          <a:p>
            <a:r>
              <a:rPr lang="en-US" b="1" dirty="0">
                <a:solidFill>
                  <a:schemeClr val="bg2">
                    <a:lumMod val="85000"/>
                  </a:schemeClr>
                </a:solidFill>
              </a:rPr>
              <a:t>Maximo 7.6.1.2</a:t>
            </a:r>
            <a:r>
              <a:rPr lang="en-US" dirty="0">
                <a:solidFill>
                  <a:schemeClr val="bg2">
                    <a:lumMod val="85000"/>
                  </a:schemeClr>
                </a:solidFill>
              </a:rPr>
              <a:t>	</a:t>
            </a:r>
          </a:p>
          <a:p>
            <a:endParaRPr lang="en-US" dirty="0">
              <a:solidFill>
                <a:schemeClr val="bg2">
                  <a:lumMod val="85000"/>
                </a:schemeClr>
              </a:solidFill>
            </a:endParaRPr>
          </a:p>
          <a:p>
            <a:r>
              <a:rPr lang="en-US" sz="1200" dirty="0">
                <a:solidFill>
                  <a:schemeClr val="bg2">
                    <a:lumMod val="85000"/>
                  </a:schemeClr>
                </a:solidFill>
              </a:rPr>
              <a:t>Work center enhancements</a:t>
            </a:r>
          </a:p>
          <a:p>
            <a:r>
              <a:rPr lang="en-US" sz="1200" dirty="0">
                <a:solidFill>
                  <a:schemeClr val="bg2">
                    <a:lumMod val="85000"/>
                  </a:schemeClr>
                </a:solidFill>
              </a:rPr>
              <a:t>Address customer RFE’s - multiple attachments, ERD builder, Updated drilldown navigation, email listener protocols, display of embedded images</a:t>
            </a:r>
          </a:p>
          <a:p>
            <a:r>
              <a:rPr lang="en-US" sz="1200" dirty="0">
                <a:solidFill>
                  <a:schemeClr val="bg2">
                    <a:lumMod val="85000"/>
                  </a:schemeClr>
                </a:solidFill>
              </a:rPr>
              <a:t>Push Notifications</a:t>
            </a:r>
          </a:p>
          <a:p>
            <a:r>
              <a:rPr lang="en-US" sz="1200" dirty="0">
                <a:solidFill>
                  <a:schemeClr val="bg2">
                    <a:lumMod val="85000"/>
                  </a:schemeClr>
                </a:solidFill>
              </a:rPr>
              <a:t>Security and Currency updates</a:t>
            </a:r>
          </a:p>
        </p:txBody>
      </p:sp>
      <p:sp>
        <p:nvSpPr>
          <p:cNvPr id="5" name="Content Placeholder 4">
            <a:extLst>
              <a:ext uri="{FF2B5EF4-FFF2-40B4-BE49-F238E27FC236}">
                <a16:creationId xmlns:a16="http://schemas.microsoft.com/office/drawing/2014/main" id="{3A1CD469-D701-6145-9CC2-A62A0ED9103A}"/>
              </a:ext>
            </a:extLst>
          </p:cNvPr>
          <p:cNvSpPr>
            <a:spLocks noGrp="1"/>
          </p:cNvSpPr>
          <p:nvPr>
            <p:ph sz="quarter" idx="20"/>
          </p:nvPr>
        </p:nvSpPr>
        <p:spPr>
          <a:xfrm>
            <a:off x="2286000" y="857250"/>
            <a:ext cx="2286000" cy="4286250"/>
          </a:xfrm>
        </p:spPr>
        <p:txBody>
          <a:bodyPr/>
          <a:lstStyle/>
          <a:p>
            <a:r>
              <a:rPr lang="en-US" b="1" dirty="0">
                <a:solidFill>
                  <a:schemeClr val="bg2">
                    <a:lumMod val="85000"/>
                  </a:schemeClr>
                </a:solidFill>
              </a:rPr>
              <a:t>Location Based Services/Spatial</a:t>
            </a:r>
          </a:p>
          <a:p>
            <a:endParaRPr lang="en-US" dirty="0">
              <a:solidFill>
                <a:schemeClr val="bg2">
                  <a:lumMod val="85000"/>
                </a:schemeClr>
              </a:solidFill>
            </a:endParaRPr>
          </a:p>
          <a:p>
            <a:r>
              <a:rPr lang="en-US" sz="1200" dirty="0">
                <a:solidFill>
                  <a:schemeClr val="bg2">
                    <a:lumMod val="85000"/>
                  </a:schemeClr>
                </a:solidFill>
              </a:rPr>
              <a:t>Offline mapping improvements </a:t>
            </a:r>
          </a:p>
          <a:p>
            <a:r>
              <a:rPr lang="en-US" sz="1200" dirty="0">
                <a:solidFill>
                  <a:schemeClr val="bg2">
                    <a:lumMod val="85000"/>
                  </a:schemeClr>
                </a:solidFill>
              </a:rPr>
              <a:t>Data/Security layers </a:t>
            </a:r>
          </a:p>
          <a:p>
            <a:r>
              <a:rPr lang="en-US" sz="1200" dirty="0">
                <a:solidFill>
                  <a:schemeClr val="bg2">
                    <a:lumMod val="85000"/>
                  </a:schemeClr>
                </a:solidFill>
              </a:rPr>
              <a:t>ArcGIS Online data synchronization support and use of feature services	</a:t>
            </a:r>
          </a:p>
        </p:txBody>
      </p:sp>
      <p:sp>
        <p:nvSpPr>
          <p:cNvPr id="6" name="Content Placeholder 5">
            <a:extLst>
              <a:ext uri="{FF2B5EF4-FFF2-40B4-BE49-F238E27FC236}">
                <a16:creationId xmlns:a16="http://schemas.microsoft.com/office/drawing/2014/main" id="{50004EFE-609C-464B-9B06-E8D1D697B889}"/>
              </a:ext>
            </a:extLst>
          </p:cNvPr>
          <p:cNvSpPr>
            <a:spLocks noGrp="1"/>
          </p:cNvSpPr>
          <p:nvPr>
            <p:ph sz="quarter" idx="21"/>
          </p:nvPr>
        </p:nvSpPr>
        <p:spPr>
          <a:xfrm>
            <a:off x="4572000" y="857250"/>
            <a:ext cx="2286000" cy="4286250"/>
          </a:xfrm>
        </p:spPr>
        <p:txBody>
          <a:bodyPr/>
          <a:lstStyle/>
          <a:p>
            <a:r>
              <a:rPr lang="en-US" b="1" dirty="0">
                <a:solidFill>
                  <a:schemeClr val="bg2">
                    <a:lumMod val="85000"/>
                  </a:schemeClr>
                </a:solidFill>
              </a:rPr>
              <a:t>Scheduling</a:t>
            </a:r>
          </a:p>
          <a:p>
            <a:endParaRPr lang="en-US" dirty="0">
              <a:solidFill>
                <a:schemeClr val="bg2">
                  <a:lumMod val="85000"/>
                </a:schemeClr>
              </a:solidFill>
            </a:endParaRPr>
          </a:p>
          <a:p>
            <a:r>
              <a:rPr lang="en-US" sz="1200" dirty="0">
                <a:solidFill>
                  <a:schemeClr val="bg2">
                    <a:lumMod val="85000"/>
                  </a:schemeClr>
                </a:solidFill>
              </a:rPr>
              <a:t>Improved User Experience</a:t>
            </a:r>
          </a:p>
          <a:p>
            <a:r>
              <a:rPr lang="en-CA" sz="1200" dirty="0">
                <a:solidFill>
                  <a:schemeClr val="bg2">
                    <a:lumMod val="85000"/>
                  </a:schemeClr>
                </a:solidFill>
              </a:rPr>
              <a:t>Heatmap for Graphical Assignment</a:t>
            </a:r>
          </a:p>
          <a:p>
            <a:r>
              <a:rPr lang="en-CA" sz="1200" dirty="0">
                <a:solidFill>
                  <a:schemeClr val="bg2">
                    <a:lumMod val="85000"/>
                  </a:schemeClr>
                </a:solidFill>
              </a:rPr>
              <a:t>Calendar resource views</a:t>
            </a:r>
          </a:p>
          <a:p>
            <a:r>
              <a:rPr lang="en-CA" sz="1200" dirty="0">
                <a:solidFill>
                  <a:schemeClr val="bg2">
                    <a:lumMod val="85000"/>
                  </a:schemeClr>
                </a:solidFill>
              </a:rPr>
              <a:t>UX Enhancements (e.g. Inline editing)</a:t>
            </a:r>
          </a:p>
          <a:p>
            <a:r>
              <a:rPr lang="en-CA" sz="1200" dirty="0">
                <a:solidFill>
                  <a:schemeClr val="bg2">
                    <a:lumMod val="85000"/>
                  </a:schemeClr>
                </a:solidFill>
              </a:rPr>
              <a:t>Optimization improvements using ILOG CPLEX studio</a:t>
            </a:r>
          </a:p>
          <a:p>
            <a:r>
              <a:rPr lang="en-CA" sz="1200" dirty="0">
                <a:solidFill>
                  <a:schemeClr val="bg2">
                    <a:lumMod val="85000"/>
                  </a:schemeClr>
                </a:solidFill>
              </a:rPr>
              <a:t>Data cleansing pre-processing tools to ensure optimization success</a:t>
            </a:r>
          </a:p>
        </p:txBody>
      </p:sp>
      <p:sp>
        <p:nvSpPr>
          <p:cNvPr id="7" name="Content Placeholder 6">
            <a:extLst>
              <a:ext uri="{FF2B5EF4-FFF2-40B4-BE49-F238E27FC236}">
                <a16:creationId xmlns:a16="http://schemas.microsoft.com/office/drawing/2014/main" id="{7204AB28-927A-F342-AA0D-5B859A27F508}"/>
              </a:ext>
            </a:extLst>
          </p:cNvPr>
          <p:cNvSpPr>
            <a:spLocks noGrp="1"/>
          </p:cNvSpPr>
          <p:nvPr>
            <p:ph sz="quarter" idx="22"/>
          </p:nvPr>
        </p:nvSpPr>
        <p:spPr>
          <a:xfrm>
            <a:off x="6858000" y="857250"/>
            <a:ext cx="2286000" cy="4286250"/>
          </a:xfrm>
          <a:solidFill>
            <a:schemeClr val="tx2">
              <a:lumMod val="50000"/>
            </a:schemeClr>
          </a:solidFill>
        </p:spPr>
        <p:txBody>
          <a:bodyPr/>
          <a:lstStyle/>
          <a:p>
            <a:r>
              <a:rPr lang="en-US" b="1" dirty="0">
                <a:solidFill>
                  <a:schemeClr val="bg2">
                    <a:lumMod val="85000"/>
                  </a:schemeClr>
                </a:solidFill>
              </a:rPr>
              <a:t>Industry Solutions</a:t>
            </a:r>
          </a:p>
          <a:p>
            <a:endParaRPr lang="en-US" dirty="0">
              <a:solidFill>
                <a:schemeClr val="bg2">
                  <a:lumMod val="85000"/>
                </a:schemeClr>
              </a:solidFill>
            </a:endParaRPr>
          </a:p>
          <a:p>
            <a:r>
              <a:rPr lang="en-US" sz="1200" dirty="0">
                <a:solidFill>
                  <a:schemeClr val="bg2">
                    <a:lumMod val="85000"/>
                  </a:schemeClr>
                </a:solidFill>
              </a:rPr>
              <a:t>Oil &amp; Gas / Health Safety Environment Manager</a:t>
            </a:r>
          </a:p>
          <a:p>
            <a:r>
              <a:rPr lang="en-US" sz="1200" dirty="0">
                <a:solidFill>
                  <a:schemeClr val="bg2">
                    <a:lumMod val="85000"/>
                  </a:schemeClr>
                </a:solidFill>
              </a:rPr>
              <a:t>Permit to work </a:t>
            </a:r>
          </a:p>
          <a:p>
            <a:r>
              <a:rPr lang="en-US" sz="1200" dirty="0">
                <a:solidFill>
                  <a:schemeClr val="bg2">
                    <a:lumMod val="85000"/>
                  </a:schemeClr>
                </a:solidFill>
              </a:rPr>
              <a:t>Regulatory guidelines</a:t>
            </a:r>
          </a:p>
          <a:p>
            <a:r>
              <a:rPr lang="en-US" sz="1200" dirty="0">
                <a:solidFill>
                  <a:schemeClr val="bg2">
                    <a:lumMod val="85000"/>
                  </a:schemeClr>
                </a:solidFill>
              </a:rPr>
              <a:t>Incident management</a:t>
            </a:r>
            <a:br>
              <a:rPr lang="en-US" sz="1200" dirty="0">
                <a:solidFill>
                  <a:schemeClr val="bg2">
                    <a:lumMod val="85000"/>
                  </a:schemeClr>
                </a:solidFill>
              </a:rPr>
            </a:br>
            <a:endParaRPr lang="en-US" sz="1200" dirty="0">
              <a:solidFill>
                <a:schemeClr val="bg2">
                  <a:lumMod val="85000"/>
                </a:schemeClr>
              </a:solidFill>
            </a:endParaRPr>
          </a:p>
          <a:p>
            <a:r>
              <a:rPr lang="en-US" sz="1200" dirty="0">
                <a:solidFill>
                  <a:schemeClr val="bg2">
                    <a:lumMod val="85000"/>
                  </a:schemeClr>
                </a:solidFill>
              </a:rPr>
              <a:t>Civil Infrastructure</a:t>
            </a:r>
          </a:p>
          <a:p>
            <a:pPr lvl="1"/>
            <a:r>
              <a:rPr lang="en-US" sz="1050" dirty="0">
                <a:solidFill>
                  <a:schemeClr val="bg2">
                    <a:lumMod val="85000"/>
                  </a:schemeClr>
                </a:solidFill>
              </a:rPr>
              <a:t>Create/View Defects in 3D and Linear Views</a:t>
            </a:r>
          </a:p>
          <a:p>
            <a:pPr lvl="1"/>
            <a:r>
              <a:rPr lang="en-US" sz="1050" dirty="0">
                <a:solidFill>
                  <a:schemeClr val="bg2">
                    <a:lumMod val="85000"/>
                  </a:schemeClr>
                </a:solidFill>
              </a:rPr>
              <a:t>Enhanced Import/Export of Asset Hierarchies</a:t>
            </a:r>
          </a:p>
          <a:p>
            <a:pPr lvl="1"/>
            <a:r>
              <a:rPr lang="en-US" sz="1050" dirty="0">
                <a:solidFill>
                  <a:schemeClr val="bg2">
                    <a:lumMod val="85000"/>
                  </a:schemeClr>
                </a:solidFill>
              </a:rPr>
              <a:t>Sample Bridge Health Score model</a:t>
            </a:r>
          </a:p>
          <a:p>
            <a:endParaRPr lang="en-US" dirty="0">
              <a:solidFill>
                <a:schemeClr val="bg2">
                  <a:lumMod val="85000"/>
                </a:schemeClr>
              </a:solidFill>
            </a:endParaRPr>
          </a:p>
        </p:txBody>
      </p:sp>
      <p:sp>
        <p:nvSpPr>
          <p:cNvPr id="2" name="Slide Number Placeholder 1">
            <a:extLst>
              <a:ext uri="{FF2B5EF4-FFF2-40B4-BE49-F238E27FC236}">
                <a16:creationId xmlns:a16="http://schemas.microsoft.com/office/drawing/2014/main" id="{41421189-2B96-4342-B003-95497DB69FB2}"/>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0BE6F14-FF48-0F4F-A8AA-2E3F25371E4A}" type="slidenum">
              <a:rPr kumimoji="0" lang="en-US" sz="600" b="0" i="0" u="none" strike="noStrike" kern="1200" cap="none" spc="0" normalizeH="0" baseline="0" noProof="0" smtClean="0">
                <a:ln>
                  <a:noFill/>
                </a:ln>
                <a:solidFill>
                  <a:srgbClr val="FFFFFF"/>
                </a:solidFill>
                <a:effectLst/>
                <a:uLnTx/>
                <a:uFillTx/>
                <a:latin typeface="IBM Plex Sans"/>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sz="600" b="0" i="0" u="none" strike="noStrike" kern="1200" cap="none" spc="0" normalizeH="0" baseline="0" noProof="0">
              <a:ln>
                <a:noFill/>
              </a:ln>
              <a:solidFill>
                <a:srgbClr val="FFFFFF"/>
              </a:solidFill>
              <a:effectLst/>
              <a:uLnTx/>
              <a:uFillTx/>
              <a:latin typeface="IBM Plex Sans"/>
              <a:cs typeface="Arial" charset="0"/>
            </a:endParaRPr>
          </a:p>
        </p:txBody>
      </p:sp>
      <p:sp>
        <p:nvSpPr>
          <p:cNvPr id="8" name="Title 7">
            <a:extLst>
              <a:ext uri="{FF2B5EF4-FFF2-40B4-BE49-F238E27FC236}">
                <a16:creationId xmlns:a16="http://schemas.microsoft.com/office/drawing/2014/main" id="{9BD1DB5B-03D4-4A4F-B61F-3371ACB9B62F}"/>
              </a:ext>
            </a:extLst>
          </p:cNvPr>
          <p:cNvSpPr>
            <a:spLocks noGrp="1"/>
          </p:cNvSpPr>
          <p:nvPr>
            <p:ph type="title" idx="4294967295"/>
          </p:nvPr>
        </p:nvSpPr>
        <p:spPr>
          <a:xfrm>
            <a:off x="228666" y="227013"/>
            <a:ext cx="8572500" cy="714375"/>
          </a:xfrm>
        </p:spPr>
        <p:txBody>
          <a:bodyPr/>
          <a:lstStyle/>
          <a:p>
            <a:r>
              <a:rPr lang="en-US" sz="2249" dirty="0">
                <a:latin typeface="IBM Plex Sans"/>
              </a:rPr>
              <a:t>Investment</a:t>
            </a:r>
            <a:r>
              <a:rPr lang="en-US" dirty="0"/>
              <a:t> </a:t>
            </a:r>
            <a:r>
              <a:rPr lang="en-US" sz="2249" dirty="0">
                <a:latin typeface="IBM Plex Sans"/>
              </a:rPr>
              <a:t>in EAM Capabilities – 2H 2020 deliverables</a:t>
            </a:r>
          </a:p>
        </p:txBody>
      </p:sp>
      <p:sp>
        <p:nvSpPr>
          <p:cNvPr id="13" name="Footer Placeholder 3">
            <a:extLst>
              <a:ext uri="{FF2B5EF4-FFF2-40B4-BE49-F238E27FC236}">
                <a16:creationId xmlns:a16="http://schemas.microsoft.com/office/drawing/2014/main" id="{828E97C2-389F-4B1E-B8FC-51CAE5F20EAD}"/>
              </a:ext>
            </a:extLst>
          </p:cNvPr>
          <p:cNvSpPr txBox="1">
            <a:spLocks/>
          </p:cNvSpPr>
          <p:nvPr/>
        </p:nvSpPr>
        <p:spPr>
          <a:xfrm>
            <a:off x="228666" y="4787900"/>
            <a:ext cx="4114735" cy="166687"/>
          </a:xfrm>
          <a:prstGeom prst="rect">
            <a:avLst/>
          </a:prstGeom>
        </p:spPr>
        <p:txBody>
          <a:bodyPr vert="horz" lIns="0" tIns="0" rIns="0" bIns="0" rtlCol="0" anchor="ctr"/>
          <a:lstStyle>
            <a:defPPr>
              <a:defRPr lang="en-US"/>
            </a:defPPr>
            <a:lvl1pPr marL="0" algn="r" defTabSz="685983" rtl="0" eaLnBrk="1" latinLnBrk="0" hangingPunct="1">
              <a:defRPr sz="600" kern="1200">
                <a:solidFill>
                  <a:schemeClr val="bg2"/>
                </a:solidFill>
                <a:latin typeface="IBM Plex Sans" panose="020B0503050203000203" pitchFamily="34" charset="0"/>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pt-BR" sz="600" b="0" i="0" u="none" strike="noStrike" kern="1200" cap="none" spc="0" normalizeH="0" baseline="0" noProof="0" dirty="0">
                <a:ln>
                  <a:noFill/>
                </a:ln>
                <a:solidFill>
                  <a:srgbClr val="000E5E"/>
                </a:solidFill>
                <a:effectLst/>
                <a:uLnTx/>
                <a:uFillTx/>
                <a:latin typeface="IBM Plex Sans" panose="020B0503050203000203" pitchFamily="34" charset="0"/>
                <a:ea typeface="+mn-ea"/>
                <a:cs typeface="+mn-cs"/>
              </a:rPr>
              <a:t>IBM Maximo / © 2020 IBM Corporation</a:t>
            </a:r>
            <a:endParaRPr kumimoji="0" lang="en-US" sz="600" b="0" i="0" u="none" strike="noStrike" kern="1200" cap="none" spc="0" normalizeH="0" baseline="0" noProof="0" dirty="0">
              <a:ln>
                <a:noFill/>
              </a:ln>
              <a:solidFill>
                <a:srgbClr val="000E5E"/>
              </a:solidFill>
              <a:effectLst/>
              <a:uLnTx/>
              <a:uFillTx/>
              <a:latin typeface="IBM Plex Sans" panose="020B0503050203000203" pitchFamily="34" charset="0"/>
              <a:ea typeface="+mn-ea"/>
              <a:cs typeface="+mn-cs"/>
            </a:endParaRPr>
          </a:p>
        </p:txBody>
      </p:sp>
      <p:sp>
        <p:nvSpPr>
          <p:cNvPr id="9" name="Footer Placeholder 2">
            <a:extLst>
              <a:ext uri="{FF2B5EF4-FFF2-40B4-BE49-F238E27FC236}">
                <a16:creationId xmlns:a16="http://schemas.microsoft.com/office/drawing/2014/main" id="{12B8F6CE-F4C2-4FF5-A2F5-6EDF3E31B109}"/>
              </a:ext>
            </a:extLst>
          </p:cNvPr>
          <p:cNvSpPr txBox="1">
            <a:spLocks/>
          </p:cNvSpPr>
          <p:nvPr/>
        </p:nvSpPr>
        <p:spPr>
          <a:xfrm>
            <a:off x="228600" y="4826480"/>
            <a:ext cx="6400800" cy="137160"/>
          </a:xfrm>
          <a:prstGeom prst="rect">
            <a:avLst/>
          </a:prstGeom>
        </p:spPr>
        <p:txBody>
          <a:bodyPr vert="horz" lIns="0" tIns="0" rIns="0" bIns="0" rtlCol="0" anchor="ctr"/>
          <a:lstStyle>
            <a:defPPr>
              <a:defRPr lang="en-US"/>
            </a:defPPr>
            <a:lvl1pPr marL="0" algn="r" defTabSz="685800" rtl="0" eaLnBrk="1" latinLnBrk="0" hangingPunct="1">
              <a:defRPr sz="600" kern="1200" baseline="0">
                <a:solidFill>
                  <a:schemeClr val="bg2"/>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pt-BR" sz="600" b="0" i="0" u="none" strike="noStrike" kern="1200" cap="none" spc="0" normalizeH="0" baseline="0" noProof="0" dirty="0">
                <a:ln>
                  <a:noFill/>
                </a:ln>
                <a:solidFill>
                  <a:srgbClr val="FFFFFF">
                    <a:lumMod val="95000"/>
                  </a:srgbClr>
                </a:solidFill>
                <a:effectLst/>
                <a:uLnTx/>
                <a:uFillTx/>
                <a:latin typeface="IBM Plex Sans"/>
                <a:cs typeface="Arial" charset="0"/>
              </a:rPr>
              <a:t>IBM Maximo / © 2020 IBM Corporation</a:t>
            </a:r>
            <a:endParaRPr kumimoji="0" lang="en-US" sz="600" b="0" i="0" u="none" strike="noStrike" kern="1200" cap="none" spc="0" normalizeH="0" baseline="0" noProof="0" dirty="0">
              <a:ln>
                <a:noFill/>
              </a:ln>
              <a:solidFill>
                <a:srgbClr val="FFFFFF">
                  <a:lumMod val="95000"/>
                </a:srgbClr>
              </a:solidFill>
              <a:effectLst/>
              <a:uLnTx/>
              <a:uFillTx/>
              <a:latin typeface="IBM Plex Sans"/>
              <a:cs typeface="Arial" charset="0"/>
            </a:endParaRPr>
          </a:p>
        </p:txBody>
      </p:sp>
    </p:spTree>
    <p:extLst>
      <p:ext uri="{BB962C8B-B14F-4D97-AF65-F5344CB8AC3E}">
        <p14:creationId xmlns:p14="http://schemas.microsoft.com/office/powerpoint/2010/main" val="16224942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B354258-6411-C541-8675-111B2B0A04B5}"/>
              </a:ext>
            </a:extLst>
          </p:cNvPr>
          <p:cNvSpPr>
            <a:spLocks noChangeArrowheads="1"/>
          </p:cNvSpPr>
          <p:nvPr/>
        </p:nvSpPr>
        <p:spPr bwMode="auto">
          <a:xfrm>
            <a:off x="5387248" y="0"/>
            <a:ext cx="3756752" cy="5143500"/>
          </a:xfrm>
          <a:prstGeom prst="rect">
            <a:avLst/>
          </a:prstGeom>
          <a:solidFill>
            <a:schemeClr val="accent2"/>
          </a:solidFill>
          <a:ln>
            <a:noFill/>
          </a:ln>
        </p:spPr>
        <p:txBody>
          <a:bodyPr lIns="0" tIns="0" rIns="0" bIns="0" anchor="ctr"/>
          <a:lstStyle/>
          <a:p>
            <a:pPr algn="ctr" defTabSz="457189">
              <a:defRPr/>
            </a:pPr>
            <a:endParaRPr lang="en-US" sz="1500">
              <a:solidFill>
                <a:srgbClr val="5596E6">
                  <a:lumMod val="75000"/>
                </a:srgbClr>
              </a:solidFill>
              <a:latin typeface="IBM Plex Sans" charset="0"/>
              <a:ea typeface="IBM Plex Sans" charset="0"/>
              <a:cs typeface="IBM Plex Sans" charset="0"/>
            </a:endParaRPr>
          </a:p>
        </p:txBody>
      </p:sp>
      <p:sp>
        <p:nvSpPr>
          <p:cNvPr id="4" name="Title 3"/>
          <p:cNvSpPr>
            <a:spLocks noGrp="1"/>
          </p:cNvSpPr>
          <p:nvPr>
            <p:ph type="title"/>
          </p:nvPr>
        </p:nvSpPr>
        <p:spPr>
          <a:xfrm>
            <a:off x="228600" y="201168"/>
            <a:ext cx="5158648" cy="381000"/>
          </a:xfrm>
        </p:spPr>
        <p:txBody>
          <a:bodyPr/>
          <a:lstStyle/>
          <a:p>
            <a:r>
              <a:rPr lang="en-US" dirty="0"/>
              <a:t>Inspections </a:t>
            </a:r>
            <a:r>
              <a:rPr lang="mr-IN" dirty="0"/>
              <a:t>–</a:t>
            </a:r>
            <a:r>
              <a:rPr lang="en-US" dirty="0"/>
              <a:t> Conduct an Inspection</a:t>
            </a:r>
          </a:p>
        </p:txBody>
      </p:sp>
      <p:sp>
        <p:nvSpPr>
          <p:cNvPr id="11" name="Content Placeholder 1">
            <a:extLst>
              <a:ext uri="{FF2B5EF4-FFF2-40B4-BE49-F238E27FC236}">
                <a16:creationId xmlns:a16="http://schemas.microsoft.com/office/drawing/2014/main" id="{774ED5A6-14AD-4542-BABD-F70D2914D555}"/>
              </a:ext>
            </a:extLst>
          </p:cNvPr>
          <p:cNvSpPr>
            <a:spLocks noGrp="1"/>
          </p:cNvSpPr>
          <p:nvPr>
            <p:ph idx="4294967295"/>
          </p:nvPr>
        </p:nvSpPr>
        <p:spPr>
          <a:xfrm>
            <a:off x="1941076" y="4522563"/>
            <a:ext cx="3205163" cy="442912"/>
          </a:xfrm>
          <a:noFill/>
        </p:spPr>
        <p:txBody>
          <a:bodyPr>
            <a:noAutofit/>
          </a:bodyPr>
          <a:lstStyle/>
          <a:p>
            <a:pPr algn="ctr"/>
            <a:r>
              <a:rPr lang="en-CA" sz="1100">
                <a:latin typeface="IBM Plex Sans" charset="0"/>
                <a:ea typeface="IBM Plex Sans" charset="0"/>
                <a:cs typeface="IBM Plex Sans" charset="0"/>
              </a:rPr>
              <a:t>Leverages Watson services to conduct a hands free inspection by just using voice responses.</a:t>
            </a:r>
          </a:p>
        </p:txBody>
      </p:sp>
      <p:sp>
        <p:nvSpPr>
          <p:cNvPr id="7" name="Rectangle 6"/>
          <p:cNvSpPr/>
          <p:nvPr/>
        </p:nvSpPr>
        <p:spPr>
          <a:xfrm>
            <a:off x="5387251" y="303943"/>
            <a:ext cx="3722569" cy="4401205"/>
          </a:xfrm>
          <a:prstGeom prst="rect">
            <a:avLst/>
          </a:prstGeom>
        </p:spPr>
        <p:txBody>
          <a:bodyPr wrap="square">
            <a:spAutoFit/>
          </a:bodyPr>
          <a:lstStyle/>
          <a:p>
            <a:pPr marL="184145" indent="-184145" defTabSz="457189">
              <a:buClr>
                <a:srgbClr val="FEFFFB"/>
              </a:buClr>
              <a:buFont typeface="Arial" panose="020B0604020202020204" pitchFamily="34" charset="0"/>
              <a:buChar char="•"/>
              <a:defRPr/>
            </a:pPr>
            <a:r>
              <a:rPr lang="en-CA" sz="1400" dirty="0">
                <a:solidFill>
                  <a:srgbClr val="FEFFFB"/>
                </a:solidFill>
                <a:latin typeface="IBM Plex Sans" charset="0"/>
                <a:ea typeface="IBM Plex Sans" charset="0"/>
                <a:cs typeface="IBM Plex Sans" charset="0"/>
              </a:rPr>
              <a:t>Report results in a connected mobile device</a:t>
            </a:r>
          </a:p>
          <a:p>
            <a:pPr marL="184145" indent="-184145" defTabSz="457189">
              <a:buClr>
                <a:srgbClr val="FEFFFB"/>
              </a:buClr>
              <a:buFont typeface="Arial" panose="020B0604020202020204" pitchFamily="34" charset="0"/>
              <a:buChar char="•"/>
              <a:defRPr/>
            </a:pPr>
            <a:endParaRPr lang="en-CA" sz="1400" dirty="0">
              <a:solidFill>
                <a:srgbClr val="FEFFFB"/>
              </a:solidFill>
              <a:latin typeface="IBM Plex Sans" charset="0"/>
              <a:ea typeface="IBM Plex Sans" charset="0"/>
              <a:cs typeface="IBM Plex Sans" charset="0"/>
            </a:endParaRPr>
          </a:p>
          <a:p>
            <a:pPr marL="184145" indent="-184145" defTabSz="457189">
              <a:buClr>
                <a:srgbClr val="FEFFFB"/>
              </a:buClr>
              <a:buFont typeface="Arial" panose="020B0604020202020204" pitchFamily="34" charset="0"/>
              <a:buChar char="•"/>
              <a:defRPr/>
            </a:pPr>
            <a:r>
              <a:rPr lang="en-CA" sz="1400" dirty="0">
                <a:solidFill>
                  <a:srgbClr val="FEFFFB"/>
                </a:solidFill>
                <a:latin typeface="IBM Plex Sans" charset="0"/>
                <a:ea typeface="IBM Plex Sans" charset="0"/>
                <a:cs typeface="IBM Plex Sans" charset="0"/>
              </a:rPr>
              <a:t>Inspection statuses are managed automatically and differentiate pending, in progress and completed results</a:t>
            </a:r>
          </a:p>
          <a:p>
            <a:pPr marL="184145" indent="-184145" defTabSz="457189">
              <a:buClr>
                <a:srgbClr val="FEFFFB"/>
              </a:buClr>
              <a:buFont typeface="Arial" panose="020B0604020202020204" pitchFamily="34" charset="0"/>
              <a:buChar char="•"/>
              <a:defRPr/>
            </a:pPr>
            <a:endParaRPr lang="en-CA" sz="1400" dirty="0">
              <a:solidFill>
                <a:srgbClr val="FEFFFB"/>
              </a:solidFill>
              <a:latin typeface="IBM Plex Sans" charset="0"/>
              <a:ea typeface="IBM Plex Sans" charset="0"/>
              <a:cs typeface="IBM Plex Sans" charset="0"/>
            </a:endParaRPr>
          </a:p>
          <a:p>
            <a:pPr marL="184145" indent="-184145" defTabSz="457189">
              <a:buClr>
                <a:srgbClr val="FEFFFB"/>
              </a:buClr>
              <a:buFont typeface="Arial" panose="020B0604020202020204" pitchFamily="34" charset="0"/>
              <a:buChar char="•"/>
              <a:defRPr/>
            </a:pPr>
            <a:r>
              <a:rPr lang="en-CA" sz="1400" dirty="0">
                <a:solidFill>
                  <a:srgbClr val="FEFFFB"/>
                </a:solidFill>
                <a:latin typeface="IBM Plex Sans" charset="0"/>
                <a:ea typeface="IBM Plex Sans" charset="0"/>
                <a:cs typeface="IBM Plex Sans" charset="0"/>
              </a:rPr>
              <a:t>Easy and intuitive navigation to report and visualize single or multiple inspection results</a:t>
            </a:r>
          </a:p>
          <a:p>
            <a:pPr marL="184145" indent="-184145" defTabSz="457189">
              <a:buClr>
                <a:srgbClr val="FEFFFB"/>
              </a:buClr>
              <a:buFont typeface="Arial" panose="020B0604020202020204" pitchFamily="34" charset="0"/>
              <a:buChar char="•"/>
              <a:defRPr/>
            </a:pPr>
            <a:endParaRPr lang="en-CA" sz="1400" dirty="0">
              <a:solidFill>
                <a:srgbClr val="FEFFFB"/>
              </a:solidFill>
              <a:latin typeface="IBM Plex Sans" charset="0"/>
              <a:ea typeface="IBM Plex Sans" charset="0"/>
              <a:cs typeface="IBM Plex Sans" charset="0"/>
            </a:endParaRPr>
          </a:p>
          <a:p>
            <a:pPr marL="184145" indent="-184145" defTabSz="457189">
              <a:buClr>
                <a:srgbClr val="FEFFFB"/>
              </a:buClr>
              <a:buFont typeface="Arial" panose="020B0604020202020204" pitchFamily="34" charset="0"/>
              <a:buChar char="•"/>
              <a:defRPr/>
            </a:pPr>
            <a:r>
              <a:rPr lang="en-CA" sz="1400" dirty="0">
                <a:solidFill>
                  <a:srgbClr val="FEFFFB"/>
                </a:solidFill>
                <a:latin typeface="IBM Plex Sans" charset="0"/>
                <a:ea typeface="IBM Plex Sans" charset="0"/>
                <a:cs typeface="IBM Plex Sans" charset="0"/>
              </a:rPr>
              <a:t>Search and evaluate individual completed inspection results</a:t>
            </a:r>
          </a:p>
          <a:p>
            <a:pPr marL="184145" indent="-184145" defTabSz="457189">
              <a:buClr>
                <a:srgbClr val="FEFFFB"/>
              </a:buClr>
              <a:buFont typeface="Arial" panose="020B0604020202020204" pitchFamily="34" charset="0"/>
              <a:buChar char="•"/>
              <a:defRPr/>
            </a:pPr>
            <a:endParaRPr lang="en-CA" sz="1400" dirty="0">
              <a:solidFill>
                <a:srgbClr val="FEFFFB"/>
              </a:solidFill>
              <a:latin typeface="IBM Plex Sans" charset="0"/>
              <a:ea typeface="IBM Plex Sans" charset="0"/>
              <a:cs typeface="IBM Plex Sans" charset="0"/>
            </a:endParaRPr>
          </a:p>
          <a:p>
            <a:pPr marL="184145" indent="-184145" defTabSz="457189">
              <a:buClr>
                <a:srgbClr val="FEFFFB"/>
              </a:buClr>
              <a:buFont typeface="Arial" panose="020B0604020202020204" pitchFamily="34" charset="0"/>
              <a:buChar char="•"/>
              <a:defRPr/>
            </a:pPr>
            <a:r>
              <a:rPr lang="en-CA" sz="1400" dirty="0">
                <a:solidFill>
                  <a:srgbClr val="FEFFFB"/>
                </a:solidFill>
                <a:latin typeface="IBM Plex Sans" charset="0"/>
                <a:ea typeface="IBM Plex Sans" charset="0"/>
                <a:cs typeface="IBM Plex Sans" charset="0"/>
              </a:rPr>
              <a:t>Associate results to Assets and Locations, WOs and tasks</a:t>
            </a:r>
          </a:p>
          <a:p>
            <a:pPr marL="184145" indent="-184145" defTabSz="457189">
              <a:buClr>
                <a:srgbClr val="FEFFFB"/>
              </a:buClr>
              <a:buFont typeface="Arial" panose="020B0604020202020204" pitchFamily="34" charset="0"/>
              <a:buChar char="•"/>
              <a:defRPr/>
            </a:pPr>
            <a:endParaRPr lang="en-CA" sz="1400" dirty="0">
              <a:solidFill>
                <a:srgbClr val="FEFFFB"/>
              </a:solidFill>
              <a:latin typeface="IBM Plex Sans" charset="0"/>
              <a:ea typeface="IBM Plex Sans" charset="0"/>
              <a:cs typeface="IBM Plex Sans" charset="0"/>
            </a:endParaRPr>
          </a:p>
          <a:p>
            <a:pPr marL="184145" indent="-184145" defTabSz="457189">
              <a:buClr>
                <a:srgbClr val="FEFFFB"/>
              </a:buClr>
              <a:buFont typeface="Arial" panose="020B0604020202020204" pitchFamily="34" charset="0"/>
              <a:buChar char="•"/>
              <a:defRPr/>
            </a:pPr>
            <a:r>
              <a:rPr lang="en-CA" sz="1400" dirty="0">
                <a:solidFill>
                  <a:srgbClr val="FEFFFB"/>
                </a:solidFill>
                <a:latin typeface="IBM Plex Sans" charset="0"/>
                <a:ea typeface="IBM Plex Sans" charset="0"/>
                <a:cs typeface="IBM Plex Sans" charset="0"/>
              </a:rPr>
              <a:t>Historical Inspection results are presented in both Assets and Location applications</a:t>
            </a:r>
          </a:p>
        </p:txBody>
      </p:sp>
      <p:pic>
        <p:nvPicPr>
          <p:cNvPr id="10" name="Picture 9">
            <a:extLst>
              <a:ext uri="{FF2B5EF4-FFF2-40B4-BE49-F238E27FC236}">
                <a16:creationId xmlns:a16="http://schemas.microsoft.com/office/drawing/2014/main" id="{E7F865DB-9935-42DE-8A11-BD48375D379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5236" y="802604"/>
            <a:ext cx="4971001" cy="3538292"/>
          </a:xfrm>
          <a:prstGeom prst="rect">
            <a:avLst/>
          </a:prstGeom>
          <a:ln>
            <a:solidFill>
              <a:schemeClr val="bg2"/>
            </a:solidFill>
          </a:ln>
        </p:spPr>
      </p:pic>
      <p:pic>
        <p:nvPicPr>
          <p:cNvPr id="9" name="Picture 8">
            <a:extLst>
              <a:ext uri="{FF2B5EF4-FFF2-40B4-BE49-F238E27FC236}">
                <a16:creationId xmlns:a16="http://schemas.microsoft.com/office/drawing/2014/main" id="{A962FA24-4E11-46BC-8CF6-579083FBF91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402588" y="3927686"/>
            <a:ext cx="529347" cy="529347"/>
          </a:xfrm>
          <a:prstGeom prst="rect">
            <a:avLst/>
          </a:prstGeom>
        </p:spPr>
      </p:pic>
      <p:sp>
        <p:nvSpPr>
          <p:cNvPr id="13" name="Slide Number Placeholder 1">
            <a:extLst>
              <a:ext uri="{FF2B5EF4-FFF2-40B4-BE49-F238E27FC236}">
                <a16:creationId xmlns:a16="http://schemas.microsoft.com/office/drawing/2014/main" id="{8A500412-6BD9-4437-A6DD-A87898F965A9}"/>
              </a:ext>
            </a:extLst>
          </p:cNvPr>
          <p:cNvSpPr txBox="1">
            <a:spLocks/>
          </p:cNvSpPr>
          <p:nvPr/>
        </p:nvSpPr>
        <p:spPr>
          <a:xfrm>
            <a:off x="8769246" y="4912755"/>
            <a:ext cx="323807" cy="137160"/>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457189">
              <a:defRPr/>
            </a:pPr>
            <a:fld id="{FAE4B3C6-245C-644B-9074-60488D830437}" type="slidenum">
              <a:rPr lang="en-US" sz="600">
                <a:solidFill>
                  <a:srgbClr val="000000"/>
                </a:solidFill>
                <a:latin typeface="IBM Plex Sans Regular" charset="0"/>
              </a:rPr>
              <a:pPr defTabSz="457189">
                <a:defRPr/>
              </a:pPr>
              <a:t>30</a:t>
            </a:fld>
            <a:endParaRPr lang="en-US" sz="600" dirty="0">
              <a:solidFill>
                <a:srgbClr val="000000"/>
              </a:solidFill>
              <a:latin typeface="IBM Plex Sans Regular" charset="0"/>
            </a:endParaRPr>
          </a:p>
        </p:txBody>
      </p:sp>
      <p:sp>
        <p:nvSpPr>
          <p:cNvPr id="14" name="Footer Placeholder 9">
            <a:extLst>
              <a:ext uri="{FF2B5EF4-FFF2-40B4-BE49-F238E27FC236}">
                <a16:creationId xmlns:a16="http://schemas.microsoft.com/office/drawing/2014/main" id="{DDE2BCB4-1EB1-4B0A-BB43-503E221E025B}"/>
              </a:ext>
            </a:extLst>
          </p:cNvPr>
          <p:cNvSpPr>
            <a:spLocks noGrp="1"/>
          </p:cNvSpPr>
          <p:nvPr>
            <p:ph type="ftr" sz="quarter" idx="3"/>
          </p:nvPr>
        </p:nvSpPr>
        <p:spPr>
          <a:xfrm>
            <a:off x="228600" y="4826480"/>
            <a:ext cx="6400800" cy="137160"/>
          </a:xfrm>
          <a:prstGeom prst="rect">
            <a:avLst/>
          </a:prstGeom>
        </p:spPr>
        <p:txBody>
          <a:bodyPr vert="horz" lIns="0" tIns="0" rIns="0" bIns="0" rtlCol="0" anchor="ctr"/>
          <a:lstStyle>
            <a:defPPr>
              <a:defRPr lang="en-US"/>
            </a:defPPr>
            <a:lvl1pPr marL="0" algn="l"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defRPr/>
            </a:pPr>
            <a:r>
              <a:rPr lang="de-DE"/>
              <a:t>IBM Watson IoT / © 2020 IBM Corporation</a:t>
            </a:r>
            <a:endParaRPr lang="en-US" dirty="0">
              <a:solidFill>
                <a:srgbClr val="000000"/>
              </a:solidFill>
              <a:latin typeface="IBM Plex Sans"/>
            </a:endParaRPr>
          </a:p>
        </p:txBody>
      </p:sp>
    </p:spTree>
    <p:extLst>
      <p:ext uri="{BB962C8B-B14F-4D97-AF65-F5344CB8AC3E}">
        <p14:creationId xmlns:p14="http://schemas.microsoft.com/office/powerpoint/2010/main" val="331218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D0C4797-41E1-D046-A873-539B5B23CBE3}"/>
              </a:ext>
            </a:extLst>
          </p:cNvPr>
          <p:cNvSpPr/>
          <p:nvPr/>
        </p:nvSpPr>
        <p:spPr>
          <a:xfrm>
            <a:off x="4659400" y="1110345"/>
            <a:ext cx="4104000" cy="3350237"/>
          </a:xfrm>
          <a:prstGeom prst="rect">
            <a:avLst/>
          </a:prstGeom>
          <a:solidFill>
            <a:schemeClr val="bg2">
              <a:lumMod val="95000"/>
            </a:schemeClr>
          </a:solidFill>
          <a:ln>
            <a:solidFill>
              <a:schemeClr val="tx2">
                <a:lumMod val="75000"/>
              </a:schemeClr>
            </a:solidFill>
          </a:ln>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2" name="Rectangle 1">
            <a:extLst>
              <a:ext uri="{FF2B5EF4-FFF2-40B4-BE49-F238E27FC236}">
                <a16:creationId xmlns:a16="http://schemas.microsoft.com/office/drawing/2014/main" id="{22E1C71E-ED42-2947-B8D6-9FBD47788B07}"/>
              </a:ext>
            </a:extLst>
          </p:cNvPr>
          <p:cNvSpPr/>
          <p:nvPr/>
        </p:nvSpPr>
        <p:spPr>
          <a:xfrm>
            <a:off x="279569" y="1119917"/>
            <a:ext cx="4104000" cy="3350237"/>
          </a:xfrm>
          <a:prstGeom prst="rect">
            <a:avLst/>
          </a:prstGeom>
          <a:solidFill>
            <a:schemeClr val="bg2">
              <a:lumMod val="95000"/>
            </a:schemeClr>
          </a:solidFill>
          <a:ln>
            <a:solidFill>
              <a:schemeClr val="tx2">
                <a:lumMod val="75000"/>
              </a:schemeClr>
            </a:solidFill>
          </a:ln>
        </p:spPr>
        <p:txBody>
          <a:bodyPr wrap="square" lIns="0" tIns="0" rIns="0" bIns="0" rtlCol="0" anchor="ctr">
            <a:noAutofit/>
          </a:bodyPr>
          <a:lstStyle/>
          <a:p>
            <a:pPr algn="ctr"/>
            <a:endParaRPr lang="en-US" sz="1200" err="1">
              <a:solidFill>
                <a:srgbClr val="FFFFFF"/>
              </a:solidFill>
              <a:latin typeface="Arial"/>
              <a:cs typeface="Arial"/>
            </a:endParaRPr>
          </a:p>
        </p:txBody>
      </p:sp>
      <p:sp>
        <p:nvSpPr>
          <p:cNvPr id="17" name="Title 1">
            <a:extLst>
              <a:ext uri="{FF2B5EF4-FFF2-40B4-BE49-F238E27FC236}">
                <a16:creationId xmlns:a16="http://schemas.microsoft.com/office/drawing/2014/main" id="{6D623B59-8B72-7A49-BD55-0B69D1371362}"/>
              </a:ext>
            </a:extLst>
          </p:cNvPr>
          <p:cNvSpPr txBox="1">
            <a:spLocks/>
          </p:cNvSpPr>
          <p:nvPr/>
        </p:nvSpPr>
        <p:spPr>
          <a:xfrm>
            <a:off x="2039747" y="1908287"/>
            <a:ext cx="2162141" cy="399143"/>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a:lstStyle>
          <a:p>
            <a:r>
              <a:rPr lang="en-US" sz="2000">
                <a:solidFill>
                  <a:srgbClr val="000000"/>
                </a:solidFill>
                <a:latin typeface="IBM Plex Sans"/>
              </a:rPr>
              <a:t>Easier set-up</a:t>
            </a:r>
          </a:p>
        </p:txBody>
      </p:sp>
      <p:sp>
        <p:nvSpPr>
          <p:cNvPr id="23" name="Title 1">
            <a:extLst>
              <a:ext uri="{FF2B5EF4-FFF2-40B4-BE49-F238E27FC236}">
                <a16:creationId xmlns:a16="http://schemas.microsoft.com/office/drawing/2014/main" id="{67FF7132-C0C4-2449-B60E-BE4D0E5AF820}"/>
              </a:ext>
            </a:extLst>
          </p:cNvPr>
          <p:cNvSpPr txBox="1">
            <a:spLocks/>
          </p:cNvSpPr>
          <p:nvPr/>
        </p:nvSpPr>
        <p:spPr>
          <a:xfrm>
            <a:off x="441105" y="2488146"/>
            <a:ext cx="3760781" cy="1590021"/>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a:lstStyle>
          <a:p>
            <a:pPr marL="342892" indent="-342892">
              <a:buFontTx/>
              <a:buChar char="-"/>
            </a:pPr>
            <a:r>
              <a:rPr lang="en-US" sz="2000">
                <a:solidFill>
                  <a:srgbClr val="000000"/>
                </a:solidFill>
                <a:latin typeface="IBM Plex Sans"/>
              </a:rPr>
              <a:t>Add storerooms</a:t>
            </a:r>
          </a:p>
          <a:p>
            <a:pPr marL="342892" indent="-342892">
              <a:buFontTx/>
              <a:buChar char="-"/>
            </a:pPr>
            <a:r>
              <a:rPr lang="en-US" sz="2000">
                <a:solidFill>
                  <a:srgbClr val="000000"/>
                </a:solidFill>
                <a:latin typeface="IBM Plex Sans"/>
              </a:rPr>
              <a:t>Set up item master</a:t>
            </a:r>
          </a:p>
          <a:p>
            <a:pPr marL="342892" indent="-342892">
              <a:buFontTx/>
              <a:buChar char="-"/>
            </a:pPr>
            <a:r>
              <a:rPr lang="en-US" sz="2000">
                <a:solidFill>
                  <a:srgbClr val="000000"/>
                </a:solidFill>
                <a:latin typeface="IBM Plex Sans"/>
              </a:rPr>
              <a:t>Define units of measure</a:t>
            </a:r>
          </a:p>
          <a:p>
            <a:pPr marL="342892" indent="-342892">
              <a:buFontTx/>
              <a:buChar char="-"/>
            </a:pPr>
            <a:r>
              <a:rPr lang="en-US" sz="2000">
                <a:solidFill>
                  <a:srgbClr val="000000"/>
                </a:solidFill>
                <a:latin typeface="IBM Plex Sans"/>
              </a:rPr>
              <a:t>Bins, lots, and rotating items</a:t>
            </a:r>
          </a:p>
          <a:p>
            <a:pPr marL="342892" indent="-342892">
              <a:buFontTx/>
              <a:buChar char="-"/>
            </a:pPr>
            <a:r>
              <a:rPr lang="en-US" sz="2000">
                <a:solidFill>
                  <a:srgbClr val="000000"/>
                </a:solidFill>
                <a:latin typeface="IBM Plex Sans"/>
              </a:rPr>
              <a:t>Create initial balances</a:t>
            </a:r>
          </a:p>
        </p:txBody>
      </p:sp>
      <p:sp>
        <p:nvSpPr>
          <p:cNvPr id="25" name="Title 1">
            <a:extLst>
              <a:ext uri="{FF2B5EF4-FFF2-40B4-BE49-F238E27FC236}">
                <a16:creationId xmlns:a16="http://schemas.microsoft.com/office/drawing/2014/main" id="{EAE9B6A5-7536-AC43-A38B-03B89531F007}"/>
              </a:ext>
            </a:extLst>
          </p:cNvPr>
          <p:cNvSpPr txBox="1">
            <a:spLocks/>
          </p:cNvSpPr>
          <p:nvPr/>
        </p:nvSpPr>
        <p:spPr>
          <a:xfrm>
            <a:off x="4976642" y="2515220"/>
            <a:ext cx="3670716" cy="1697553"/>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a:lstStyle>
          <a:p>
            <a:pPr marL="342892" indent="-342892">
              <a:buFontTx/>
              <a:buChar char="-"/>
            </a:pPr>
            <a:r>
              <a:rPr lang="en-US" sz="2000">
                <a:solidFill>
                  <a:srgbClr val="000000"/>
                </a:solidFill>
                <a:latin typeface="IBM Plex Sans"/>
              </a:rPr>
              <a:t>Update balances</a:t>
            </a:r>
          </a:p>
          <a:p>
            <a:pPr marL="342892" indent="-342892">
              <a:buFontTx/>
              <a:buChar char="-"/>
            </a:pPr>
            <a:r>
              <a:rPr lang="en-US" sz="2000">
                <a:solidFill>
                  <a:srgbClr val="000000"/>
                </a:solidFill>
                <a:latin typeface="IBM Plex Sans"/>
              </a:rPr>
              <a:t>Issues and transfers</a:t>
            </a:r>
          </a:p>
          <a:p>
            <a:pPr marL="342892" indent="-342892">
              <a:buFontTx/>
              <a:buChar char="-"/>
            </a:pPr>
            <a:r>
              <a:rPr lang="en-US" sz="2000">
                <a:solidFill>
                  <a:srgbClr val="000000"/>
                </a:solidFill>
                <a:latin typeface="IBM Plex Sans"/>
              </a:rPr>
              <a:t>Fulfill reservations</a:t>
            </a:r>
          </a:p>
          <a:p>
            <a:pPr marL="342892" indent="-342892">
              <a:buFontTx/>
              <a:buChar char="-"/>
            </a:pPr>
            <a:r>
              <a:rPr lang="en-US" sz="2000">
                <a:solidFill>
                  <a:srgbClr val="000000"/>
                </a:solidFill>
                <a:latin typeface="IBM Plex Sans"/>
              </a:rPr>
              <a:t>Return issued items</a:t>
            </a:r>
          </a:p>
          <a:p>
            <a:pPr marL="342892" indent="-342892">
              <a:buFontTx/>
              <a:buChar char="-"/>
            </a:pPr>
            <a:r>
              <a:rPr lang="en-US" sz="2000">
                <a:solidFill>
                  <a:srgbClr val="000000"/>
                </a:solidFill>
                <a:latin typeface="IBM Plex Sans"/>
              </a:rPr>
              <a:t>Physical counts</a:t>
            </a:r>
          </a:p>
        </p:txBody>
      </p:sp>
      <p:pic>
        <p:nvPicPr>
          <p:cNvPr id="26" name="Picture 25">
            <a:extLst>
              <a:ext uri="{FF2B5EF4-FFF2-40B4-BE49-F238E27FC236}">
                <a16:creationId xmlns:a16="http://schemas.microsoft.com/office/drawing/2014/main" id="{96B4A482-A1A2-7C43-B2E4-0413447E9C8A}"/>
              </a:ext>
            </a:extLst>
          </p:cNvPr>
          <p:cNvPicPr>
            <a:picLocks noChangeAspect="1"/>
          </p:cNvPicPr>
          <p:nvPr/>
        </p:nvPicPr>
        <p:blipFill>
          <a:blip r:embed="rId3"/>
          <a:stretch>
            <a:fillRect/>
          </a:stretch>
        </p:blipFill>
        <p:spPr>
          <a:xfrm>
            <a:off x="4976645" y="1424719"/>
            <a:ext cx="653425" cy="810247"/>
          </a:xfrm>
          <a:prstGeom prst="rect">
            <a:avLst/>
          </a:prstGeom>
        </p:spPr>
      </p:pic>
      <p:pic>
        <p:nvPicPr>
          <p:cNvPr id="27" name="Picture 26">
            <a:extLst>
              <a:ext uri="{FF2B5EF4-FFF2-40B4-BE49-F238E27FC236}">
                <a16:creationId xmlns:a16="http://schemas.microsoft.com/office/drawing/2014/main" id="{FFC35DF9-07B0-E54D-A948-3800A46BEF21}"/>
              </a:ext>
            </a:extLst>
          </p:cNvPr>
          <p:cNvPicPr>
            <a:picLocks noChangeAspect="1"/>
          </p:cNvPicPr>
          <p:nvPr/>
        </p:nvPicPr>
        <p:blipFill>
          <a:blip r:embed="rId4"/>
          <a:stretch>
            <a:fillRect/>
          </a:stretch>
        </p:blipFill>
        <p:spPr>
          <a:xfrm>
            <a:off x="544754" y="1501227"/>
            <a:ext cx="684967" cy="684967"/>
          </a:xfrm>
          <a:prstGeom prst="rect">
            <a:avLst/>
          </a:prstGeom>
        </p:spPr>
      </p:pic>
      <p:sp>
        <p:nvSpPr>
          <p:cNvPr id="28" name="Title 3">
            <a:extLst>
              <a:ext uri="{FF2B5EF4-FFF2-40B4-BE49-F238E27FC236}">
                <a16:creationId xmlns:a16="http://schemas.microsoft.com/office/drawing/2014/main" id="{CDD2F58A-A33F-6F41-8F4D-3572411CA806}"/>
              </a:ext>
            </a:extLst>
          </p:cNvPr>
          <p:cNvSpPr txBox="1">
            <a:spLocks/>
          </p:cNvSpPr>
          <p:nvPr/>
        </p:nvSpPr>
        <p:spPr>
          <a:xfrm>
            <a:off x="1377373" y="1726878"/>
            <a:ext cx="692197" cy="684966"/>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a:lstStyle>
          <a:p>
            <a:r>
              <a:rPr lang="en-US" sz="4200">
                <a:solidFill>
                  <a:srgbClr val="000000"/>
                </a:solidFill>
                <a:latin typeface="IBM Plex Sans"/>
                <a:ea typeface="IBM Plex Sans Light" charset="0"/>
                <a:cs typeface="IBM Plex Sans Light" charset="0"/>
              </a:rPr>
              <a:t> 1.</a:t>
            </a:r>
          </a:p>
        </p:txBody>
      </p:sp>
      <p:sp>
        <p:nvSpPr>
          <p:cNvPr id="29" name="Title 3">
            <a:extLst>
              <a:ext uri="{FF2B5EF4-FFF2-40B4-BE49-F238E27FC236}">
                <a16:creationId xmlns:a16="http://schemas.microsoft.com/office/drawing/2014/main" id="{237C29CE-DE2A-6C4F-A87A-28025DF69E73}"/>
              </a:ext>
            </a:extLst>
          </p:cNvPr>
          <p:cNvSpPr txBox="1">
            <a:spLocks/>
          </p:cNvSpPr>
          <p:nvPr/>
        </p:nvSpPr>
        <p:spPr>
          <a:xfrm>
            <a:off x="5654062" y="1704623"/>
            <a:ext cx="629270" cy="684966"/>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a:lstStyle>
          <a:p>
            <a:r>
              <a:rPr lang="en-US" sz="4200">
                <a:solidFill>
                  <a:srgbClr val="000000"/>
                </a:solidFill>
                <a:latin typeface="IBM Plex Sans"/>
                <a:ea typeface="IBM Plex Sans Light" charset="0"/>
                <a:cs typeface="IBM Plex Sans Light" charset="0"/>
              </a:rPr>
              <a:t> 2.</a:t>
            </a:r>
          </a:p>
        </p:txBody>
      </p:sp>
      <p:sp>
        <p:nvSpPr>
          <p:cNvPr id="30" name="Title 1">
            <a:extLst>
              <a:ext uri="{FF2B5EF4-FFF2-40B4-BE49-F238E27FC236}">
                <a16:creationId xmlns:a16="http://schemas.microsoft.com/office/drawing/2014/main" id="{0D58B3E1-8EAC-1842-BC5E-81B6D2190ACB}"/>
              </a:ext>
            </a:extLst>
          </p:cNvPr>
          <p:cNvSpPr txBox="1">
            <a:spLocks/>
          </p:cNvSpPr>
          <p:nvPr/>
        </p:nvSpPr>
        <p:spPr>
          <a:xfrm>
            <a:off x="6277372" y="1908287"/>
            <a:ext cx="2369986" cy="399143"/>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a:lstStyle>
          <a:p>
            <a:r>
              <a:rPr lang="en-US" sz="2000">
                <a:solidFill>
                  <a:srgbClr val="000000"/>
                </a:solidFill>
                <a:latin typeface="IBM Plex Sans"/>
              </a:rPr>
              <a:t>Faster transactions</a:t>
            </a:r>
          </a:p>
        </p:txBody>
      </p:sp>
      <p:sp>
        <p:nvSpPr>
          <p:cNvPr id="31" name="Title 1">
            <a:extLst>
              <a:ext uri="{FF2B5EF4-FFF2-40B4-BE49-F238E27FC236}">
                <a16:creationId xmlns:a16="http://schemas.microsoft.com/office/drawing/2014/main" id="{FDE250A5-8871-0E4F-A9A0-C645CB5B5966}"/>
              </a:ext>
            </a:extLst>
          </p:cNvPr>
          <p:cNvSpPr txBox="1">
            <a:spLocks/>
          </p:cNvSpPr>
          <p:nvPr/>
        </p:nvSpPr>
        <p:spPr>
          <a:xfrm>
            <a:off x="228600" y="242294"/>
            <a:ext cx="8540647" cy="381000"/>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000" kern="1200">
                <a:solidFill>
                  <a:schemeClr val="accent2"/>
                </a:solidFill>
                <a:latin typeface="+mj-lt"/>
                <a:ea typeface="Arial" charset="0"/>
                <a:cs typeface="Arial" charset="0"/>
              </a:defRPr>
            </a:lvl1pPr>
          </a:lstStyle>
          <a:p>
            <a:r>
              <a:rPr lang="en-US">
                <a:solidFill>
                  <a:srgbClr val="0064FF"/>
                </a:solidFill>
                <a:latin typeface="IBM Plex Sans"/>
              </a:rPr>
              <a:t>New in 7.6.1.1:  Manage Inventory Work Center</a:t>
            </a:r>
          </a:p>
        </p:txBody>
      </p:sp>
      <p:sp>
        <p:nvSpPr>
          <p:cNvPr id="15" name="Slide Number Placeholder 1">
            <a:extLst>
              <a:ext uri="{FF2B5EF4-FFF2-40B4-BE49-F238E27FC236}">
                <a16:creationId xmlns:a16="http://schemas.microsoft.com/office/drawing/2014/main" id="{6C39E3CC-F609-45BA-BDC9-E795C655DA4D}"/>
              </a:ext>
            </a:extLst>
          </p:cNvPr>
          <p:cNvSpPr txBox="1">
            <a:spLocks/>
          </p:cNvSpPr>
          <p:nvPr/>
        </p:nvSpPr>
        <p:spPr>
          <a:xfrm>
            <a:off x="8769246" y="4912755"/>
            <a:ext cx="323807" cy="137160"/>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457189">
              <a:defRPr/>
            </a:pPr>
            <a:fld id="{FAE4B3C6-245C-644B-9074-60488D830437}" type="slidenum">
              <a:rPr lang="en-US" sz="600">
                <a:solidFill>
                  <a:srgbClr val="000000"/>
                </a:solidFill>
                <a:latin typeface="IBM Plex Sans Regular" charset="0"/>
              </a:rPr>
              <a:pPr defTabSz="457189">
                <a:defRPr/>
              </a:pPr>
              <a:t>31</a:t>
            </a:fld>
            <a:endParaRPr lang="en-US" sz="600" dirty="0">
              <a:solidFill>
                <a:srgbClr val="000000"/>
              </a:solidFill>
              <a:latin typeface="IBM Plex Sans Regular" charset="0"/>
            </a:endParaRPr>
          </a:p>
        </p:txBody>
      </p:sp>
      <p:sp>
        <p:nvSpPr>
          <p:cNvPr id="16" name="Footer Placeholder 9">
            <a:extLst>
              <a:ext uri="{FF2B5EF4-FFF2-40B4-BE49-F238E27FC236}">
                <a16:creationId xmlns:a16="http://schemas.microsoft.com/office/drawing/2014/main" id="{36624834-22A8-45C7-A6B3-0905D5C2F555}"/>
              </a:ext>
            </a:extLst>
          </p:cNvPr>
          <p:cNvSpPr>
            <a:spLocks noGrp="1"/>
          </p:cNvSpPr>
          <p:nvPr>
            <p:ph type="ftr" sz="quarter" idx="3"/>
          </p:nvPr>
        </p:nvSpPr>
        <p:spPr>
          <a:xfrm>
            <a:off x="228600" y="4826480"/>
            <a:ext cx="6400800" cy="137160"/>
          </a:xfrm>
          <a:prstGeom prst="rect">
            <a:avLst/>
          </a:prstGeom>
        </p:spPr>
        <p:txBody>
          <a:bodyPr vert="horz" lIns="0" tIns="0" rIns="0" bIns="0" rtlCol="0" anchor="ctr"/>
          <a:lstStyle>
            <a:defPPr>
              <a:defRPr lang="en-US"/>
            </a:defPPr>
            <a:lvl1pPr marL="0" algn="l"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defRPr/>
            </a:pPr>
            <a:r>
              <a:rPr lang="de-DE"/>
              <a:t>IBM Watson IoT / © 2020 IBM Corporation</a:t>
            </a:r>
            <a:endParaRPr lang="en-US" dirty="0">
              <a:solidFill>
                <a:srgbClr val="000000"/>
              </a:solidFill>
              <a:latin typeface="IBM Plex Sans"/>
            </a:endParaRPr>
          </a:p>
        </p:txBody>
      </p:sp>
    </p:spTree>
    <p:extLst>
      <p:ext uri="{BB962C8B-B14F-4D97-AF65-F5344CB8AC3E}">
        <p14:creationId xmlns:p14="http://schemas.microsoft.com/office/powerpoint/2010/main" val="12950738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AFAC671-59F4-4C0A-9609-F0A09A6C4C78}"/>
              </a:ext>
            </a:extLst>
          </p:cNvPr>
          <p:cNvSpPr>
            <a:spLocks noGrp="1"/>
          </p:cNvSpPr>
          <p:nvPr>
            <p:ph type="title"/>
          </p:nvPr>
        </p:nvSpPr>
        <p:spPr>
          <a:xfrm>
            <a:off x="228600" y="173736"/>
            <a:ext cx="8468591" cy="914400"/>
          </a:xfrm>
        </p:spPr>
        <p:txBody>
          <a:bodyPr vert="horz" lIns="0" tIns="0" rIns="0" bIns="0" rtlCol="0" anchor="t" anchorCtr="0">
            <a:noAutofit/>
          </a:bodyPr>
          <a:lstStyle/>
          <a:p>
            <a:r>
              <a:rPr lang="en-US" sz="2000">
                <a:solidFill>
                  <a:schemeClr val="accent2"/>
                </a:solidFill>
              </a:rPr>
              <a:t>Manage Inventory – Perform actions in context</a:t>
            </a:r>
            <a:br>
              <a:rPr lang="en-US" sz="2000"/>
            </a:br>
            <a:endParaRPr lang="en-US" sz="2000"/>
          </a:p>
        </p:txBody>
      </p:sp>
      <p:pic>
        <p:nvPicPr>
          <p:cNvPr id="19" name="Picture 18">
            <a:extLst>
              <a:ext uri="{FF2B5EF4-FFF2-40B4-BE49-F238E27FC236}">
                <a16:creationId xmlns:a16="http://schemas.microsoft.com/office/drawing/2014/main" id="{60E7B4C1-4DBE-4229-BC83-9C451A4A3FC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74652" y="2907018"/>
            <a:ext cx="3848348" cy="2171143"/>
          </a:xfrm>
          <a:prstGeom prst="rect">
            <a:avLst/>
          </a:prstGeom>
          <a:ln>
            <a:solidFill>
              <a:schemeClr val="tx1"/>
            </a:solidFill>
          </a:ln>
        </p:spPr>
      </p:pic>
      <p:sp>
        <p:nvSpPr>
          <p:cNvPr id="10" name="TextBox 9">
            <a:extLst>
              <a:ext uri="{FF2B5EF4-FFF2-40B4-BE49-F238E27FC236}">
                <a16:creationId xmlns:a16="http://schemas.microsoft.com/office/drawing/2014/main" id="{A69B0275-0B7C-4638-9D53-653F9DC5068E}"/>
              </a:ext>
            </a:extLst>
          </p:cNvPr>
          <p:cNvSpPr txBox="1"/>
          <p:nvPr/>
        </p:nvSpPr>
        <p:spPr>
          <a:xfrm>
            <a:off x="2181541" y="4183804"/>
            <a:ext cx="1799772" cy="523220"/>
          </a:xfrm>
          <a:prstGeom prst="rect">
            <a:avLst/>
          </a:prstGeom>
          <a:noFill/>
          <a:ln w="19050">
            <a:solidFill>
              <a:schemeClr val="accent5">
                <a:lumMod val="60000"/>
                <a:lumOff val="40000"/>
              </a:schemeClr>
            </a:solidFill>
          </a:ln>
        </p:spPr>
        <p:txBody>
          <a:bodyPr wrap="square" rtlCol="0">
            <a:spAutoFit/>
          </a:bodyPr>
          <a:lstStyle/>
          <a:p>
            <a:pPr algn="ctr"/>
            <a:r>
              <a:rPr lang="en-US" sz="1400" dirty="0">
                <a:solidFill>
                  <a:srgbClr val="EAEAEA"/>
                </a:solidFill>
                <a:latin typeface="IBM Plex Sans"/>
              </a:rPr>
              <a:t>Add or edit units of measure in-context</a:t>
            </a:r>
          </a:p>
        </p:txBody>
      </p:sp>
      <p:pic>
        <p:nvPicPr>
          <p:cNvPr id="11" name="Picture 10">
            <a:extLst>
              <a:ext uri="{FF2B5EF4-FFF2-40B4-BE49-F238E27FC236}">
                <a16:creationId xmlns:a16="http://schemas.microsoft.com/office/drawing/2014/main" id="{CD181FA9-6353-4BC7-9359-816557FFFF7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38399" y="843051"/>
            <a:ext cx="3969657" cy="1869545"/>
          </a:xfrm>
          <a:prstGeom prst="rect">
            <a:avLst/>
          </a:prstGeom>
          <a:ln>
            <a:solidFill>
              <a:schemeClr val="tx1"/>
            </a:solidFill>
          </a:ln>
        </p:spPr>
      </p:pic>
      <p:pic>
        <p:nvPicPr>
          <p:cNvPr id="12" name="Picture 11">
            <a:extLst>
              <a:ext uri="{FF2B5EF4-FFF2-40B4-BE49-F238E27FC236}">
                <a16:creationId xmlns:a16="http://schemas.microsoft.com/office/drawing/2014/main" id="{835EB799-6760-4074-9491-8D21DF57A70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524474" y="1703753"/>
            <a:ext cx="1411472" cy="1173393"/>
          </a:xfrm>
          <a:prstGeom prst="rect">
            <a:avLst/>
          </a:prstGeom>
        </p:spPr>
      </p:pic>
      <p:sp>
        <p:nvSpPr>
          <p:cNvPr id="13" name="TextBox 12">
            <a:extLst>
              <a:ext uri="{FF2B5EF4-FFF2-40B4-BE49-F238E27FC236}">
                <a16:creationId xmlns:a16="http://schemas.microsoft.com/office/drawing/2014/main" id="{F25A2828-6544-40AD-B130-5A77107BD95D}"/>
              </a:ext>
            </a:extLst>
          </p:cNvPr>
          <p:cNvSpPr txBox="1"/>
          <p:nvPr/>
        </p:nvSpPr>
        <p:spPr>
          <a:xfrm>
            <a:off x="4502550" y="691434"/>
            <a:ext cx="4553350" cy="523220"/>
          </a:xfrm>
          <a:prstGeom prst="rect">
            <a:avLst/>
          </a:prstGeom>
          <a:noFill/>
          <a:ln w="19050">
            <a:solidFill>
              <a:schemeClr val="accent5">
                <a:lumMod val="60000"/>
                <a:lumOff val="40000"/>
              </a:schemeClr>
            </a:solidFill>
          </a:ln>
        </p:spPr>
        <p:txBody>
          <a:bodyPr wrap="square" rtlCol="0">
            <a:spAutoFit/>
          </a:bodyPr>
          <a:lstStyle>
            <a:defPPr>
              <a:defRPr lang="en-US"/>
            </a:defPPr>
            <a:lvl1pPr algn="ctr" defTabSz="457189">
              <a:defRPr sz="1400">
                <a:solidFill>
                  <a:srgbClr val="1E1E1E"/>
                </a:solidFill>
                <a:latin typeface="IBM Plex Sans" panose="020B0503050203000203" pitchFamily="34" charset="77"/>
              </a:defRPr>
            </a:lvl1pPr>
          </a:lstStyle>
          <a:p>
            <a:r>
              <a:rPr lang="en-US"/>
              <a:t>Create, View, Edit, Issue and Transfer directly from a row from Storeroom or Reservation</a:t>
            </a:r>
          </a:p>
        </p:txBody>
      </p:sp>
      <p:pic>
        <p:nvPicPr>
          <p:cNvPr id="15" name="Picture 14">
            <a:extLst>
              <a:ext uri="{FF2B5EF4-FFF2-40B4-BE49-F238E27FC236}">
                <a16:creationId xmlns:a16="http://schemas.microsoft.com/office/drawing/2014/main" id="{A50EABA0-82A9-4032-A766-C37017FE66D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87969" y="2907020"/>
            <a:ext cx="4681381" cy="2119917"/>
          </a:xfrm>
          <a:prstGeom prst="rect">
            <a:avLst/>
          </a:prstGeom>
          <a:ln>
            <a:solidFill>
              <a:schemeClr val="tx1"/>
            </a:solidFill>
          </a:ln>
        </p:spPr>
      </p:pic>
      <p:sp>
        <p:nvSpPr>
          <p:cNvPr id="18" name="TextBox 17">
            <a:extLst>
              <a:ext uri="{FF2B5EF4-FFF2-40B4-BE49-F238E27FC236}">
                <a16:creationId xmlns:a16="http://schemas.microsoft.com/office/drawing/2014/main" id="{8C150C96-2A56-4041-8C48-1751BEF1B30F}"/>
              </a:ext>
            </a:extLst>
          </p:cNvPr>
          <p:cNvSpPr txBox="1"/>
          <p:nvPr/>
        </p:nvSpPr>
        <p:spPr>
          <a:xfrm>
            <a:off x="7054458" y="4167980"/>
            <a:ext cx="1853047" cy="738664"/>
          </a:xfrm>
          <a:prstGeom prst="rect">
            <a:avLst/>
          </a:prstGeom>
          <a:solidFill>
            <a:schemeClr val="bg2"/>
          </a:solidFill>
          <a:ln w="19050">
            <a:solidFill>
              <a:schemeClr val="accent5">
                <a:lumMod val="60000"/>
                <a:lumOff val="40000"/>
              </a:schemeClr>
            </a:solidFill>
          </a:ln>
        </p:spPr>
        <p:txBody>
          <a:bodyPr wrap="square" rtlCol="0">
            <a:spAutoFit/>
          </a:bodyPr>
          <a:lstStyle/>
          <a:p>
            <a:pPr algn="ctr" defTabSz="457189">
              <a:defRPr/>
            </a:pPr>
            <a:r>
              <a:rPr lang="en-US" sz="1400" dirty="0">
                <a:solidFill>
                  <a:srgbClr val="1E1E1E"/>
                </a:solidFill>
                <a:latin typeface="IBM Plex Sans" panose="020B0503050203000203" pitchFamily="34" charset="77"/>
              </a:rPr>
              <a:t>Intuitive  Physical Count with Multi-column sorting</a:t>
            </a:r>
          </a:p>
        </p:txBody>
      </p:sp>
      <p:pic>
        <p:nvPicPr>
          <p:cNvPr id="21" name="Picture 20">
            <a:extLst>
              <a:ext uri="{FF2B5EF4-FFF2-40B4-BE49-F238E27FC236}">
                <a16:creationId xmlns:a16="http://schemas.microsoft.com/office/drawing/2014/main" id="{B8AC733D-DC64-40FA-B931-499B36399AE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578107" y="1377686"/>
            <a:ext cx="4396285" cy="1478106"/>
          </a:xfrm>
          <a:prstGeom prst="rect">
            <a:avLst/>
          </a:prstGeom>
          <a:ln>
            <a:solidFill>
              <a:schemeClr val="tx1"/>
            </a:solidFill>
          </a:ln>
        </p:spPr>
      </p:pic>
    </p:spTree>
    <p:extLst>
      <p:ext uri="{BB962C8B-B14F-4D97-AF65-F5344CB8AC3E}">
        <p14:creationId xmlns:p14="http://schemas.microsoft.com/office/powerpoint/2010/main" val="40509708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CE65DF0-6671-BB47-85AA-809DFFDB1F8C}"/>
              </a:ext>
            </a:extLst>
          </p:cNvPr>
          <p:cNvSpPr txBox="1">
            <a:spLocks/>
          </p:cNvSpPr>
          <p:nvPr/>
        </p:nvSpPr>
        <p:spPr>
          <a:xfrm>
            <a:off x="6116132" y="1210040"/>
            <a:ext cx="4858255" cy="317497"/>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endParaRPr lang="en-US" sz="2700">
              <a:solidFill>
                <a:srgbClr val="000000"/>
              </a:solidFill>
              <a:latin typeface="IBM Plex Sans"/>
            </a:endParaRPr>
          </a:p>
        </p:txBody>
      </p:sp>
      <p:sp>
        <p:nvSpPr>
          <p:cNvPr id="9" name="Title 8">
            <a:extLst>
              <a:ext uri="{FF2B5EF4-FFF2-40B4-BE49-F238E27FC236}">
                <a16:creationId xmlns:a16="http://schemas.microsoft.com/office/drawing/2014/main" id="{4D3AB7BD-BF8A-2A4D-9041-B4255A07610D}"/>
              </a:ext>
            </a:extLst>
          </p:cNvPr>
          <p:cNvSpPr txBox="1">
            <a:spLocks/>
          </p:cNvSpPr>
          <p:nvPr/>
        </p:nvSpPr>
        <p:spPr>
          <a:xfrm>
            <a:off x="3887237" y="905852"/>
            <a:ext cx="4187338" cy="1596405"/>
          </a:xfrm>
          <a:prstGeom prst="rect">
            <a:avLst/>
          </a:prstGeom>
        </p:spPr>
        <p:txBody>
          <a:bodyPr vert="horz" lIns="0" tIns="0" rIns="0" bIns="0" rtlCol="0" anchor="ctr" anchorCtr="0">
            <a:noAutofit/>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r>
              <a:rPr lang="en-US" sz="1800">
                <a:solidFill>
                  <a:srgbClr val="000000"/>
                </a:solidFill>
                <a:latin typeface="IBM Plex Sans"/>
              </a:rPr>
              <a:t>Item storerooms</a:t>
            </a:r>
          </a:p>
          <a:p>
            <a:endParaRPr lang="en-US" sz="1800">
              <a:solidFill>
                <a:srgbClr val="000000"/>
              </a:solidFill>
              <a:latin typeface="IBM Plex Sans"/>
            </a:endParaRPr>
          </a:p>
          <a:p>
            <a:pPr marL="182563" indent="-182563">
              <a:buFont typeface="System Font Regular"/>
              <a:buChar char="-"/>
            </a:pPr>
            <a:r>
              <a:rPr lang="en-US" sz="1400">
                <a:solidFill>
                  <a:srgbClr val="000000"/>
                </a:solidFill>
                <a:latin typeface="IBM Plex Sans"/>
              </a:rPr>
              <a:t>Balances for a single item across the org</a:t>
            </a:r>
          </a:p>
          <a:p>
            <a:pPr marL="182563" indent="-182563">
              <a:buFont typeface="System Font Regular"/>
              <a:buChar char="-"/>
            </a:pPr>
            <a:endParaRPr lang="en-US" sz="1400">
              <a:solidFill>
                <a:srgbClr val="000000"/>
              </a:solidFill>
              <a:latin typeface="IBM Plex Sans"/>
            </a:endParaRPr>
          </a:p>
          <a:p>
            <a:pPr marL="182563" indent="-182563">
              <a:buFont typeface="System Font Regular"/>
              <a:buChar char="-"/>
            </a:pPr>
            <a:r>
              <a:rPr lang="en-US" sz="1400">
                <a:solidFill>
                  <a:srgbClr val="000000"/>
                </a:solidFill>
                <a:latin typeface="IBM Plex Sans"/>
              </a:rPr>
              <a:t>Bins as child rows with balance roll-up</a:t>
            </a:r>
          </a:p>
          <a:p>
            <a:endParaRPr lang="en-US" sz="1600">
              <a:solidFill>
                <a:srgbClr val="000000"/>
              </a:solidFill>
              <a:latin typeface="IBM Plex Sans"/>
            </a:endParaRPr>
          </a:p>
        </p:txBody>
      </p:sp>
      <p:pic>
        <p:nvPicPr>
          <p:cNvPr id="12" name="Picture 11">
            <a:extLst>
              <a:ext uri="{FF2B5EF4-FFF2-40B4-BE49-F238E27FC236}">
                <a16:creationId xmlns:a16="http://schemas.microsoft.com/office/drawing/2014/main" id="{D61A0FDE-162B-9C41-A064-8FF073A4DE2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5474" y="716825"/>
            <a:ext cx="3801763" cy="2646113"/>
          </a:xfrm>
          <a:prstGeom prst="rect">
            <a:avLst/>
          </a:prstGeom>
        </p:spPr>
      </p:pic>
      <p:sp>
        <p:nvSpPr>
          <p:cNvPr id="5" name="Title 4">
            <a:extLst>
              <a:ext uri="{FF2B5EF4-FFF2-40B4-BE49-F238E27FC236}">
                <a16:creationId xmlns:a16="http://schemas.microsoft.com/office/drawing/2014/main" id="{AC26A276-3297-4960-940C-E7DB72ACAC41}"/>
              </a:ext>
            </a:extLst>
          </p:cNvPr>
          <p:cNvSpPr>
            <a:spLocks noGrp="1"/>
          </p:cNvSpPr>
          <p:nvPr>
            <p:ph type="title"/>
          </p:nvPr>
        </p:nvSpPr>
        <p:spPr>
          <a:xfrm>
            <a:off x="228600" y="173736"/>
            <a:ext cx="7677807" cy="914400"/>
          </a:xfrm>
        </p:spPr>
        <p:txBody>
          <a:bodyPr vert="horz" lIns="0" tIns="0" rIns="0" bIns="0" rtlCol="0" anchor="t" anchorCtr="0">
            <a:noAutofit/>
          </a:bodyPr>
          <a:lstStyle/>
          <a:p>
            <a:r>
              <a:rPr lang="en-US" sz="2000" dirty="0">
                <a:solidFill>
                  <a:schemeClr val="accent2"/>
                </a:solidFill>
              </a:rPr>
              <a:t>Manage Inventory: Improved summary information</a:t>
            </a:r>
            <a:br>
              <a:rPr lang="en-US" sz="2000" dirty="0">
                <a:solidFill>
                  <a:schemeClr val="accent2"/>
                </a:solidFill>
              </a:rPr>
            </a:br>
            <a:endParaRPr lang="en-US" sz="2000" dirty="0">
              <a:solidFill>
                <a:schemeClr val="accent2"/>
              </a:solidFill>
            </a:endParaRPr>
          </a:p>
        </p:txBody>
      </p:sp>
      <p:pic>
        <p:nvPicPr>
          <p:cNvPr id="10" name="Picture 9">
            <a:extLst>
              <a:ext uri="{FF2B5EF4-FFF2-40B4-BE49-F238E27FC236}">
                <a16:creationId xmlns:a16="http://schemas.microsoft.com/office/drawing/2014/main" id="{F71F5433-90E5-4672-A50C-957A4F0535C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79183" y="2509847"/>
            <a:ext cx="3801762" cy="2646113"/>
          </a:xfrm>
          <a:prstGeom prst="rect">
            <a:avLst/>
          </a:prstGeom>
        </p:spPr>
      </p:pic>
      <p:sp>
        <p:nvSpPr>
          <p:cNvPr id="11" name="Title 8">
            <a:extLst>
              <a:ext uri="{FF2B5EF4-FFF2-40B4-BE49-F238E27FC236}">
                <a16:creationId xmlns:a16="http://schemas.microsoft.com/office/drawing/2014/main" id="{C7CFFEE0-CCBC-4E18-9DD9-F80163EFDA9C}"/>
              </a:ext>
            </a:extLst>
          </p:cNvPr>
          <p:cNvSpPr txBox="1">
            <a:spLocks/>
          </p:cNvSpPr>
          <p:nvPr/>
        </p:nvSpPr>
        <p:spPr>
          <a:xfrm>
            <a:off x="6628278" y="2691282"/>
            <a:ext cx="2363329" cy="2167169"/>
          </a:xfrm>
          <a:prstGeom prst="rect">
            <a:avLst/>
          </a:prstGeom>
        </p:spPr>
        <p:txBody>
          <a:bodyPr vert="horz" lIns="0" tIns="0" rIns="0" bIns="0" rtlCol="0" anchor="ctr" anchorCtr="0">
            <a:noAutofit/>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r>
              <a:rPr lang="en-US" sz="1800">
                <a:solidFill>
                  <a:srgbClr val="000000"/>
                </a:solidFill>
                <a:latin typeface="IBM Plex Sans"/>
              </a:rPr>
              <a:t>Issued items list</a:t>
            </a:r>
          </a:p>
          <a:p>
            <a:endParaRPr lang="en-US" sz="1800" b="1">
              <a:solidFill>
                <a:srgbClr val="000000"/>
              </a:solidFill>
              <a:latin typeface="IBM Plex Sans"/>
            </a:endParaRPr>
          </a:p>
          <a:p>
            <a:pPr marL="182563" indent="-182563">
              <a:buFont typeface="System Font Regular"/>
              <a:buChar char="⁃"/>
            </a:pPr>
            <a:r>
              <a:rPr lang="en-US" sz="1400">
                <a:solidFill>
                  <a:srgbClr val="000000"/>
                </a:solidFill>
                <a:latin typeface="IBM Plex Sans"/>
              </a:rPr>
              <a:t>See what has been issued from your storeroom</a:t>
            </a:r>
          </a:p>
          <a:p>
            <a:pPr marL="182563" indent="-182563">
              <a:buFont typeface="System Font Regular"/>
              <a:buChar char="⁃"/>
            </a:pPr>
            <a:endParaRPr lang="en-US" sz="1400">
              <a:solidFill>
                <a:srgbClr val="000000"/>
              </a:solidFill>
              <a:latin typeface="IBM Plex Sans"/>
            </a:endParaRPr>
          </a:p>
          <a:p>
            <a:pPr marL="182563" indent="-182563">
              <a:buFont typeface="System Font Regular"/>
              <a:buChar char="⁃"/>
            </a:pPr>
            <a:r>
              <a:rPr lang="en-US" sz="1400">
                <a:solidFill>
                  <a:srgbClr val="000000"/>
                </a:solidFill>
                <a:latin typeface="IBM Plex Sans"/>
              </a:rPr>
              <a:t>Return items to the bin &amp; lot they came from</a:t>
            </a:r>
          </a:p>
        </p:txBody>
      </p:sp>
      <p:sp>
        <p:nvSpPr>
          <p:cNvPr id="14" name="Slide Number Placeholder 1">
            <a:extLst>
              <a:ext uri="{FF2B5EF4-FFF2-40B4-BE49-F238E27FC236}">
                <a16:creationId xmlns:a16="http://schemas.microsoft.com/office/drawing/2014/main" id="{C5319C52-6F9B-49F8-8FEE-8D01480E740F}"/>
              </a:ext>
            </a:extLst>
          </p:cNvPr>
          <p:cNvSpPr txBox="1">
            <a:spLocks/>
          </p:cNvSpPr>
          <p:nvPr/>
        </p:nvSpPr>
        <p:spPr>
          <a:xfrm>
            <a:off x="8769246" y="4912755"/>
            <a:ext cx="323807" cy="137160"/>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457189">
              <a:defRPr/>
            </a:pPr>
            <a:fld id="{FAE4B3C6-245C-644B-9074-60488D830437}" type="slidenum">
              <a:rPr lang="en-US" sz="600">
                <a:solidFill>
                  <a:srgbClr val="000000"/>
                </a:solidFill>
                <a:latin typeface="IBM Plex Sans Regular" charset="0"/>
              </a:rPr>
              <a:pPr defTabSz="457189">
                <a:defRPr/>
              </a:pPr>
              <a:t>33</a:t>
            </a:fld>
            <a:endParaRPr lang="en-US" sz="600" dirty="0">
              <a:solidFill>
                <a:srgbClr val="000000"/>
              </a:solidFill>
              <a:latin typeface="IBM Plex Sans Regular" charset="0"/>
            </a:endParaRPr>
          </a:p>
        </p:txBody>
      </p:sp>
      <p:sp>
        <p:nvSpPr>
          <p:cNvPr id="15" name="Footer Placeholder 9">
            <a:extLst>
              <a:ext uri="{FF2B5EF4-FFF2-40B4-BE49-F238E27FC236}">
                <a16:creationId xmlns:a16="http://schemas.microsoft.com/office/drawing/2014/main" id="{AC9C6920-6453-4629-AFBC-41132D0DDE95}"/>
              </a:ext>
            </a:extLst>
          </p:cNvPr>
          <p:cNvSpPr>
            <a:spLocks noGrp="1"/>
          </p:cNvSpPr>
          <p:nvPr>
            <p:ph type="ftr" sz="quarter" idx="3"/>
          </p:nvPr>
        </p:nvSpPr>
        <p:spPr>
          <a:xfrm>
            <a:off x="228600" y="4826480"/>
            <a:ext cx="6400800" cy="137160"/>
          </a:xfrm>
          <a:prstGeom prst="rect">
            <a:avLst/>
          </a:prstGeom>
        </p:spPr>
        <p:txBody>
          <a:bodyPr vert="horz" lIns="0" tIns="0" rIns="0" bIns="0" rtlCol="0" anchor="ctr"/>
          <a:lstStyle>
            <a:defPPr>
              <a:defRPr lang="en-US"/>
            </a:defPPr>
            <a:lvl1pPr marL="0" algn="l"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defRPr/>
            </a:pPr>
            <a:r>
              <a:rPr lang="de-DE">
                <a:solidFill>
                  <a:srgbClr val="000000"/>
                </a:solidFill>
              </a:rPr>
              <a:t>IBM Watson IoT / © 2019 IBM Corporation</a:t>
            </a:r>
            <a:endParaRPr lang="en-US" dirty="0">
              <a:solidFill>
                <a:srgbClr val="000000"/>
              </a:solidFill>
              <a:latin typeface="IBM Plex Sans"/>
            </a:endParaRPr>
          </a:p>
        </p:txBody>
      </p:sp>
    </p:spTree>
    <p:extLst>
      <p:ext uri="{BB962C8B-B14F-4D97-AF65-F5344CB8AC3E}">
        <p14:creationId xmlns:p14="http://schemas.microsoft.com/office/powerpoint/2010/main" val="13756192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D43F6D88-5487-E047-92CF-1DD4B2A9D639}"/>
              </a:ext>
            </a:extLst>
          </p:cNvPr>
          <p:cNvSpPr txBox="1">
            <a:spLocks/>
          </p:cNvSpPr>
          <p:nvPr/>
        </p:nvSpPr>
        <p:spPr>
          <a:xfrm>
            <a:off x="1233081" y="385469"/>
            <a:ext cx="4693048" cy="504109"/>
          </a:xfrm>
          <a:prstGeom prst="rect">
            <a:avLst/>
          </a:prstGeom>
        </p:spPr>
        <p:txBody>
          <a:bodyPr vert="horz" lIns="68580" tIns="34290" rIns="68580" bIns="34290"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3300">
              <a:solidFill>
                <a:srgbClr val="000000"/>
              </a:solidFill>
              <a:latin typeface="IBM Plex Sans"/>
            </a:endParaRPr>
          </a:p>
        </p:txBody>
      </p:sp>
      <p:sp>
        <p:nvSpPr>
          <p:cNvPr id="2" name="Title 1">
            <a:extLst>
              <a:ext uri="{FF2B5EF4-FFF2-40B4-BE49-F238E27FC236}">
                <a16:creationId xmlns:a16="http://schemas.microsoft.com/office/drawing/2014/main" id="{AF7C2048-504D-486C-9CF9-18B1A7BC5897}"/>
              </a:ext>
            </a:extLst>
          </p:cNvPr>
          <p:cNvSpPr>
            <a:spLocks noGrp="1"/>
          </p:cNvSpPr>
          <p:nvPr>
            <p:ph type="title"/>
          </p:nvPr>
        </p:nvSpPr>
        <p:spPr/>
        <p:txBody>
          <a:bodyPr/>
          <a:lstStyle/>
          <a:p>
            <a:r>
              <a:rPr lang="en-US">
                <a:ea typeface="IBM Plex Sans Light" charset="0"/>
                <a:cs typeface="IBM Plex Sans Light" charset="0"/>
              </a:rPr>
              <a:t>Service Requests in 7.6.1.1  </a:t>
            </a:r>
            <a:br>
              <a:rPr lang="en-US"/>
            </a:br>
            <a:endParaRPr lang="en-US"/>
          </a:p>
        </p:txBody>
      </p:sp>
      <p:sp>
        <p:nvSpPr>
          <p:cNvPr id="6" name="Title 1">
            <a:extLst>
              <a:ext uri="{FF2B5EF4-FFF2-40B4-BE49-F238E27FC236}">
                <a16:creationId xmlns:a16="http://schemas.microsoft.com/office/drawing/2014/main" id="{93FD36DC-E37D-4AE5-AAA6-DC684F37D502}"/>
              </a:ext>
            </a:extLst>
          </p:cNvPr>
          <p:cNvSpPr txBox="1">
            <a:spLocks/>
          </p:cNvSpPr>
          <p:nvPr/>
        </p:nvSpPr>
        <p:spPr>
          <a:xfrm>
            <a:off x="5642566" y="405868"/>
            <a:ext cx="3363911" cy="2425517"/>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400" kern="1200">
                <a:solidFill>
                  <a:schemeClr val="bg2"/>
                </a:solidFill>
                <a:latin typeface="+mj-lt"/>
                <a:ea typeface="Arial" charset="0"/>
                <a:cs typeface="Arial" charset="0"/>
              </a:defRPr>
            </a:lvl1pPr>
          </a:lstStyle>
          <a:p>
            <a:pPr marL="182563" indent="-182563">
              <a:buFont typeface="System Font Regular"/>
              <a:buChar char="⁃"/>
            </a:pPr>
            <a:r>
              <a:rPr lang="en-US" sz="1600">
                <a:solidFill>
                  <a:srgbClr val="000000"/>
                </a:solidFill>
                <a:latin typeface="IBM Plex Sans"/>
              </a:rPr>
              <a:t>Category search</a:t>
            </a:r>
          </a:p>
          <a:p>
            <a:pPr marL="182563" indent="-182563">
              <a:buFont typeface="System Font Regular"/>
              <a:buChar char="⁃"/>
            </a:pPr>
            <a:r>
              <a:rPr lang="en-US" sz="1600">
                <a:solidFill>
                  <a:srgbClr val="000000"/>
                </a:solidFill>
                <a:latin typeface="IBM Plex Sans"/>
              </a:rPr>
              <a:t>Affected user </a:t>
            </a:r>
          </a:p>
          <a:p>
            <a:pPr marL="182563" indent="-182563">
              <a:buFont typeface="System Font Regular"/>
              <a:buChar char="⁃"/>
            </a:pPr>
            <a:r>
              <a:rPr lang="en-US" sz="1600">
                <a:solidFill>
                  <a:srgbClr val="000000"/>
                </a:solidFill>
                <a:latin typeface="IBM Plex Sans"/>
              </a:rPr>
              <a:t>Enhanced code scanning</a:t>
            </a:r>
          </a:p>
          <a:p>
            <a:pPr marL="182563" indent="-182563">
              <a:buFont typeface="System Font Regular"/>
              <a:buChar char="⁃"/>
            </a:pPr>
            <a:r>
              <a:rPr lang="en-US" sz="1600">
                <a:solidFill>
                  <a:srgbClr val="000000"/>
                </a:solidFill>
                <a:latin typeface="IBM Plex Sans"/>
              </a:rPr>
              <a:t>SR Configuration screen</a:t>
            </a:r>
          </a:p>
          <a:p>
            <a:pPr marL="182563" indent="-182563">
              <a:buFont typeface="System Font Regular"/>
              <a:buChar char="⁃"/>
            </a:pPr>
            <a:r>
              <a:rPr lang="en-US" sz="1600">
                <a:solidFill>
                  <a:srgbClr val="000000"/>
                </a:solidFill>
                <a:latin typeface="IBM Plex Sans"/>
              </a:rPr>
              <a:t>SR triage view: Batch-actions</a:t>
            </a:r>
          </a:p>
          <a:p>
            <a:pPr marL="182563" indent="-182563">
              <a:buFont typeface="System Font Regular"/>
              <a:buChar char="⁃"/>
            </a:pPr>
            <a:r>
              <a:rPr lang="en-US" sz="1600">
                <a:solidFill>
                  <a:srgbClr val="000000"/>
                </a:solidFill>
                <a:latin typeface="IBM Plex Sans"/>
              </a:rPr>
              <a:t>Performance improvements</a:t>
            </a:r>
          </a:p>
        </p:txBody>
      </p:sp>
      <p:pic>
        <p:nvPicPr>
          <p:cNvPr id="8" name="Picture 7">
            <a:extLst>
              <a:ext uri="{FF2B5EF4-FFF2-40B4-BE49-F238E27FC236}">
                <a16:creationId xmlns:a16="http://schemas.microsoft.com/office/drawing/2014/main" id="{0124CB59-6A8E-49B0-94C5-6C891C9619C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7525" y="437851"/>
            <a:ext cx="5536502" cy="3522249"/>
          </a:xfrm>
          <a:prstGeom prst="rect">
            <a:avLst/>
          </a:prstGeom>
        </p:spPr>
      </p:pic>
      <p:pic>
        <p:nvPicPr>
          <p:cNvPr id="10" name="Picture 9">
            <a:extLst>
              <a:ext uri="{FF2B5EF4-FFF2-40B4-BE49-F238E27FC236}">
                <a16:creationId xmlns:a16="http://schemas.microsoft.com/office/drawing/2014/main" id="{A940FC73-6DB8-4D00-BCAD-3447C66FF0A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1258" y="3134679"/>
            <a:ext cx="6809828" cy="1885661"/>
          </a:xfrm>
          <a:prstGeom prst="rect">
            <a:avLst/>
          </a:prstGeom>
        </p:spPr>
      </p:pic>
      <p:pic>
        <p:nvPicPr>
          <p:cNvPr id="7" name="Picture 6">
            <a:extLst>
              <a:ext uri="{FF2B5EF4-FFF2-40B4-BE49-F238E27FC236}">
                <a16:creationId xmlns:a16="http://schemas.microsoft.com/office/drawing/2014/main" id="{37245534-BDB1-DF40-A9CA-9089476FEDF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82665" y="1908643"/>
            <a:ext cx="2820079" cy="1886278"/>
          </a:xfrm>
          <a:prstGeom prst="rect">
            <a:avLst/>
          </a:prstGeom>
        </p:spPr>
      </p:pic>
      <p:sp>
        <p:nvSpPr>
          <p:cNvPr id="9" name="Slide Number Placeholder 8">
            <a:extLst>
              <a:ext uri="{FF2B5EF4-FFF2-40B4-BE49-F238E27FC236}">
                <a16:creationId xmlns:a16="http://schemas.microsoft.com/office/drawing/2014/main" id="{69381759-EEE4-4A40-BA9E-A4C6423A685B}"/>
              </a:ext>
            </a:extLst>
          </p:cNvPr>
          <p:cNvSpPr txBox="1">
            <a:spLocks/>
          </p:cNvSpPr>
          <p:nvPr/>
        </p:nvSpPr>
        <p:spPr>
          <a:xfrm>
            <a:off x="8697191" y="4876993"/>
            <a:ext cx="210312" cy="201168"/>
          </a:xfrm>
          <a:prstGeom prst="rect">
            <a:avLst/>
          </a:prstGeom>
        </p:spPr>
        <p:txBody>
          <a:bodyPr vert="horz" lIns="0" tIns="0" rIns="0" bIns="0" rtlCol="0" anchor="ctr"/>
          <a:lstStyle>
            <a:defPPr>
              <a:defRPr lang="en-US"/>
            </a:defPPr>
            <a:lvl1pPr marL="0" algn="r"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E4DBDE34-E9B5-E04F-B662-69720E4BCB53}" type="slidenum">
              <a:rPr lang="en-US">
                <a:solidFill>
                  <a:srgbClr val="000000"/>
                </a:solidFill>
                <a:latin typeface="IBM Plex Sans"/>
              </a:rPr>
              <a:pPr/>
              <a:t>34</a:t>
            </a:fld>
            <a:endParaRPr lang="en-US">
              <a:solidFill>
                <a:srgbClr val="000000"/>
              </a:solidFill>
              <a:latin typeface="IBM Plex Sans"/>
            </a:endParaRPr>
          </a:p>
        </p:txBody>
      </p:sp>
      <p:sp>
        <p:nvSpPr>
          <p:cNvPr id="11" name="Slide Number Placeholder 1">
            <a:extLst>
              <a:ext uri="{FF2B5EF4-FFF2-40B4-BE49-F238E27FC236}">
                <a16:creationId xmlns:a16="http://schemas.microsoft.com/office/drawing/2014/main" id="{7278D3F8-B62B-433B-B90A-12ABA739C41E}"/>
              </a:ext>
            </a:extLst>
          </p:cNvPr>
          <p:cNvSpPr txBox="1">
            <a:spLocks/>
          </p:cNvSpPr>
          <p:nvPr/>
        </p:nvSpPr>
        <p:spPr>
          <a:xfrm>
            <a:off x="8769246" y="4912755"/>
            <a:ext cx="323807" cy="137160"/>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457189">
              <a:defRPr/>
            </a:pPr>
            <a:fld id="{FAE4B3C6-245C-644B-9074-60488D830437}" type="slidenum">
              <a:rPr lang="en-US" sz="600">
                <a:solidFill>
                  <a:srgbClr val="000000"/>
                </a:solidFill>
                <a:latin typeface="IBM Plex Sans Regular" charset="0"/>
              </a:rPr>
              <a:pPr defTabSz="457189">
                <a:defRPr/>
              </a:pPr>
              <a:t>34</a:t>
            </a:fld>
            <a:endParaRPr lang="en-US" sz="600" dirty="0">
              <a:solidFill>
                <a:srgbClr val="000000"/>
              </a:solidFill>
              <a:latin typeface="IBM Plex Sans Regular" charset="0"/>
            </a:endParaRPr>
          </a:p>
        </p:txBody>
      </p:sp>
      <p:sp>
        <p:nvSpPr>
          <p:cNvPr id="13" name="Footer Placeholder 9">
            <a:extLst>
              <a:ext uri="{FF2B5EF4-FFF2-40B4-BE49-F238E27FC236}">
                <a16:creationId xmlns:a16="http://schemas.microsoft.com/office/drawing/2014/main" id="{F3B67C96-A10C-40A8-957B-D67FE6A2FFA6}"/>
              </a:ext>
            </a:extLst>
          </p:cNvPr>
          <p:cNvSpPr>
            <a:spLocks noGrp="1"/>
          </p:cNvSpPr>
          <p:nvPr>
            <p:ph type="ftr" sz="quarter" idx="3"/>
          </p:nvPr>
        </p:nvSpPr>
        <p:spPr>
          <a:xfrm>
            <a:off x="228600" y="4826480"/>
            <a:ext cx="6400800" cy="137160"/>
          </a:xfrm>
          <a:prstGeom prst="rect">
            <a:avLst/>
          </a:prstGeom>
        </p:spPr>
        <p:txBody>
          <a:bodyPr vert="horz" lIns="0" tIns="0" rIns="0" bIns="0" rtlCol="0" anchor="ctr"/>
          <a:lstStyle>
            <a:defPPr>
              <a:defRPr lang="en-US"/>
            </a:defPPr>
            <a:lvl1pPr marL="0" algn="l"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defRPr/>
            </a:pPr>
            <a:r>
              <a:rPr lang="de-DE"/>
              <a:t>IBM Watson IoT / © 2020 IBM Corporation</a:t>
            </a:r>
            <a:endParaRPr lang="en-US" dirty="0">
              <a:solidFill>
                <a:srgbClr val="000000"/>
              </a:solidFill>
              <a:latin typeface="IBM Plex Sans"/>
            </a:endParaRPr>
          </a:p>
        </p:txBody>
      </p:sp>
    </p:spTree>
    <p:extLst>
      <p:ext uri="{BB962C8B-B14F-4D97-AF65-F5344CB8AC3E}">
        <p14:creationId xmlns:p14="http://schemas.microsoft.com/office/powerpoint/2010/main" val="30866420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D43F6D88-5487-E047-92CF-1DD4B2A9D639}"/>
              </a:ext>
            </a:extLst>
          </p:cNvPr>
          <p:cNvSpPr txBox="1">
            <a:spLocks/>
          </p:cNvSpPr>
          <p:nvPr/>
        </p:nvSpPr>
        <p:spPr>
          <a:xfrm>
            <a:off x="1233081" y="385469"/>
            <a:ext cx="4693048" cy="504109"/>
          </a:xfrm>
          <a:prstGeom prst="rect">
            <a:avLst/>
          </a:prstGeom>
        </p:spPr>
        <p:txBody>
          <a:bodyPr vert="horz" lIns="68580" tIns="34290" rIns="68580" bIns="34290" rtlCol="0" anchor="ctr">
            <a:normAutofit fontScale="97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3300">
              <a:solidFill>
                <a:srgbClr val="000000"/>
              </a:solidFill>
              <a:latin typeface="IBM Plex Sans"/>
            </a:endParaRPr>
          </a:p>
        </p:txBody>
      </p:sp>
      <p:grpSp>
        <p:nvGrpSpPr>
          <p:cNvPr id="5" name="Group 4">
            <a:extLst>
              <a:ext uri="{FF2B5EF4-FFF2-40B4-BE49-F238E27FC236}">
                <a16:creationId xmlns:a16="http://schemas.microsoft.com/office/drawing/2014/main" id="{D25E470D-D966-184D-9A1B-A119EDA5098D}"/>
              </a:ext>
            </a:extLst>
          </p:cNvPr>
          <p:cNvGrpSpPr/>
          <p:nvPr/>
        </p:nvGrpSpPr>
        <p:grpSpPr>
          <a:xfrm>
            <a:off x="426966" y="766467"/>
            <a:ext cx="2363329" cy="4334957"/>
            <a:chOff x="5986783" y="1347261"/>
            <a:chExt cx="2621507" cy="5265876"/>
          </a:xfrm>
        </p:grpSpPr>
        <p:pic>
          <p:nvPicPr>
            <p:cNvPr id="6" name="Picture 5">
              <a:extLst>
                <a:ext uri="{FF2B5EF4-FFF2-40B4-BE49-F238E27FC236}">
                  <a16:creationId xmlns:a16="http://schemas.microsoft.com/office/drawing/2014/main" id="{DAB46800-5487-1645-8F06-75E70B8E849F}"/>
                </a:ext>
              </a:extLst>
            </p:cNvPr>
            <p:cNvPicPr>
              <a:picLocks noChangeAspect="1"/>
            </p:cNvPicPr>
            <p:nvPr/>
          </p:nvPicPr>
          <p:blipFill>
            <a:blip r:embed="rId3"/>
            <a:stretch>
              <a:fillRect/>
            </a:stretch>
          </p:blipFill>
          <p:spPr>
            <a:xfrm>
              <a:off x="5986783" y="1347261"/>
              <a:ext cx="2621507" cy="5265876"/>
            </a:xfrm>
            <a:prstGeom prst="rect">
              <a:avLst/>
            </a:prstGeom>
            <a:ln>
              <a:solidFill>
                <a:schemeClr val="bg1"/>
              </a:solidFill>
            </a:ln>
            <a:effectLst>
              <a:softEdge rad="0"/>
            </a:effectLst>
          </p:spPr>
        </p:pic>
        <p:pic>
          <p:nvPicPr>
            <p:cNvPr id="8" name="Picture 7">
              <a:extLst>
                <a:ext uri="{FF2B5EF4-FFF2-40B4-BE49-F238E27FC236}">
                  <a16:creationId xmlns:a16="http://schemas.microsoft.com/office/drawing/2014/main" id="{847C7BF2-A6A9-A64F-9B89-3B775B331C5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22740" y="2207586"/>
              <a:ext cx="2360860" cy="4032938"/>
            </a:xfrm>
            <a:prstGeom prst="rect">
              <a:avLst/>
            </a:prstGeom>
            <a:ln>
              <a:solidFill>
                <a:schemeClr val="bg1"/>
              </a:solidFill>
            </a:ln>
          </p:spPr>
        </p:pic>
      </p:grpSp>
      <p:sp>
        <p:nvSpPr>
          <p:cNvPr id="10" name="Title 8">
            <a:extLst>
              <a:ext uri="{FF2B5EF4-FFF2-40B4-BE49-F238E27FC236}">
                <a16:creationId xmlns:a16="http://schemas.microsoft.com/office/drawing/2014/main" id="{C327D602-38D4-A544-89B0-1601CBEE7693}"/>
              </a:ext>
            </a:extLst>
          </p:cNvPr>
          <p:cNvSpPr txBox="1">
            <a:spLocks/>
          </p:cNvSpPr>
          <p:nvPr/>
        </p:nvSpPr>
        <p:spPr>
          <a:xfrm>
            <a:off x="3236217" y="1074402"/>
            <a:ext cx="4579799" cy="405131"/>
          </a:xfrm>
          <a:prstGeom prst="rect">
            <a:avLst/>
          </a:prstGeom>
        </p:spPr>
        <p:txBody>
          <a:bodyPr vert="horz" lIns="0" tIns="0" rIns="0" bIns="0" rtlCol="0" anchor="ctr" anchorCtr="0">
            <a:noAutofit/>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endParaRPr lang="en-US" sz="1800">
              <a:solidFill>
                <a:srgbClr val="000000"/>
              </a:solidFill>
              <a:latin typeface="IBM Plex Sans"/>
            </a:endParaRPr>
          </a:p>
        </p:txBody>
      </p:sp>
      <p:sp>
        <p:nvSpPr>
          <p:cNvPr id="11" name="Title 8">
            <a:extLst>
              <a:ext uri="{FF2B5EF4-FFF2-40B4-BE49-F238E27FC236}">
                <a16:creationId xmlns:a16="http://schemas.microsoft.com/office/drawing/2014/main" id="{BE22E175-CB9E-D744-BF44-15DCCBFD1992}"/>
              </a:ext>
            </a:extLst>
          </p:cNvPr>
          <p:cNvSpPr txBox="1">
            <a:spLocks/>
          </p:cNvSpPr>
          <p:nvPr/>
        </p:nvSpPr>
        <p:spPr>
          <a:xfrm>
            <a:off x="4435070" y="3514372"/>
            <a:ext cx="2084641" cy="841448"/>
          </a:xfrm>
          <a:prstGeom prst="rect">
            <a:avLst/>
          </a:prstGeom>
        </p:spPr>
        <p:txBody>
          <a:bodyPr vert="horz" lIns="0" tIns="0" rIns="0" bIns="0" rtlCol="0" anchor="ctr" anchorCtr="0">
            <a:noAutofit/>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pPr lvl="1"/>
            <a:r>
              <a:rPr lang="en-US" sz="1500">
                <a:solidFill>
                  <a:srgbClr val="000000"/>
                </a:solidFill>
                <a:latin typeface="IBM Plex Sans"/>
              </a:rPr>
              <a:t>• EAN-8</a:t>
            </a:r>
          </a:p>
          <a:p>
            <a:pPr lvl="1"/>
            <a:r>
              <a:rPr lang="en-US" sz="1500">
                <a:solidFill>
                  <a:srgbClr val="000000"/>
                </a:solidFill>
                <a:latin typeface="IBM Plex Sans"/>
              </a:rPr>
              <a:t>• Interleaved 2 of 5</a:t>
            </a:r>
          </a:p>
          <a:p>
            <a:pPr lvl="1"/>
            <a:r>
              <a:rPr lang="en-US" sz="1500">
                <a:solidFill>
                  <a:srgbClr val="000000"/>
                </a:solidFill>
                <a:latin typeface="IBM Plex Sans"/>
              </a:rPr>
              <a:t>• QR code</a:t>
            </a:r>
          </a:p>
          <a:p>
            <a:pPr lvl="1"/>
            <a:r>
              <a:rPr lang="en-US" sz="1500">
                <a:solidFill>
                  <a:srgbClr val="000000"/>
                </a:solidFill>
                <a:latin typeface="IBM Plex Sans"/>
              </a:rPr>
              <a:t>• UPC</a:t>
            </a:r>
          </a:p>
          <a:p>
            <a:endParaRPr lang="en-US" sz="1500">
              <a:solidFill>
                <a:srgbClr val="000000"/>
              </a:solidFill>
              <a:latin typeface="IBM Plex Sans"/>
            </a:endParaRPr>
          </a:p>
        </p:txBody>
      </p:sp>
      <p:sp>
        <p:nvSpPr>
          <p:cNvPr id="13" name="Title 8">
            <a:extLst>
              <a:ext uri="{FF2B5EF4-FFF2-40B4-BE49-F238E27FC236}">
                <a16:creationId xmlns:a16="http://schemas.microsoft.com/office/drawing/2014/main" id="{6B5C991F-BB72-C744-AA82-534AC0272E93}"/>
              </a:ext>
            </a:extLst>
          </p:cNvPr>
          <p:cNvSpPr txBox="1">
            <a:spLocks/>
          </p:cNvSpPr>
          <p:nvPr/>
        </p:nvSpPr>
        <p:spPr>
          <a:xfrm>
            <a:off x="2892513" y="3514371"/>
            <a:ext cx="1619543" cy="1005304"/>
          </a:xfrm>
          <a:prstGeom prst="rect">
            <a:avLst/>
          </a:prstGeom>
        </p:spPr>
        <p:txBody>
          <a:bodyPr vert="horz" lIns="0" tIns="0" rIns="0" bIns="0" rtlCol="0" anchor="ctr" anchorCtr="0">
            <a:noAutofit/>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pPr lvl="1"/>
            <a:r>
              <a:rPr lang="en-US" sz="1500">
                <a:solidFill>
                  <a:srgbClr val="000000"/>
                </a:solidFill>
                <a:latin typeface="IBM Plex Sans"/>
              </a:rPr>
              <a:t>• </a:t>
            </a:r>
            <a:r>
              <a:rPr lang="en-US" sz="1500" err="1">
                <a:solidFill>
                  <a:srgbClr val="000000"/>
                </a:solidFill>
                <a:latin typeface="IBM Plex Sans"/>
              </a:rPr>
              <a:t>Codabar</a:t>
            </a:r>
            <a:endParaRPr lang="en-US" sz="1500">
              <a:solidFill>
                <a:srgbClr val="000000"/>
              </a:solidFill>
              <a:latin typeface="IBM Plex Sans"/>
            </a:endParaRPr>
          </a:p>
          <a:p>
            <a:pPr lvl="1"/>
            <a:r>
              <a:rPr lang="en-US" sz="1500">
                <a:solidFill>
                  <a:srgbClr val="000000"/>
                </a:solidFill>
                <a:latin typeface="IBM Plex Sans"/>
              </a:rPr>
              <a:t>• Code-39</a:t>
            </a:r>
          </a:p>
          <a:p>
            <a:pPr lvl="1"/>
            <a:r>
              <a:rPr lang="en-US" sz="1500">
                <a:solidFill>
                  <a:srgbClr val="000000"/>
                </a:solidFill>
                <a:latin typeface="IBM Plex Sans"/>
              </a:rPr>
              <a:t>• Code-93</a:t>
            </a:r>
          </a:p>
          <a:p>
            <a:pPr lvl="1"/>
            <a:r>
              <a:rPr lang="en-US" sz="1500">
                <a:solidFill>
                  <a:srgbClr val="000000"/>
                </a:solidFill>
                <a:latin typeface="IBM Plex Sans"/>
              </a:rPr>
              <a:t>• Code-128</a:t>
            </a:r>
          </a:p>
          <a:p>
            <a:pPr lvl="1"/>
            <a:r>
              <a:rPr lang="en-US" sz="1500">
                <a:solidFill>
                  <a:srgbClr val="000000"/>
                </a:solidFill>
                <a:latin typeface="IBM Plex Sans"/>
              </a:rPr>
              <a:t>• EAN</a:t>
            </a:r>
          </a:p>
          <a:p>
            <a:endParaRPr lang="en-US" sz="1500">
              <a:solidFill>
                <a:srgbClr val="000000"/>
              </a:solidFill>
              <a:latin typeface="IBM Plex Sans"/>
            </a:endParaRPr>
          </a:p>
        </p:txBody>
      </p:sp>
      <p:sp>
        <p:nvSpPr>
          <p:cNvPr id="14" name="Title 8">
            <a:extLst>
              <a:ext uri="{FF2B5EF4-FFF2-40B4-BE49-F238E27FC236}">
                <a16:creationId xmlns:a16="http://schemas.microsoft.com/office/drawing/2014/main" id="{BDCEF54C-F181-E743-9410-E5CBA5F129D7}"/>
              </a:ext>
            </a:extLst>
          </p:cNvPr>
          <p:cNvSpPr txBox="1">
            <a:spLocks/>
          </p:cNvSpPr>
          <p:nvPr/>
        </p:nvSpPr>
        <p:spPr>
          <a:xfrm>
            <a:off x="3236778" y="3042537"/>
            <a:ext cx="2431736" cy="405131"/>
          </a:xfrm>
          <a:prstGeom prst="rect">
            <a:avLst/>
          </a:prstGeom>
        </p:spPr>
        <p:txBody>
          <a:bodyPr vert="horz" lIns="0" tIns="0" rIns="0" bIns="0" rtlCol="0" anchor="ctr" anchorCtr="0">
            <a:noAutofit/>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r>
              <a:rPr lang="en-US" sz="1500" b="1">
                <a:solidFill>
                  <a:srgbClr val="000000"/>
                </a:solidFill>
                <a:latin typeface="IBM Plex Sans"/>
              </a:rPr>
              <a:t>Supported codes:</a:t>
            </a:r>
          </a:p>
          <a:p>
            <a:endParaRPr lang="en-US" sz="1500" b="1">
              <a:solidFill>
                <a:srgbClr val="000000"/>
              </a:solidFill>
              <a:latin typeface="IBM Plex Sans"/>
            </a:endParaRPr>
          </a:p>
        </p:txBody>
      </p:sp>
      <p:sp>
        <p:nvSpPr>
          <p:cNvPr id="15" name="Title 8">
            <a:extLst>
              <a:ext uri="{FF2B5EF4-FFF2-40B4-BE49-F238E27FC236}">
                <a16:creationId xmlns:a16="http://schemas.microsoft.com/office/drawing/2014/main" id="{724E83B7-5DE1-6E46-82AC-76CC43438992}"/>
              </a:ext>
            </a:extLst>
          </p:cNvPr>
          <p:cNvSpPr txBox="1">
            <a:spLocks/>
          </p:cNvSpPr>
          <p:nvPr/>
        </p:nvSpPr>
        <p:spPr>
          <a:xfrm>
            <a:off x="3169953" y="1030383"/>
            <a:ext cx="5737550" cy="1848296"/>
          </a:xfrm>
          <a:prstGeom prst="rect">
            <a:avLst/>
          </a:prstGeom>
        </p:spPr>
        <p:txBody>
          <a:bodyPr vert="horz" lIns="0" tIns="0" rIns="0" bIns="0" rtlCol="0" anchor="ctr" anchorCtr="0">
            <a:noAutofit/>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pPr marL="285750" lvl="2" indent="-285750" fontAlgn="base">
              <a:lnSpc>
                <a:spcPct val="80000"/>
              </a:lnSpc>
              <a:spcAft>
                <a:spcPct val="0"/>
              </a:spcAft>
              <a:buFont typeface="System Font Regular"/>
              <a:buChar char="⁃"/>
            </a:pPr>
            <a:r>
              <a:rPr lang="en-US" altLang="en-US" sz="1500">
                <a:solidFill>
                  <a:srgbClr val="000000"/>
                </a:solidFill>
                <a:latin typeface="IBM Plex Sans"/>
              </a:rPr>
              <a:t>Camera is now opened in video mode instead of photo</a:t>
            </a:r>
          </a:p>
          <a:p>
            <a:pPr marL="285750" lvl="2" indent="-285750" fontAlgn="base">
              <a:lnSpc>
                <a:spcPct val="80000"/>
              </a:lnSpc>
              <a:spcAft>
                <a:spcPct val="0"/>
              </a:spcAft>
              <a:buFont typeface="System Font Regular"/>
              <a:buChar char="⁃"/>
            </a:pPr>
            <a:endParaRPr lang="en-US" altLang="en-US" sz="1500">
              <a:solidFill>
                <a:srgbClr val="000000"/>
              </a:solidFill>
              <a:latin typeface="IBM Plex Sans"/>
            </a:endParaRPr>
          </a:p>
          <a:p>
            <a:pPr marL="285750" lvl="2" indent="-285750" fontAlgn="base">
              <a:lnSpc>
                <a:spcPct val="80000"/>
              </a:lnSpc>
              <a:spcAft>
                <a:spcPct val="0"/>
              </a:spcAft>
              <a:buFont typeface="System Font Regular"/>
              <a:buChar char="⁃"/>
            </a:pPr>
            <a:r>
              <a:rPr lang="en-US" altLang="en-US" sz="1500">
                <a:solidFill>
                  <a:srgbClr val="000000"/>
                </a:solidFill>
                <a:latin typeface="IBM Plex Sans"/>
              </a:rPr>
              <a:t>Red view finder frame is overlaid to help the user focus</a:t>
            </a:r>
          </a:p>
          <a:p>
            <a:pPr marL="285750" lvl="2" indent="-285750" fontAlgn="base">
              <a:lnSpc>
                <a:spcPct val="80000"/>
              </a:lnSpc>
              <a:spcAft>
                <a:spcPct val="0"/>
              </a:spcAft>
              <a:buFont typeface="System Font Regular"/>
              <a:buChar char="⁃"/>
            </a:pPr>
            <a:endParaRPr lang="en-US" altLang="en-US" sz="1500">
              <a:solidFill>
                <a:srgbClr val="000000"/>
              </a:solidFill>
              <a:latin typeface="IBM Plex Sans"/>
            </a:endParaRPr>
          </a:p>
          <a:p>
            <a:pPr marL="285750" lvl="2" indent="-285750" fontAlgn="base">
              <a:lnSpc>
                <a:spcPct val="80000"/>
              </a:lnSpc>
              <a:spcAft>
                <a:spcPct val="0"/>
              </a:spcAft>
              <a:buFont typeface="System Font Regular"/>
              <a:buChar char="⁃"/>
            </a:pPr>
            <a:r>
              <a:rPr lang="en-US" altLang="en-US" sz="1500">
                <a:solidFill>
                  <a:srgbClr val="000000"/>
                </a:solidFill>
                <a:latin typeface="IBM Plex Sans"/>
              </a:rPr>
              <a:t>When the code is in focus it snaps to the picture and renders the ID</a:t>
            </a:r>
          </a:p>
          <a:p>
            <a:pPr marL="285750" lvl="2" indent="-285750" fontAlgn="base">
              <a:lnSpc>
                <a:spcPct val="80000"/>
              </a:lnSpc>
              <a:spcAft>
                <a:spcPct val="0"/>
              </a:spcAft>
              <a:buFont typeface="System Font Regular"/>
              <a:buChar char="⁃"/>
            </a:pPr>
            <a:endParaRPr lang="en-US" altLang="en-US" sz="1500">
              <a:solidFill>
                <a:srgbClr val="000000"/>
              </a:solidFill>
              <a:latin typeface="IBM Plex Sans"/>
            </a:endParaRPr>
          </a:p>
          <a:p>
            <a:pPr marL="285750" lvl="2" indent="-285750" fontAlgn="base">
              <a:lnSpc>
                <a:spcPct val="80000"/>
              </a:lnSpc>
              <a:spcAft>
                <a:spcPct val="0"/>
              </a:spcAft>
              <a:buFont typeface="System Font Regular"/>
              <a:buChar char="⁃"/>
            </a:pPr>
            <a:r>
              <a:rPr lang="en-US" altLang="en-US" sz="1500">
                <a:solidFill>
                  <a:srgbClr val="000000"/>
                </a:solidFill>
                <a:latin typeface="IBM Plex Sans"/>
              </a:rPr>
              <a:t>An audible beep will sound to indicate success</a:t>
            </a:r>
          </a:p>
          <a:p>
            <a:endParaRPr lang="en-US" sz="1500">
              <a:solidFill>
                <a:srgbClr val="000000"/>
              </a:solidFill>
              <a:latin typeface="IBM Plex Sans"/>
            </a:endParaRPr>
          </a:p>
        </p:txBody>
      </p:sp>
      <p:sp>
        <p:nvSpPr>
          <p:cNvPr id="16" name="Title 8">
            <a:extLst>
              <a:ext uri="{FF2B5EF4-FFF2-40B4-BE49-F238E27FC236}">
                <a16:creationId xmlns:a16="http://schemas.microsoft.com/office/drawing/2014/main" id="{8BBA6F7F-A5F1-1F49-9E0B-2358F0C19FC5}"/>
              </a:ext>
            </a:extLst>
          </p:cNvPr>
          <p:cNvSpPr txBox="1">
            <a:spLocks/>
          </p:cNvSpPr>
          <p:nvPr/>
        </p:nvSpPr>
        <p:spPr>
          <a:xfrm>
            <a:off x="7136605" y="3042536"/>
            <a:ext cx="1408664" cy="405131"/>
          </a:xfrm>
          <a:prstGeom prst="rect">
            <a:avLst/>
          </a:prstGeom>
        </p:spPr>
        <p:txBody>
          <a:bodyPr vert="horz" lIns="0" tIns="0" rIns="0" bIns="0" rtlCol="0" anchor="ctr" anchorCtr="0">
            <a:noAutofit/>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r>
              <a:rPr lang="en-US" sz="1500" b="1">
                <a:solidFill>
                  <a:srgbClr val="000000"/>
                </a:solidFill>
                <a:latin typeface="IBM Plex Sans"/>
              </a:rPr>
              <a:t>Devices:</a:t>
            </a:r>
          </a:p>
          <a:p>
            <a:endParaRPr lang="en-US" sz="1500" b="1">
              <a:solidFill>
                <a:srgbClr val="000000"/>
              </a:solidFill>
              <a:latin typeface="IBM Plex Sans"/>
            </a:endParaRPr>
          </a:p>
        </p:txBody>
      </p:sp>
      <p:sp>
        <p:nvSpPr>
          <p:cNvPr id="17" name="Title 8">
            <a:extLst>
              <a:ext uri="{FF2B5EF4-FFF2-40B4-BE49-F238E27FC236}">
                <a16:creationId xmlns:a16="http://schemas.microsoft.com/office/drawing/2014/main" id="{C692251E-5524-FB4D-9CAE-03E5999C5099}"/>
              </a:ext>
            </a:extLst>
          </p:cNvPr>
          <p:cNvSpPr txBox="1">
            <a:spLocks/>
          </p:cNvSpPr>
          <p:nvPr/>
        </p:nvSpPr>
        <p:spPr>
          <a:xfrm>
            <a:off x="6781064" y="3490592"/>
            <a:ext cx="2362939" cy="659450"/>
          </a:xfrm>
          <a:prstGeom prst="rect">
            <a:avLst/>
          </a:prstGeom>
        </p:spPr>
        <p:txBody>
          <a:bodyPr vert="horz" lIns="0" tIns="0" rIns="0" bIns="0" rtlCol="0" anchor="ctr" anchorCtr="0">
            <a:noAutofit/>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pPr lvl="1"/>
            <a:r>
              <a:rPr lang="en-US" sz="1500">
                <a:solidFill>
                  <a:srgbClr val="000000"/>
                </a:solidFill>
                <a:latin typeface="IBM Plex Sans"/>
              </a:rPr>
              <a:t>• Android/Chrome</a:t>
            </a:r>
          </a:p>
          <a:p>
            <a:pPr lvl="1"/>
            <a:r>
              <a:rPr lang="en-US" sz="1500">
                <a:solidFill>
                  <a:srgbClr val="000000"/>
                </a:solidFill>
                <a:latin typeface="IBM Plex Sans"/>
              </a:rPr>
              <a:t>• Apple/Safari</a:t>
            </a:r>
          </a:p>
          <a:p>
            <a:pPr lvl="1"/>
            <a:r>
              <a:rPr lang="en-US" sz="1500">
                <a:solidFill>
                  <a:srgbClr val="000000"/>
                </a:solidFill>
                <a:latin typeface="IBM Plex Sans"/>
              </a:rPr>
              <a:t>• Windows/Edge</a:t>
            </a:r>
          </a:p>
          <a:p>
            <a:endParaRPr lang="en-US" sz="1500">
              <a:solidFill>
                <a:srgbClr val="000000"/>
              </a:solidFill>
              <a:latin typeface="IBM Plex Sans"/>
            </a:endParaRPr>
          </a:p>
        </p:txBody>
      </p:sp>
      <p:sp>
        <p:nvSpPr>
          <p:cNvPr id="2" name="Title 1">
            <a:extLst>
              <a:ext uri="{FF2B5EF4-FFF2-40B4-BE49-F238E27FC236}">
                <a16:creationId xmlns:a16="http://schemas.microsoft.com/office/drawing/2014/main" id="{557F1298-D53F-45CB-A932-CAFC8D00FED9}"/>
              </a:ext>
            </a:extLst>
          </p:cNvPr>
          <p:cNvSpPr>
            <a:spLocks noGrp="1"/>
          </p:cNvSpPr>
          <p:nvPr>
            <p:ph type="title"/>
          </p:nvPr>
        </p:nvSpPr>
        <p:spPr>
          <a:xfrm>
            <a:off x="228599" y="201168"/>
            <a:ext cx="7926049" cy="381000"/>
          </a:xfrm>
        </p:spPr>
        <p:txBody>
          <a:bodyPr/>
          <a:lstStyle/>
          <a:p>
            <a:r>
              <a:rPr lang="en-US" dirty="0">
                <a:ea typeface="IBM Plex Sans Light" charset="0"/>
                <a:cs typeface="IBM Plex Sans Light" charset="0"/>
              </a:rPr>
              <a:t>Service Requests in 7.6.1.1 - </a:t>
            </a:r>
            <a:r>
              <a:rPr lang="en-US" dirty="0"/>
              <a:t>Improved code scanning</a:t>
            </a:r>
            <a:br>
              <a:rPr lang="en-US" dirty="0"/>
            </a:br>
            <a:r>
              <a:rPr lang="en-US" dirty="0">
                <a:ea typeface="IBM Plex Sans Light" charset="0"/>
                <a:cs typeface="IBM Plex Sans Light" charset="0"/>
              </a:rPr>
              <a:t> </a:t>
            </a:r>
            <a:br>
              <a:rPr lang="en-US" dirty="0"/>
            </a:br>
            <a:endParaRPr lang="en-US" dirty="0"/>
          </a:p>
        </p:txBody>
      </p:sp>
      <p:sp>
        <p:nvSpPr>
          <p:cNvPr id="19" name="Slide Number Placeholder 1">
            <a:extLst>
              <a:ext uri="{FF2B5EF4-FFF2-40B4-BE49-F238E27FC236}">
                <a16:creationId xmlns:a16="http://schemas.microsoft.com/office/drawing/2014/main" id="{EA6DF6A6-D425-4517-9116-C6DB9BFA5A95}"/>
              </a:ext>
            </a:extLst>
          </p:cNvPr>
          <p:cNvSpPr txBox="1">
            <a:spLocks/>
          </p:cNvSpPr>
          <p:nvPr/>
        </p:nvSpPr>
        <p:spPr>
          <a:xfrm>
            <a:off x="8769246" y="4912755"/>
            <a:ext cx="323807" cy="137160"/>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457189">
              <a:defRPr/>
            </a:pPr>
            <a:fld id="{FAE4B3C6-245C-644B-9074-60488D830437}" type="slidenum">
              <a:rPr lang="en-US" sz="600">
                <a:solidFill>
                  <a:srgbClr val="000000"/>
                </a:solidFill>
                <a:latin typeface="IBM Plex Sans Regular" charset="0"/>
              </a:rPr>
              <a:pPr defTabSz="457189">
                <a:defRPr/>
              </a:pPr>
              <a:t>35</a:t>
            </a:fld>
            <a:endParaRPr lang="en-US" sz="600" dirty="0">
              <a:solidFill>
                <a:srgbClr val="000000"/>
              </a:solidFill>
              <a:latin typeface="IBM Plex Sans Regular" charset="0"/>
            </a:endParaRPr>
          </a:p>
        </p:txBody>
      </p:sp>
      <p:sp>
        <p:nvSpPr>
          <p:cNvPr id="20" name="Footer Placeholder 9">
            <a:extLst>
              <a:ext uri="{FF2B5EF4-FFF2-40B4-BE49-F238E27FC236}">
                <a16:creationId xmlns:a16="http://schemas.microsoft.com/office/drawing/2014/main" id="{44E80AE3-6E21-4399-B884-BDCF5FC64831}"/>
              </a:ext>
            </a:extLst>
          </p:cNvPr>
          <p:cNvSpPr>
            <a:spLocks noGrp="1"/>
          </p:cNvSpPr>
          <p:nvPr>
            <p:ph type="ftr" sz="quarter" idx="3"/>
          </p:nvPr>
        </p:nvSpPr>
        <p:spPr>
          <a:xfrm>
            <a:off x="228600" y="4826480"/>
            <a:ext cx="6400800" cy="137160"/>
          </a:xfrm>
          <a:prstGeom prst="rect">
            <a:avLst/>
          </a:prstGeom>
        </p:spPr>
        <p:txBody>
          <a:bodyPr vert="horz" lIns="0" tIns="0" rIns="0" bIns="0" rtlCol="0" anchor="ctr"/>
          <a:lstStyle>
            <a:defPPr>
              <a:defRPr lang="en-US"/>
            </a:defPPr>
            <a:lvl1pPr marL="0" algn="l"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defRPr/>
            </a:pPr>
            <a:r>
              <a:rPr lang="de-DE"/>
              <a:t>IBM Watson IoT / © 2020 IBM Corporation</a:t>
            </a:r>
            <a:endParaRPr lang="en-US" dirty="0">
              <a:solidFill>
                <a:srgbClr val="000000"/>
              </a:solidFill>
              <a:latin typeface="IBM Plex Sans"/>
            </a:endParaRPr>
          </a:p>
        </p:txBody>
      </p:sp>
    </p:spTree>
    <p:extLst>
      <p:ext uri="{BB962C8B-B14F-4D97-AF65-F5344CB8AC3E}">
        <p14:creationId xmlns:p14="http://schemas.microsoft.com/office/powerpoint/2010/main" val="34711112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8">
            <a:extLst>
              <a:ext uri="{FF2B5EF4-FFF2-40B4-BE49-F238E27FC236}">
                <a16:creationId xmlns:a16="http://schemas.microsoft.com/office/drawing/2014/main" id="{724E83B7-5DE1-6E46-82AC-76CC43438992}"/>
              </a:ext>
            </a:extLst>
          </p:cNvPr>
          <p:cNvSpPr txBox="1">
            <a:spLocks/>
          </p:cNvSpPr>
          <p:nvPr/>
        </p:nvSpPr>
        <p:spPr>
          <a:xfrm>
            <a:off x="913259" y="979441"/>
            <a:ext cx="5737550" cy="504109"/>
          </a:xfrm>
          <a:prstGeom prst="rect">
            <a:avLst/>
          </a:prstGeom>
        </p:spPr>
        <p:txBody>
          <a:bodyPr vert="horz" lIns="0" tIns="0" rIns="0" bIns="0" rtlCol="0" anchor="ctr" anchorCtr="0">
            <a:noAutofit/>
          </a:bodyPr>
          <a:lstStyle>
            <a:lvl1pPr algn="l" defTabSz="457200" rtl="0" eaLnBrk="1" latinLnBrk="0" hangingPunct="1">
              <a:lnSpc>
                <a:spcPct val="90000"/>
              </a:lnSpc>
              <a:spcBef>
                <a:spcPct val="0"/>
              </a:spcBef>
              <a:buNone/>
              <a:defRPr sz="2400" kern="1200">
                <a:solidFill>
                  <a:schemeClr val="tx1"/>
                </a:solidFill>
                <a:latin typeface="+mj-lt"/>
                <a:ea typeface="Arial" charset="0"/>
                <a:cs typeface="Arial" charset="0"/>
              </a:defRPr>
            </a:lvl1pPr>
          </a:lstStyle>
          <a:p>
            <a:r>
              <a:rPr lang="en-US" sz="1800">
                <a:solidFill>
                  <a:srgbClr val="000000"/>
                </a:solidFill>
                <a:latin typeface="IBM Plex Sans"/>
              </a:rPr>
              <a:t>Perform an action against multiple requests</a:t>
            </a:r>
          </a:p>
          <a:p>
            <a:endParaRPr lang="en-US" sz="1500">
              <a:solidFill>
                <a:srgbClr val="000000"/>
              </a:solidFill>
              <a:latin typeface="IBM Plex Sans"/>
            </a:endParaRPr>
          </a:p>
        </p:txBody>
      </p:sp>
      <p:sp>
        <p:nvSpPr>
          <p:cNvPr id="2" name="Title 1">
            <a:extLst>
              <a:ext uri="{FF2B5EF4-FFF2-40B4-BE49-F238E27FC236}">
                <a16:creationId xmlns:a16="http://schemas.microsoft.com/office/drawing/2014/main" id="{99607E95-29B8-4E16-B070-D566190957EC}"/>
              </a:ext>
            </a:extLst>
          </p:cNvPr>
          <p:cNvSpPr>
            <a:spLocks noGrp="1"/>
          </p:cNvSpPr>
          <p:nvPr>
            <p:ph type="title"/>
          </p:nvPr>
        </p:nvSpPr>
        <p:spPr>
          <a:xfrm>
            <a:off x="228599" y="201168"/>
            <a:ext cx="7896069" cy="381000"/>
          </a:xfrm>
        </p:spPr>
        <p:txBody>
          <a:bodyPr/>
          <a:lstStyle/>
          <a:p>
            <a:r>
              <a:rPr lang="en-US" dirty="0"/>
              <a:t>Service Request processing page Enhancements</a:t>
            </a:r>
          </a:p>
        </p:txBody>
      </p:sp>
      <p:sp>
        <p:nvSpPr>
          <p:cNvPr id="5" name="Slide Number Placeholder 8">
            <a:extLst>
              <a:ext uri="{FF2B5EF4-FFF2-40B4-BE49-F238E27FC236}">
                <a16:creationId xmlns:a16="http://schemas.microsoft.com/office/drawing/2014/main" id="{2197019F-ACA6-0A44-9183-73DAA4A01F79}"/>
              </a:ext>
            </a:extLst>
          </p:cNvPr>
          <p:cNvSpPr txBox="1">
            <a:spLocks/>
          </p:cNvSpPr>
          <p:nvPr/>
        </p:nvSpPr>
        <p:spPr>
          <a:xfrm>
            <a:off x="8697191" y="4876993"/>
            <a:ext cx="210312" cy="201168"/>
          </a:xfrm>
          <a:prstGeom prst="rect">
            <a:avLst/>
          </a:prstGeom>
        </p:spPr>
        <p:txBody>
          <a:bodyPr vert="horz" lIns="0" tIns="0" rIns="0" bIns="0" rtlCol="0" anchor="ctr"/>
          <a:lstStyle>
            <a:defPPr>
              <a:defRPr lang="en-US"/>
            </a:defPPr>
            <a:lvl1pPr marL="0" algn="r"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E4DBDE34-E9B5-E04F-B662-69720E4BCB53}" type="slidenum">
              <a:rPr lang="en-US">
                <a:solidFill>
                  <a:srgbClr val="000000"/>
                </a:solidFill>
                <a:latin typeface="IBM Plex Sans"/>
              </a:rPr>
              <a:pPr/>
              <a:t>36</a:t>
            </a:fld>
            <a:endParaRPr lang="en-US">
              <a:solidFill>
                <a:srgbClr val="000000"/>
              </a:solidFill>
              <a:latin typeface="IBM Plex Sans"/>
            </a:endParaRPr>
          </a:p>
        </p:txBody>
      </p:sp>
      <p:pic>
        <p:nvPicPr>
          <p:cNvPr id="6" name="Picture 5">
            <a:extLst>
              <a:ext uri="{FF2B5EF4-FFF2-40B4-BE49-F238E27FC236}">
                <a16:creationId xmlns:a16="http://schemas.microsoft.com/office/drawing/2014/main" id="{DFC3DB6E-F778-974A-9AD4-586C7481D2F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9400" y="1264154"/>
            <a:ext cx="7431341" cy="3486308"/>
          </a:xfrm>
          <a:prstGeom prst="rect">
            <a:avLst/>
          </a:prstGeom>
        </p:spPr>
      </p:pic>
      <p:sp>
        <p:nvSpPr>
          <p:cNvPr id="9" name="Footer Placeholder 9">
            <a:extLst>
              <a:ext uri="{FF2B5EF4-FFF2-40B4-BE49-F238E27FC236}">
                <a16:creationId xmlns:a16="http://schemas.microsoft.com/office/drawing/2014/main" id="{326BF489-80DE-6C44-AC2A-C70E1F5EBA69}"/>
              </a:ext>
            </a:extLst>
          </p:cNvPr>
          <p:cNvSpPr>
            <a:spLocks noGrp="1"/>
          </p:cNvSpPr>
          <p:nvPr>
            <p:ph type="ftr" sz="quarter" idx="3"/>
          </p:nvPr>
        </p:nvSpPr>
        <p:spPr>
          <a:xfrm>
            <a:off x="228600" y="4826480"/>
            <a:ext cx="6400800" cy="137160"/>
          </a:xfrm>
          <a:prstGeom prst="rect">
            <a:avLst/>
          </a:prstGeom>
        </p:spPr>
        <p:txBody>
          <a:bodyPr vert="horz" lIns="0" tIns="0" rIns="0" bIns="0" rtlCol="0" anchor="ctr"/>
          <a:lstStyle>
            <a:defPPr>
              <a:defRPr lang="en-US"/>
            </a:defPPr>
            <a:lvl1pPr marL="0" algn="l" defTabSz="685800" rtl="0" eaLnBrk="1" latinLnBrk="0" hangingPunct="1">
              <a:defRPr sz="600" kern="1200" baseline="0">
                <a:solidFill>
                  <a:schemeClr val="tx1"/>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defRPr/>
            </a:pPr>
            <a:r>
              <a:rPr lang="de-DE"/>
              <a:t>IBM Watson IoT / © 2020 IBM Corporation</a:t>
            </a:r>
            <a:endParaRPr lang="en-US" dirty="0">
              <a:solidFill>
                <a:srgbClr val="000000"/>
              </a:solidFill>
              <a:latin typeface="IBM Plex Sans"/>
            </a:endParaRPr>
          </a:p>
        </p:txBody>
      </p:sp>
    </p:spTree>
    <p:extLst>
      <p:ext uri="{BB962C8B-B14F-4D97-AF65-F5344CB8AC3E}">
        <p14:creationId xmlns:p14="http://schemas.microsoft.com/office/powerpoint/2010/main" val="35478618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C6336CC6-3731-2049-9139-3AF2DA43F4AF}"/>
              </a:ext>
            </a:extLst>
          </p:cNvPr>
          <p:cNvSpPr txBox="1">
            <a:spLocks/>
          </p:cNvSpPr>
          <p:nvPr/>
        </p:nvSpPr>
        <p:spPr>
          <a:xfrm>
            <a:off x="225704" y="69970"/>
            <a:ext cx="8692593" cy="331411"/>
          </a:xfrm>
          <a:prstGeom prst="rect">
            <a:avLst/>
          </a:prstGeom>
        </p:spPr>
        <p:txBody>
          <a:bodyPr vert="horz" lIns="0" tIns="0" rIns="0" bIns="0" rtlCol="0">
            <a:noAutofit/>
          </a:bodyPr>
          <a:lstStyle>
            <a:lvl1pPr marL="0" indent="0" algn="l" defTabSz="457200" rtl="0" eaLnBrk="1" latinLnBrk="0" hangingPunct="1">
              <a:lnSpc>
                <a:spcPct val="100000"/>
              </a:lnSpc>
              <a:spcBef>
                <a:spcPts val="1100"/>
              </a:spcBef>
              <a:buFont typeface="Arial"/>
              <a:buNone/>
              <a:defRPr sz="1100" kern="1200">
                <a:solidFill>
                  <a:schemeClr val="tx1"/>
                </a:solidFill>
                <a:latin typeface="+mn-lt"/>
                <a:ea typeface="Arial" charset="0"/>
                <a:cs typeface="Arial" charset="0"/>
              </a:defRPr>
            </a:lvl1pPr>
            <a:lvl2pPr marL="173038"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2pPr>
            <a:lvl3pPr marL="3968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3pPr>
            <a:lvl4pPr marL="625475" indent="-168275"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4pPr>
            <a:lvl5pPr marL="803275" indent="-173038" algn="l" defTabSz="457200" rtl="0" eaLnBrk="1" latinLnBrk="0" hangingPunct="1">
              <a:lnSpc>
                <a:spcPct val="100000"/>
              </a:lnSpc>
              <a:spcBef>
                <a:spcPts val="1100"/>
              </a:spcBef>
              <a:spcAft>
                <a:spcPts val="0"/>
              </a:spcAft>
              <a:buFont typeface="Arial"/>
              <a:buChar char="»"/>
              <a:defRPr sz="1400" kern="1200">
                <a:solidFill>
                  <a:schemeClr val="tx1"/>
                </a:solidFill>
                <a:latin typeface="+mn-lt"/>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1100"/>
              </a:spcBef>
              <a:spcAft>
                <a:spcPts val="0"/>
              </a:spcAft>
              <a:buClrTx/>
              <a:buSzTx/>
              <a:buFont typeface="Arial"/>
              <a:buNone/>
              <a:tabLst/>
              <a:defRPr/>
            </a:pPr>
            <a:r>
              <a:rPr kumimoji="0" lang="en-US" sz="2000" b="0" i="0" u="none" strike="noStrike" kern="1200" cap="none" spc="0" normalizeH="0" baseline="0" noProof="0" dirty="0">
                <a:ln>
                  <a:noFill/>
                </a:ln>
                <a:solidFill>
                  <a:srgbClr val="0064FF"/>
                </a:solidFill>
                <a:effectLst/>
                <a:uLnTx/>
                <a:uFillTx/>
                <a:latin typeface="IBM Plex Sans"/>
                <a:cs typeface="Arial" charset="0"/>
              </a:rPr>
              <a:t>Targeted Civil Infrastructure Capabilities</a:t>
            </a:r>
          </a:p>
        </p:txBody>
      </p:sp>
      <p:pic>
        <p:nvPicPr>
          <p:cNvPr id="16" name="Picture 3">
            <a:extLst>
              <a:ext uri="{FF2B5EF4-FFF2-40B4-BE49-F238E27FC236}">
                <a16:creationId xmlns:a16="http://schemas.microsoft.com/office/drawing/2014/main" id="{6BD64BA8-4F4A-0B46-AF29-F563DBEE9D4B}"/>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3273" y="536185"/>
            <a:ext cx="9122585" cy="256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ounded Rectangle 16">
            <a:extLst>
              <a:ext uri="{FF2B5EF4-FFF2-40B4-BE49-F238E27FC236}">
                <a16:creationId xmlns:a16="http://schemas.microsoft.com/office/drawing/2014/main" id="{3BC23A3D-1F89-CD4C-8589-0611373482B3}"/>
              </a:ext>
            </a:extLst>
          </p:cNvPr>
          <p:cNvSpPr/>
          <p:nvPr/>
        </p:nvSpPr>
        <p:spPr bwMode="auto">
          <a:xfrm>
            <a:off x="3710583" y="2620711"/>
            <a:ext cx="1258671" cy="421105"/>
          </a:xfrm>
          <a:prstGeom prst="roundRect">
            <a:avLst/>
          </a:prstGeom>
          <a:solidFill>
            <a:schemeClr val="accent2">
              <a:lumMod val="20000"/>
              <a:lumOff val="80000"/>
            </a:schemeClr>
          </a:solidFill>
          <a:ln w="9525" cap="flat" cmpd="sng" algn="ctr">
            <a:solidFill>
              <a:schemeClr val="tx2"/>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Concrete Cracks</a:t>
            </a:r>
          </a:p>
        </p:txBody>
      </p:sp>
      <p:sp>
        <p:nvSpPr>
          <p:cNvPr id="18" name="Rounded Rectangle 17">
            <a:extLst>
              <a:ext uri="{FF2B5EF4-FFF2-40B4-BE49-F238E27FC236}">
                <a16:creationId xmlns:a16="http://schemas.microsoft.com/office/drawing/2014/main" id="{AC0EFE45-51D3-2D42-992B-77893AAEB2C3}"/>
              </a:ext>
            </a:extLst>
          </p:cNvPr>
          <p:cNvSpPr/>
          <p:nvPr/>
        </p:nvSpPr>
        <p:spPr bwMode="auto">
          <a:xfrm>
            <a:off x="1082600" y="3982392"/>
            <a:ext cx="1119480" cy="463105"/>
          </a:xfrm>
          <a:prstGeom prst="round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Asset Classification</a:t>
            </a:r>
          </a:p>
        </p:txBody>
      </p:sp>
      <p:sp>
        <p:nvSpPr>
          <p:cNvPr id="19" name="Rounded Rectangle 18">
            <a:extLst>
              <a:ext uri="{FF2B5EF4-FFF2-40B4-BE49-F238E27FC236}">
                <a16:creationId xmlns:a16="http://schemas.microsoft.com/office/drawing/2014/main" id="{7BBBCDF3-0891-3A4B-9EFF-4D1AC18C40C0}"/>
              </a:ext>
            </a:extLst>
          </p:cNvPr>
          <p:cNvSpPr/>
          <p:nvPr/>
        </p:nvSpPr>
        <p:spPr bwMode="auto">
          <a:xfrm>
            <a:off x="2225875" y="3982392"/>
            <a:ext cx="1119479" cy="473052"/>
          </a:xfrm>
          <a:prstGeom prst="round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Preventive Maintenance &amp;Job Plans</a:t>
            </a:r>
          </a:p>
        </p:txBody>
      </p:sp>
      <p:sp>
        <p:nvSpPr>
          <p:cNvPr id="20" name="Rounded Rectangle 19">
            <a:extLst>
              <a:ext uri="{FF2B5EF4-FFF2-40B4-BE49-F238E27FC236}">
                <a16:creationId xmlns:a16="http://schemas.microsoft.com/office/drawing/2014/main" id="{34FC3D81-99C8-5742-9371-2F5A49CA827C}"/>
              </a:ext>
            </a:extLst>
          </p:cNvPr>
          <p:cNvSpPr/>
          <p:nvPr/>
        </p:nvSpPr>
        <p:spPr bwMode="auto">
          <a:xfrm>
            <a:off x="1082600" y="3487234"/>
            <a:ext cx="1119480" cy="473052"/>
          </a:xfrm>
          <a:prstGeom prst="roundRect">
            <a:avLst/>
          </a:prstGeom>
          <a:solidFill>
            <a:srgbClr val="5596E6"/>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Cable, Hanger, Deck, Bearing…</a:t>
            </a:r>
          </a:p>
        </p:txBody>
      </p:sp>
      <p:sp>
        <p:nvSpPr>
          <p:cNvPr id="21" name="Rounded Rectangle 20">
            <a:extLst>
              <a:ext uri="{FF2B5EF4-FFF2-40B4-BE49-F238E27FC236}">
                <a16:creationId xmlns:a16="http://schemas.microsoft.com/office/drawing/2014/main" id="{088F022C-2880-B049-9ECE-B4D35F504632}"/>
              </a:ext>
            </a:extLst>
          </p:cNvPr>
          <p:cNvSpPr/>
          <p:nvPr/>
        </p:nvSpPr>
        <p:spPr bwMode="auto">
          <a:xfrm>
            <a:off x="3409596" y="1313185"/>
            <a:ext cx="1259861" cy="420000"/>
          </a:xfrm>
          <a:prstGeom prst="roundRect">
            <a:avLst/>
          </a:prstGeom>
          <a:solidFill>
            <a:schemeClr val="accent2">
              <a:lumMod val="20000"/>
              <a:lumOff val="80000"/>
            </a:schemeClr>
          </a:solidFill>
          <a:ln w="9525" cap="flat" cmpd="sng" algn="ctr">
            <a:solidFill>
              <a:schemeClr val="tx2"/>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Pillar Settling</a:t>
            </a:r>
          </a:p>
        </p:txBody>
      </p:sp>
      <p:sp>
        <p:nvSpPr>
          <p:cNvPr id="22" name="Rounded Rectangle 21">
            <a:extLst>
              <a:ext uri="{FF2B5EF4-FFF2-40B4-BE49-F238E27FC236}">
                <a16:creationId xmlns:a16="http://schemas.microsoft.com/office/drawing/2014/main" id="{1F9F2B53-46D4-EF4D-842B-F64D8A9CEA73}"/>
              </a:ext>
            </a:extLst>
          </p:cNvPr>
          <p:cNvSpPr/>
          <p:nvPr/>
        </p:nvSpPr>
        <p:spPr bwMode="auto">
          <a:xfrm>
            <a:off x="5352328" y="2265920"/>
            <a:ext cx="1258671" cy="420000"/>
          </a:xfrm>
          <a:prstGeom prst="roundRect">
            <a:avLst/>
          </a:prstGeom>
          <a:solidFill>
            <a:schemeClr val="accent2">
              <a:lumMod val="20000"/>
              <a:lumOff val="80000"/>
            </a:schemeClr>
          </a:solidFill>
          <a:ln w="9525" cap="flat" cmpd="sng" algn="ctr">
            <a:solidFill>
              <a:schemeClr val="tx2"/>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Bearing Failure Prediction</a:t>
            </a:r>
          </a:p>
        </p:txBody>
      </p:sp>
      <p:sp>
        <p:nvSpPr>
          <p:cNvPr id="23" name="Rounded Rectangle 22">
            <a:extLst>
              <a:ext uri="{FF2B5EF4-FFF2-40B4-BE49-F238E27FC236}">
                <a16:creationId xmlns:a16="http://schemas.microsoft.com/office/drawing/2014/main" id="{42908AB0-B6F8-7A45-9C4E-9612DB861672}"/>
              </a:ext>
            </a:extLst>
          </p:cNvPr>
          <p:cNvSpPr/>
          <p:nvPr/>
        </p:nvSpPr>
        <p:spPr bwMode="auto">
          <a:xfrm>
            <a:off x="3369147" y="3982392"/>
            <a:ext cx="1120669" cy="473052"/>
          </a:xfrm>
          <a:prstGeom prst="round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Inspection Work Center, Defect </a:t>
            </a:r>
            <a:r>
              <a:rPr kumimoji="0" lang="en-US" sz="1050" b="0" i="0" u="none" strike="noStrike" kern="1200" cap="none" spc="0" normalizeH="0" baseline="0" noProof="0" dirty="0" err="1">
                <a:ln>
                  <a:noFill/>
                </a:ln>
                <a:solidFill>
                  <a:srgbClr val="191919"/>
                </a:solidFill>
                <a:effectLst/>
                <a:uLnTx/>
                <a:uFillTx/>
                <a:latin typeface="HelvNeue Light for IBM" pitchFamily="34" charset="0"/>
                <a:ea typeface="+mn-ea"/>
                <a:cs typeface="+mn-cs"/>
              </a:rPr>
              <a:t>Mgmt</a:t>
            </a:r>
            <a:endPar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endParaRPr>
          </a:p>
        </p:txBody>
      </p:sp>
      <p:sp>
        <p:nvSpPr>
          <p:cNvPr id="24" name="Rounded Rectangle 23">
            <a:extLst>
              <a:ext uri="{FF2B5EF4-FFF2-40B4-BE49-F238E27FC236}">
                <a16:creationId xmlns:a16="http://schemas.microsoft.com/office/drawing/2014/main" id="{B5E710E0-9043-C846-A670-6B2878B27F30}"/>
              </a:ext>
            </a:extLst>
          </p:cNvPr>
          <p:cNvSpPr/>
          <p:nvPr/>
        </p:nvSpPr>
        <p:spPr bwMode="auto">
          <a:xfrm>
            <a:off x="4513608" y="3982392"/>
            <a:ext cx="1119480" cy="473052"/>
          </a:xfrm>
          <a:prstGeom prst="round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Sensor Data Capture and Smoothing</a:t>
            </a:r>
          </a:p>
        </p:txBody>
      </p:sp>
      <p:sp>
        <p:nvSpPr>
          <p:cNvPr id="25" name="Rounded Rectangle 24">
            <a:extLst>
              <a:ext uri="{FF2B5EF4-FFF2-40B4-BE49-F238E27FC236}">
                <a16:creationId xmlns:a16="http://schemas.microsoft.com/office/drawing/2014/main" id="{136F241B-2CCF-F844-BD7A-B69132ED0FF4}"/>
              </a:ext>
            </a:extLst>
          </p:cNvPr>
          <p:cNvSpPr/>
          <p:nvPr/>
        </p:nvSpPr>
        <p:spPr bwMode="auto">
          <a:xfrm>
            <a:off x="5656883" y="3982392"/>
            <a:ext cx="1119479" cy="473052"/>
          </a:xfrm>
          <a:prstGeom prst="round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Reliability Engineer WC</a:t>
            </a:r>
          </a:p>
        </p:txBody>
      </p:sp>
      <p:sp>
        <p:nvSpPr>
          <p:cNvPr id="26" name="Rounded Rectangle 25">
            <a:extLst>
              <a:ext uri="{FF2B5EF4-FFF2-40B4-BE49-F238E27FC236}">
                <a16:creationId xmlns:a16="http://schemas.microsoft.com/office/drawing/2014/main" id="{87069E83-6B2C-5A48-8DD8-F91B9475C577}"/>
              </a:ext>
            </a:extLst>
          </p:cNvPr>
          <p:cNvSpPr/>
          <p:nvPr/>
        </p:nvSpPr>
        <p:spPr bwMode="auto">
          <a:xfrm>
            <a:off x="6800154" y="3982392"/>
            <a:ext cx="1119480" cy="473052"/>
          </a:xfrm>
          <a:prstGeom prst="round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Predictive Algorithms</a:t>
            </a:r>
          </a:p>
        </p:txBody>
      </p:sp>
      <p:sp>
        <p:nvSpPr>
          <p:cNvPr id="27" name="Rounded Rectangle 26">
            <a:extLst>
              <a:ext uri="{FF2B5EF4-FFF2-40B4-BE49-F238E27FC236}">
                <a16:creationId xmlns:a16="http://schemas.microsoft.com/office/drawing/2014/main" id="{F58A0312-EC9C-5842-898B-4E3E2CBFADE9}"/>
              </a:ext>
            </a:extLst>
          </p:cNvPr>
          <p:cNvSpPr/>
          <p:nvPr/>
        </p:nvSpPr>
        <p:spPr bwMode="auto">
          <a:xfrm>
            <a:off x="1082600" y="4494128"/>
            <a:ext cx="3400077" cy="244263"/>
          </a:xfrm>
          <a:prstGeom prst="round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EAM</a:t>
            </a:r>
          </a:p>
        </p:txBody>
      </p:sp>
      <p:sp>
        <p:nvSpPr>
          <p:cNvPr id="30" name="Rounded Rectangle 29">
            <a:extLst>
              <a:ext uri="{FF2B5EF4-FFF2-40B4-BE49-F238E27FC236}">
                <a16:creationId xmlns:a16="http://schemas.microsoft.com/office/drawing/2014/main" id="{DAD5656A-D737-6C46-9386-E5ED0B892BAB}"/>
              </a:ext>
            </a:extLst>
          </p:cNvPr>
          <p:cNvSpPr/>
          <p:nvPr/>
        </p:nvSpPr>
        <p:spPr bwMode="auto">
          <a:xfrm>
            <a:off x="4537401" y="4478655"/>
            <a:ext cx="1119480" cy="259736"/>
          </a:xfrm>
          <a:prstGeom prst="round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Monitor</a:t>
            </a:r>
          </a:p>
        </p:txBody>
      </p:sp>
      <p:sp>
        <p:nvSpPr>
          <p:cNvPr id="31" name="Rounded Rectangle 30">
            <a:extLst>
              <a:ext uri="{FF2B5EF4-FFF2-40B4-BE49-F238E27FC236}">
                <a16:creationId xmlns:a16="http://schemas.microsoft.com/office/drawing/2014/main" id="{D7C59AD3-C43A-BC49-A3F8-3F7DCCAC523D}"/>
              </a:ext>
            </a:extLst>
          </p:cNvPr>
          <p:cNvSpPr/>
          <p:nvPr/>
        </p:nvSpPr>
        <p:spPr bwMode="auto">
          <a:xfrm>
            <a:off x="5680677" y="4486391"/>
            <a:ext cx="2230631" cy="252000"/>
          </a:xfrm>
          <a:prstGeom prst="round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PMI</a:t>
            </a:r>
          </a:p>
        </p:txBody>
      </p:sp>
      <p:sp>
        <p:nvSpPr>
          <p:cNvPr id="32" name="Rounded Rectangle 31">
            <a:extLst>
              <a:ext uri="{FF2B5EF4-FFF2-40B4-BE49-F238E27FC236}">
                <a16:creationId xmlns:a16="http://schemas.microsoft.com/office/drawing/2014/main" id="{06D905B3-D392-3A4A-9BC1-A84A320EBA94}"/>
              </a:ext>
            </a:extLst>
          </p:cNvPr>
          <p:cNvSpPr/>
          <p:nvPr/>
        </p:nvSpPr>
        <p:spPr bwMode="auto">
          <a:xfrm>
            <a:off x="7944616" y="3982392"/>
            <a:ext cx="1199384" cy="473052"/>
          </a:xfrm>
          <a:prstGeom prst="round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Visual Analytics, Drone flight </a:t>
            </a:r>
            <a:r>
              <a:rPr kumimoji="0" lang="en-US" sz="1050" b="0" i="0" u="none" strike="noStrike" kern="1200" cap="none" spc="0" normalizeH="0" baseline="0" noProof="0" dirty="0" err="1">
                <a:ln>
                  <a:noFill/>
                </a:ln>
                <a:solidFill>
                  <a:srgbClr val="191919"/>
                </a:solidFill>
                <a:effectLst/>
                <a:uLnTx/>
                <a:uFillTx/>
                <a:latin typeface="HelvNeue Light for IBM" pitchFamily="34" charset="0"/>
                <a:ea typeface="+mn-ea"/>
                <a:cs typeface="+mn-cs"/>
              </a:rPr>
              <a:t>mgmt</a:t>
            </a:r>
            <a:endPar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endParaRPr>
          </a:p>
        </p:txBody>
      </p:sp>
      <p:sp>
        <p:nvSpPr>
          <p:cNvPr id="33" name="Rounded Rectangle 32">
            <a:extLst>
              <a:ext uri="{FF2B5EF4-FFF2-40B4-BE49-F238E27FC236}">
                <a16:creationId xmlns:a16="http://schemas.microsoft.com/office/drawing/2014/main" id="{428367A8-60A4-984D-A4D0-6B33DB0B1248}"/>
              </a:ext>
            </a:extLst>
          </p:cNvPr>
          <p:cNvSpPr/>
          <p:nvPr/>
        </p:nvSpPr>
        <p:spPr bwMode="auto">
          <a:xfrm>
            <a:off x="7944616" y="4478655"/>
            <a:ext cx="1188676" cy="259736"/>
          </a:xfrm>
          <a:prstGeom prst="roundRect">
            <a:avLst/>
          </a:prstGeom>
          <a:solidFill>
            <a:schemeClr val="accent1">
              <a:lumMod val="75000"/>
            </a:schemeClr>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PAIV/Drone Plat</a:t>
            </a:r>
          </a:p>
        </p:txBody>
      </p:sp>
      <p:sp>
        <p:nvSpPr>
          <p:cNvPr id="34" name="Rounded Rectangle 33">
            <a:extLst>
              <a:ext uri="{FF2B5EF4-FFF2-40B4-BE49-F238E27FC236}">
                <a16:creationId xmlns:a16="http://schemas.microsoft.com/office/drawing/2014/main" id="{2A5470E7-9097-6342-976D-B47119786F6E}"/>
              </a:ext>
            </a:extLst>
          </p:cNvPr>
          <p:cNvSpPr/>
          <p:nvPr/>
        </p:nvSpPr>
        <p:spPr bwMode="auto">
          <a:xfrm>
            <a:off x="2222304" y="3487234"/>
            <a:ext cx="1119480" cy="473052"/>
          </a:xfrm>
          <a:prstGeom prst="roundRect">
            <a:avLst/>
          </a:prstGeom>
          <a:solidFill>
            <a:srgbClr val="5596E6"/>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Bearing PM, Drain PM…</a:t>
            </a:r>
          </a:p>
        </p:txBody>
      </p:sp>
      <p:sp>
        <p:nvSpPr>
          <p:cNvPr id="35" name="Rounded Rectangle 34">
            <a:extLst>
              <a:ext uri="{FF2B5EF4-FFF2-40B4-BE49-F238E27FC236}">
                <a16:creationId xmlns:a16="http://schemas.microsoft.com/office/drawing/2014/main" id="{ACAFBF81-9C74-0544-AA8B-4A82BC5291AB}"/>
              </a:ext>
            </a:extLst>
          </p:cNvPr>
          <p:cNvSpPr/>
          <p:nvPr/>
        </p:nvSpPr>
        <p:spPr bwMode="auto">
          <a:xfrm>
            <a:off x="3363199" y="3487234"/>
            <a:ext cx="1119479" cy="473052"/>
          </a:xfrm>
          <a:prstGeom prst="roundRect">
            <a:avLst/>
          </a:prstGeom>
          <a:solidFill>
            <a:srgbClr val="5596E6"/>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Concrete Inspection, Cable Insp.</a:t>
            </a:r>
          </a:p>
        </p:txBody>
      </p:sp>
      <p:sp>
        <p:nvSpPr>
          <p:cNvPr id="36" name="Rounded Rectangle 35">
            <a:extLst>
              <a:ext uri="{FF2B5EF4-FFF2-40B4-BE49-F238E27FC236}">
                <a16:creationId xmlns:a16="http://schemas.microsoft.com/office/drawing/2014/main" id="{440776F9-4A60-DC4F-93F7-EFB523DDBDD9}"/>
              </a:ext>
            </a:extLst>
          </p:cNvPr>
          <p:cNvSpPr/>
          <p:nvPr/>
        </p:nvSpPr>
        <p:spPr bwMode="auto">
          <a:xfrm>
            <a:off x="4502903" y="3487234"/>
            <a:ext cx="1119479" cy="473052"/>
          </a:xfrm>
          <a:prstGeom prst="roundRect">
            <a:avLst/>
          </a:prstGeom>
          <a:solidFill>
            <a:srgbClr val="5596E6"/>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Vibration, Settling, Sway vs Wind</a:t>
            </a:r>
          </a:p>
        </p:txBody>
      </p:sp>
      <p:sp>
        <p:nvSpPr>
          <p:cNvPr id="37" name="Rounded Rectangle 36">
            <a:extLst>
              <a:ext uri="{FF2B5EF4-FFF2-40B4-BE49-F238E27FC236}">
                <a16:creationId xmlns:a16="http://schemas.microsoft.com/office/drawing/2014/main" id="{862D2662-3661-F64F-9B9E-4FDFB1F7504D}"/>
              </a:ext>
            </a:extLst>
          </p:cNvPr>
          <p:cNvSpPr/>
          <p:nvPr/>
        </p:nvSpPr>
        <p:spPr bwMode="auto">
          <a:xfrm>
            <a:off x="5642607" y="3487234"/>
            <a:ext cx="1120669" cy="473052"/>
          </a:xfrm>
          <a:prstGeom prst="roundRect">
            <a:avLst/>
          </a:prstGeom>
          <a:solidFill>
            <a:srgbClr val="5596E6"/>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Bridge Health, Cable Health,… </a:t>
            </a:r>
          </a:p>
        </p:txBody>
      </p:sp>
      <p:sp>
        <p:nvSpPr>
          <p:cNvPr id="38" name="Rounded Rectangle 37">
            <a:extLst>
              <a:ext uri="{FF2B5EF4-FFF2-40B4-BE49-F238E27FC236}">
                <a16:creationId xmlns:a16="http://schemas.microsoft.com/office/drawing/2014/main" id="{7A1021D4-545A-0045-9C27-4A7C58D070BF}"/>
              </a:ext>
            </a:extLst>
          </p:cNvPr>
          <p:cNvSpPr/>
          <p:nvPr/>
        </p:nvSpPr>
        <p:spPr bwMode="auto">
          <a:xfrm>
            <a:off x="1319344" y="2620711"/>
            <a:ext cx="1259860" cy="421105"/>
          </a:xfrm>
          <a:prstGeom prst="roundRect">
            <a:avLst/>
          </a:prstGeom>
          <a:solidFill>
            <a:schemeClr val="accent2">
              <a:lumMod val="20000"/>
              <a:lumOff val="80000"/>
            </a:schemeClr>
          </a:solidFill>
          <a:ln w="9525" cap="flat" cmpd="sng" algn="ctr">
            <a:solidFill>
              <a:schemeClr val="tx2"/>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Traffic and Weight Sensors</a:t>
            </a:r>
          </a:p>
        </p:txBody>
      </p:sp>
      <p:sp>
        <p:nvSpPr>
          <p:cNvPr id="39" name="Rounded Rectangle 38">
            <a:extLst>
              <a:ext uri="{FF2B5EF4-FFF2-40B4-BE49-F238E27FC236}">
                <a16:creationId xmlns:a16="http://schemas.microsoft.com/office/drawing/2014/main" id="{35353DFD-3057-EA47-A158-B41C0AA6ABB8}"/>
              </a:ext>
            </a:extLst>
          </p:cNvPr>
          <p:cNvSpPr/>
          <p:nvPr/>
        </p:nvSpPr>
        <p:spPr bwMode="auto">
          <a:xfrm>
            <a:off x="1619143" y="1010343"/>
            <a:ext cx="1258671" cy="421104"/>
          </a:xfrm>
          <a:prstGeom prst="roundRect">
            <a:avLst/>
          </a:prstGeom>
          <a:solidFill>
            <a:schemeClr val="accent2">
              <a:lumMod val="20000"/>
              <a:lumOff val="80000"/>
            </a:schemeClr>
          </a:solidFill>
          <a:ln w="9525" cap="flat" cmpd="sng" algn="ctr">
            <a:solidFill>
              <a:schemeClr val="tx2"/>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Weather History</a:t>
            </a:r>
          </a:p>
        </p:txBody>
      </p:sp>
      <p:sp>
        <p:nvSpPr>
          <p:cNvPr id="40" name="Rounded Rectangle 39">
            <a:extLst>
              <a:ext uri="{FF2B5EF4-FFF2-40B4-BE49-F238E27FC236}">
                <a16:creationId xmlns:a16="http://schemas.microsoft.com/office/drawing/2014/main" id="{C0ADC3B7-FEE9-2341-8D91-FBA4F4B322D2}"/>
              </a:ext>
            </a:extLst>
          </p:cNvPr>
          <p:cNvSpPr/>
          <p:nvPr/>
        </p:nvSpPr>
        <p:spPr bwMode="auto">
          <a:xfrm>
            <a:off x="6994072" y="2582025"/>
            <a:ext cx="1258671" cy="421104"/>
          </a:xfrm>
          <a:prstGeom prst="roundRect">
            <a:avLst/>
          </a:prstGeom>
          <a:solidFill>
            <a:schemeClr val="accent2">
              <a:lumMod val="20000"/>
              <a:lumOff val="80000"/>
            </a:schemeClr>
          </a:solidFill>
          <a:ln w="9525" cap="flat" cmpd="sng" algn="ctr">
            <a:solidFill>
              <a:schemeClr val="tx2"/>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Earthquakes</a:t>
            </a:r>
          </a:p>
        </p:txBody>
      </p:sp>
      <p:sp>
        <p:nvSpPr>
          <p:cNvPr id="41" name="Rounded Rectangle 40">
            <a:extLst>
              <a:ext uri="{FF2B5EF4-FFF2-40B4-BE49-F238E27FC236}">
                <a16:creationId xmlns:a16="http://schemas.microsoft.com/office/drawing/2014/main" id="{7DD555F7-5C36-DC46-9E73-DCABABF249B8}"/>
              </a:ext>
            </a:extLst>
          </p:cNvPr>
          <p:cNvSpPr/>
          <p:nvPr/>
        </p:nvSpPr>
        <p:spPr bwMode="auto">
          <a:xfrm>
            <a:off x="5620003" y="647817"/>
            <a:ext cx="1259861" cy="421104"/>
          </a:xfrm>
          <a:prstGeom prst="roundRect">
            <a:avLst/>
          </a:prstGeom>
          <a:solidFill>
            <a:schemeClr val="accent2">
              <a:lumMod val="20000"/>
              <a:lumOff val="80000"/>
            </a:schemeClr>
          </a:solidFill>
          <a:ln w="9525" cap="flat" cmpd="sng" algn="ctr">
            <a:solidFill>
              <a:schemeClr val="tx2"/>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Cable Vibration</a:t>
            </a:r>
          </a:p>
        </p:txBody>
      </p:sp>
      <p:sp>
        <p:nvSpPr>
          <p:cNvPr id="42" name="Rounded Rectangle 41">
            <a:extLst>
              <a:ext uri="{FF2B5EF4-FFF2-40B4-BE49-F238E27FC236}">
                <a16:creationId xmlns:a16="http://schemas.microsoft.com/office/drawing/2014/main" id="{0336E444-A35B-9A45-919D-A00A1023C93D}"/>
              </a:ext>
            </a:extLst>
          </p:cNvPr>
          <p:cNvSpPr/>
          <p:nvPr/>
        </p:nvSpPr>
        <p:spPr bwMode="auto">
          <a:xfrm>
            <a:off x="7109470" y="1313185"/>
            <a:ext cx="1259861" cy="420000"/>
          </a:xfrm>
          <a:prstGeom prst="roundRect">
            <a:avLst/>
          </a:prstGeom>
          <a:solidFill>
            <a:schemeClr val="accent2">
              <a:lumMod val="20000"/>
              <a:lumOff val="80000"/>
            </a:schemeClr>
          </a:solidFill>
          <a:ln w="9525" cap="flat" cmpd="sng" algn="ctr">
            <a:solidFill>
              <a:schemeClr val="tx2"/>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Drain Cleaning Schedule</a:t>
            </a:r>
          </a:p>
        </p:txBody>
      </p:sp>
      <p:sp>
        <p:nvSpPr>
          <p:cNvPr id="43" name="Rounded Rectangle 42">
            <a:extLst>
              <a:ext uri="{FF2B5EF4-FFF2-40B4-BE49-F238E27FC236}">
                <a16:creationId xmlns:a16="http://schemas.microsoft.com/office/drawing/2014/main" id="{84F3681D-9AB7-EB4F-A493-6722D6DD043B}"/>
              </a:ext>
            </a:extLst>
          </p:cNvPr>
          <p:cNvSpPr/>
          <p:nvPr/>
        </p:nvSpPr>
        <p:spPr bwMode="auto">
          <a:xfrm>
            <a:off x="6783498" y="3487234"/>
            <a:ext cx="1119480" cy="473052"/>
          </a:xfrm>
          <a:prstGeom prst="roundRect">
            <a:avLst/>
          </a:prstGeom>
          <a:solidFill>
            <a:srgbClr val="5596E6"/>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Bearing Failure, Strand Failure…</a:t>
            </a:r>
          </a:p>
        </p:txBody>
      </p:sp>
      <p:sp>
        <p:nvSpPr>
          <p:cNvPr id="44" name="Rounded Rectangle 43">
            <a:extLst>
              <a:ext uri="{FF2B5EF4-FFF2-40B4-BE49-F238E27FC236}">
                <a16:creationId xmlns:a16="http://schemas.microsoft.com/office/drawing/2014/main" id="{9D42E13B-F5C7-084A-A56B-9EAB8BFF4836}"/>
              </a:ext>
            </a:extLst>
          </p:cNvPr>
          <p:cNvSpPr/>
          <p:nvPr/>
        </p:nvSpPr>
        <p:spPr bwMode="auto">
          <a:xfrm>
            <a:off x="7923203" y="3487234"/>
            <a:ext cx="1210091" cy="473052"/>
          </a:xfrm>
          <a:prstGeom prst="roundRect">
            <a:avLst/>
          </a:prstGeom>
          <a:solidFill>
            <a:srgbClr val="5596E6"/>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Concrete Crack Model, Steel Corrosion…</a:t>
            </a:r>
          </a:p>
        </p:txBody>
      </p:sp>
      <p:sp>
        <p:nvSpPr>
          <p:cNvPr id="45" name="Rounded Rectangle 44">
            <a:extLst>
              <a:ext uri="{FF2B5EF4-FFF2-40B4-BE49-F238E27FC236}">
                <a16:creationId xmlns:a16="http://schemas.microsoft.com/office/drawing/2014/main" id="{74D30BCD-C51B-924A-9476-5E3A72791E3E}"/>
              </a:ext>
            </a:extLst>
          </p:cNvPr>
          <p:cNvSpPr/>
          <p:nvPr/>
        </p:nvSpPr>
        <p:spPr bwMode="auto">
          <a:xfrm>
            <a:off x="1082600" y="3144603"/>
            <a:ext cx="2533997" cy="305052"/>
          </a:xfrm>
          <a:prstGeom prst="roundRect">
            <a:avLst/>
          </a:prstGeom>
          <a:solidFill>
            <a:schemeClr val="accent2">
              <a:lumMod val="60000"/>
              <a:lumOff val="40000"/>
            </a:schemeClr>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Closure Optimization</a:t>
            </a:r>
          </a:p>
        </p:txBody>
      </p:sp>
      <p:sp>
        <p:nvSpPr>
          <p:cNvPr id="46" name="Rounded Rectangle 45">
            <a:extLst>
              <a:ext uri="{FF2B5EF4-FFF2-40B4-BE49-F238E27FC236}">
                <a16:creationId xmlns:a16="http://schemas.microsoft.com/office/drawing/2014/main" id="{528488F4-D4BA-CD46-8B86-C0531BA7CFA1}"/>
              </a:ext>
            </a:extLst>
          </p:cNvPr>
          <p:cNvSpPr/>
          <p:nvPr/>
        </p:nvSpPr>
        <p:spPr bwMode="auto">
          <a:xfrm>
            <a:off x="3657046" y="3144603"/>
            <a:ext cx="2820708" cy="305052"/>
          </a:xfrm>
          <a:prstGeom prst="roundRect">
            <a:avLst/>
          </a:prstGeom>
          <a:solidFill>
            <a:schemeClr val="accent2">
              <a:lumMod val="60000"/>
              <a:lumOff val="40000"/>
            </a:schemeClr>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Next Best Action</a:t>
            </a:r>
          </a:p>
        </p:txBody>
      </p:sp>
      <p:sp>
        <p:nvSpPr>
          <p:cNvPr id="47" name="Rounded Rectangle 46">
            <a:extLst>
              <a:ext uri="{FF2B5EF4-FFF2-40B4-BE49-F238E27FC236}">
                <a16:creationId xmlns:a16="http://schemas.microsoft.com/office/drawing/2014/main" id="{A6DD7A9A-EA05-1943-ADA4-83B4F4422DBB}"/>
              </a:ext>
            </a:extLst>
          </p:cNvPr>
          <p:cNvSpPr/>
          <p:nvPr/>
        </p:nvSpPr>
        <p:spPr bwMode="auto">
          <a:xfrm>
            <a:off x="6478532" y="3144644"/>
            <a:ext cx="2654760" cy="318276"/>
          </a:xfrm>
          <a:prstGeom prst="roundRect">
            <a:avLst/>
          </a:prstGeom>
          <a:solidFill>
            <a:schemeClr val="accent2">
              <a:lumMod val="60000"/>
              <a:lumOff val="40000"/>
            </a:schemeClr>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Regulatory Advisor</a:t>
            </a:r>
          </a:p>
        </p:txBody>
      </p:sp>
      <p:sp>
        <p:nvSpPr>
          <p:cNvPr id="48" name="Rounded Rectangle 47">
            <a:extLst>
              <a:ext uri="{FF2B5EF4-FFF2-40B4-BE49-F238E27FC236}">
                <a16:creationId xmlns:a16="http://schemas.microsoft.com/office/drawing/2014/main" id="{724D248E-D022-2F42-B3D1-58D29FAC3057}"/>
              </a:ext>
            </a:extLst>
          </p:cNvPr>
          <p:cNvSpPr/>
          <p:nvPr/>
        </p:nvSpPr>
        <p:spPr bwMode="auto">
          <a:xfrm>
            <a:off x="2150925" y="1938763"/>
            <a:ext cx="1258671" cy="421104"/>
          </a:xfrm>
          <a:prstGeom prst="roundRect">
            <a:avLst/>
          </a:prstGeom>
          <a:solidFill>
            <a:schemeClr val="accent2">
              <a:lumMod val="20000"/>
              <a:lumOff val="80000"/>
            </a:schemeClr>
          </a:solidFill>
          <a:ln w="9525" cap="flat" cmpd="sng" algn="ctr">
            <a:solidFill>
              <a:schemeClr val="tx2"/>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Closure Optimization</a:t>
            </a:r>
          </a:p>
        </p:txBody>
      </p:sp>
      <p:sp>
        <p:nvSpPr>
          <p:cNvPr id="49" name="Rounded Rectangle 48">
            <a:extLst>
              <a:ext uri="{FF2B5EF4-FFF2-40B4-BE49-F238E27FC236}">
                <a16:creationId xmlns:a16="http://schemas.microsoft.com/office/drawing/2014/main" id="{7267AA33-F7DA-A347-8879-36DA72B6AF98}"/>
              </a:ext>
            </a:extLst>
          </p:cNvPr>
          <p:cNvSpPr/>
          <p:nvPr/>
        </p:nvSpPr>
        <p:spPr bwMode="auto">
          <a:xfrm>
            <a:off x="0" y="3982392"/>
            <a:ext cx="1033824" cy="755999"/>
          </a:xfrm>
          <a:prstGeom prst="roundRect">
            <a:avLst/>
          </a:prstGeom>
          <a:solidFill>
            <a:schemeClr val="bg2"/>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Core Function</a:t>
            </a:r>
          </a:p>
        </p:txBody>
      </p:sp>
      <p:sp>
        <p:nvSpPr>
          <p:cNvPr id="50" name="Rounded Rectangle 49">
            <a:extLst>
              <a:ext uri="{FF2B5EF4-FFF2-40B4-BE49-F238E27FC236}">
                <a16:creationId xmlns:a16="http://schemas.microsoft.com/office/drawing/2014/main" id="{CCA866F9-1E6D-4F49-BD19-1C3EE6866D9C}"/>
              </a:ext>
            </a:extLst>
          </p:cNvPr>
          <p:cNvSpPr/>
          <p:nvPr/>
        </p:nvSpPr>
        <p:spPr bwMode="auto">
          <a:xfrm>
            <a:off x="10707" y="3487234"/>
            <a:ext cx="1033823" cy="457578"/>
          </a:xfrm>
          <a:prstGeom prst="roundRect">
            <a:avLst/>
          </a:prstGeom>
          <a:solidFill>
            <a:schemeClr val="bg2"/>
          </a:solidFill>
          <a:ln w="9525" cap="flat" cmpd="sng" algn="ctr">
            <a:solidFill>
              <a:schemeClr val="bg1"/>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Civil Infra Configuration</a:t>
            </a:r>
          </a:p>
        </p:txBody>
      </p:sp>
      <p:sp>
        <p:nvSpPr>
          <p:cNvPr id="51" name="Rounded Rectangle 40">
            <a:extLst>
              <a:ext uri="{FF2B5EF4-FFF2-40B4-BE49-F238E27FC236}">
                <a16:creationId xmlns:a16="http://schemas.microsoft.com/office/drawing/2014/main" id="{24014841-49ED-EB48-B35F-7FD703B20DC3}"/>
              </a:ext>
            </a:extLst>
          </p:cNvPr>
          <p:cNvSpPr>
            <a:spLocks noChangeArrowheads="1"/>
          </p:cNvSpPr>
          <p:nvPr/>
        </p:nvSpPr>
        <p:spPr bwMode="auto">
          <a:xfrm>
            <a:off x="10707" y="3144603"/>
            <a:ext cx="1033823" cy="316105"/>
          </a:xfrm>
          <a:prstGeom prst="roundRect">
            <a:avLst>
              <a:gd name="adj" fmla="val 16667"/>
            </a:avLst>
          </a:prstGeom>
          <a:solidFill>
            <a:schemeClr val="bg2"/>
          </a:solidFill>
          <a:ln w="9525" algn="ctr">
            <a:solidFill>
              <a:schemeClr val="bg1"/>
            </a:solidFill>
            <a:round/>
            <a:headEnd/>
            <a:tailEnd/>
          </a:ln>
        </p:spPr>
        <p:txBody>
          <a:bodyPr lIns="0" tIns="0" rIns="0" bIns="0" anchor="ctr"/>
          <a:lstStyle>
            <a:lvl1pPr defTabSz="1217613">
              <a:defRPr>
                <a:solidFill>
                  <a:schemeClr val="tx1"/>
                </a:solidFill>
                <a:latin typeface="Calibri" panose="020F0502020204030204" pitchFamily="34" charset="0"/>
              </a:defRPr>
            </a:lvl1pPr>
            <a:lvl2pPr marL="742950" indent="-285750" defTabSz="1217613">
              <a:defRPr>
                <a:solidFill>
                  <a:schemeClr val="tx1"/>
                </a:solidFill>
                <a:latin typeface="Calibri" panose="020F0502020204030204" pitchFamily="34" charset="0"/>
              </a:defRPr>
            </a:lvl2pPr>
            <a:lvl3pPr marL="1143000" indent="-228600" defTabSz="1217613">
              <a:defRPr>
                <a:solidFill>
                  <a:schemeClr val="tx1"/>
                </a:solidFill>
                <a:latin typeface="Calibri" panose="020F0502020204030204" pitchFamily="34" charset="0"/>
              </a:defRPr>
            </a:lvl3pPr>
            <a:lvl4pPr marL="1600200" indent="-228600" defTabSz="1217613">
              <a:defRPr>
                <a:solidFill>
                  <a:schemeClr val="tx1"/>
                </a:solidFill>
                <a:latin typeface="Calibri" panose="020F0502020204030204" pitchFamily="34" charset="0"/>
              </a:defRPr>
            </a:lvl4pPr>
            <a:lvl5pPr marL="2057400" indent="-228600" defTabSz="1217613">
              <a:defRPr>
                <a:solidFill>
                  <a:schemeClr val="tx1"/>
                </a:solidFill>
                <a:latin typeface="Calibri" panose="020F0502020204030204" pitchFamily="34" charset="0"/>
              </a:defRPr>
            </a:lvl5pPr>
            <a:lvl6pPr marL="2514600" indent="-228600" defTabSz="1217613" eaLnBrk="0" fontAlgn="base" hangingPunct="0">
              <a:spcBef>
                <a:spcPct val="0"/>
              </a:spcBef>
              <a:spcAft>
                <a:spcPct val="0"/>
              </a:spcAft>
              <a:defRPr>
                <a:solidFill>
                  <a:schemeClr val="tx1"/>
                </a:solidFill>
                <a:latin typeface="Calibri" panose="020F0502020204030204" pitchFamily="34" charset="0"/>
              </a:defRPr>
            </a:lvl6pPr>
            <a:lvl7pPr marL="2971800" indent="-228600" defTabSz="1217613" eaLnBrk="0" fontAlgn="base" hangingPunct="0">
              <a:spcBef>
                <a:spcPct val="0"/>
              </a:spcBef>
              <a:spcAft>
                <a:spcPct val="0"/>
              </a:spcAft>
              <a:defRPr>
                <a:solidFill>
                  <a:schemeClr val="tx1"/>
                </a:solidFill>
                <a:latin typeface="Calibri" panose="020F0502020204030204" pitchFamily="34" charset="0"/>
              </a:defRPr>
            </a:lvl7pPr>
            <a:lvl8pPr marL="3429000" indent="-228600" defTabSz="1217613" eaLnBrk="0" fontAlgn="base" hangingPunct="0">
              <a:spcBef>
                <a:spcPct val="0"/>
              </a:spcBef>
              <a:spcAft>
                <a:spcPct val="0"/>
              </a:spcAft>
              <a:defRPr>
                <a:solidFill>
                  <a:schemeClr val="tx1"/>
                </a:solidFill>
                <a:latin typeface="Calibri" panose="020F0502020204030204" pitchFamily="34" charset="0"/>
              </a:defRPr>
            </a:lvl8pPr>
            <a:lvl9pPr marL="3886200" indent="-228600" defTabSz="12176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1217613" rtl="0" eaLnBrk="1" fontAlgn="auto" latinLnBrk="0" hangingPunct="1">
              <a:lnSpc>
                <a:spcPct val="90000"/>
              </a:lnSpc>
              <a:spcBef>
                <a:spcPts val="0"/>
              </a:spcBef>
              <a:spcAft>
                <a:spcPts val="0"/>
              </a:spcAft>
              <a:buClrTx/>
              <a:buSzTx/>
              <a:buFontTx/>
              <a:buNone/>
              <a:tabLst/>
              <a:defRPr/>
            </a:pPr>
            <a:r>
              <a:rPr kumimoji="0" lang="en-US" altLang="de-DE" sz="1050" b="0" i="0" u="none" strike="noStrike" kern="1200" cap="none" spc="0" normalizeH="0" baseline="0" noProof="0">
                <a:ln>
                  <a:noFill/>
                </a:ln>
                <a:solidFill>
                  <a:srgbClr val="191919"/>
                </a:solidFill>
                <a:effectLst/>
                <a:uLnTx/>
                <a:uFillTx/>
                <a:latin typeface="HelvNeue Light for IBM"/>
                <a:ea typeface="+mn-ea"/>
                <a:cs typeface="+mn-cs"/>
              </a:rPr>
              <a:t>CI Tools</a:t>
            </a:r>
          </a:p>
        </p:txBody>
      </p:sp>
      <p:sp>
        <p:nvSpPr>
          <p:cNvPr id="52" name="Rounded Rectangle 41">
            <a:extLst>
              <a:ext uri="{FF2B5EF4-FFF2-40B4-BE49-F238E27FC236}">
                <a16:creationId xmlns:a16="http://schemas.microsoft.com/office/drawing/2014/main" id="{F19D1CBA-9C00-45CA-8D23-DA13BDD47CFA}"/>
              </a:ext>
            </a:extLst>
          </p:cNvPr>
          <p:cNvSpPr/>
          <p:nvPr/>
        </p:nvSpPr>
        <p:spPr bwMode="auto">
          <a:xfrm>
            <a:off x="7739400" y="1885585"/>
            <a:ext cx="1259861" cy="420000"/>
          </a:xfrm>
          <a:prstGeom prst="roundRect">
            <a:avLst/>
          </a:prstGeom>
          <a:solidFill>
            <a:schemeClr val="accent2">
              <a:lumMod val="20000"/>
              <a:lumOff val="80000"/>
            </a:schemeClr>
          </a:solidFill>
          <a:ln w="9525" cap="flat" cmpd="sng" algn="ctr">
            <a:solidFill>
              <a:schemeClr val="tx2"/>
            </a:solidFill>
            <a:prstDash val="solid"/>
            <a:round/>
            <a:headEnd type="none" w="med" len="med"/>
            <a:tailEnd type="none" w="med" len="med"/>
          </a:ln>
          <a:effectLst/>
        </p:spPr>
        <p:txBody>
          <a:bodyPr lIns="0" tIns="0" rIns="0" bIns="0"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91919"/>
                </a:solidFill>
                <a:effectLst/>
                <a:uLnTx/>
                <a:uFillTx/>
                <a:latin typeface="HelvNeue Light for IBM" pitchFamily="34" charset="0"/>
                <a:ea typeface="+mn-ea"/>
                <a:cs typeface="+mn-cs"/>
              </a:rPr>
              <a:t>Steel Corrosion</a:t>
            </a:r>
          </a:p>
        </p:txBody>
      </p:sp>
      <p:sp>
        <p:nvSpPr>
          <p:cNvPr id="53" name="Slide Number Placeholder 4">
            <a:extLst>
              <a:ext uri="{FF2B5EF4-FFF2-40B4-BE49-F238E27FC236}">
                <a16:creationId xmlns:a16="http://schemas.microsoft.com/office/drawing/2014/main" id="{F8DACF86-5A25-4A59-8DA3-AC52DCFD250A}"/>
              </a:ext>
            </a:extLst>
          </p:cNvPr>
          <p:cNvSpPr txBox="1">
            <a:spLocks/>
          </p:cNvSpPr>
          <p:nvPr/>
        </p:nvSpPr>
        <p:spPr>
          <a:xfrm>
            <a:off x="8663679" y="4939090"/>
            <a:ext cx="393427" cy="22151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685792" rtl="0" eaLnBrk="1" fontAlgn="auto" latinLnBrk="0" hangingPunct="1">
              <a:lnSpc>
                <a:spcPct val="100000"/>
              </a:lnSpc>
              <a:spcBef>
                <a:spcPts val="0"/>
              </a:spcBef>
              <a:spcAft>
                <a:spcPts val="0"/>
              </a:spcAft>
              <a:buClrTx/>
              <a:buSzTx/>
              <a:buFontTx/>
              <a:buNone/>
              <a:tabLst/>
              <a:defRPr/>
            </a:pPr>
            <a:fld id="{E4DBDE34-E9B5-E04F-B662-69720E4BCB53}" type="slidenum">
              <a:rPr kumimoji="0" lang="en-US" sz="600" b="0" i="0" u="none" strike="noStrike" kern="1200" cap="none" spc="0" normalizeH="0" baseline="0" noProof="0">
                <a:ln>
                  <a:noFill/>
                </a:ln>
                <a:solidFill>
                  <a:srgbClr val="595959"/>
                </a:solidFill>
                <a:effectLst/>
                <a:uLnTx/>
                <a:uFillTx/>
                <a:latin typeface="IBM Plex Sans"/>
                <a:ea typeface="+mn-ea"/>
                <a:cs typeface="Arial" charset="0"/>
              </a:rPr>
              <a:pPr marL="0" marR="0" lvl="0" indent="0" algn="l" defTabSz="685792" rtl="0" eaLnBrk="1" fontAlgn="auto" latinLnBrk="0" hangingPunct="1">
                <a:lnSpc>
                  <a:spcPct val="100000"/>
                </a:lnSpc>
                <a:spcBef>
                  <a:spcPts val="0"/>
                </a:spcBef>
                <a:spcAft>
                  <a:spcPts val="0"/>
                </a:spcAft>
                <a:buClrTx/>
                <a:buSzTx/>
                <a:buFontTx/>
                <a:buNone/>
                <a:tabLst/>
                <a:defRPr/>
              </a:pPr>
              <a:t>37</a:t>
            </a:fld>
            <a:endParaRPr kumimoji="0" lang="en-US" sz="600" b="0" i="0" u="none" strike="noStrike" kern="1200" cap="none" spc="0" normalizeH="0" baseline="0" noProof="0" dirty="0">
              <a:ln>
                <a:noFill/>
              </a:ln>
              <a:solidFill>
                <a:srgbClr val="595959"/>
              </a:solidFill>
              <a:effectLst/>
              <a:uLnTx/>
              <a:uFillTx/>
              <a:latin typeface="IBM Plex Sans"/>
              <a:ea typeface="+mn-ea"/>
              <a:cs typeface="Arial" charset="0"/>
            </a:endParaRPr>
          </a:p>
        </p:txBody>
      </p:sp>
      <p:sp>
        <p:nvSpPr>
          <p:cNvPr id="54" name="Footer Placeholder 9">
            <a:extLst>
              <a:ext uri="{FF2B5EF4-FFF2-40B4-BE49-F238E27FC236}">
                <a16:creationId xmlns:a16="http://schemas.microsoft.com/office/drawing/2014/main" id="{20CB58B5-4DE2-470A-85CF-5BAF7FD51CB8}"/>
              </a:ext>
            </a:extLst>
          </p:cNvPr>
          <p:cNvSpPr txBox="1">
            <a:spLocks/>
          </p:cNvSpPr>
          <p:nvPr/>
        </p:nvSpPr>
        <p:spPr>
          <a:xfrm>
            <a:off x="228600" y="4883124"/>
            <a:ext cx="6400800" cy="137160"/>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000000"/>
                </a:solidFill>
                <a:effectLst/>
                <a:uLnTx/>
                <a:uFillTx/>
                <a:latin typeface="IBM Plex Sans"/>
                <a:ea typeface="+mn-ea"/>
                <a:cs typeface="Arial" charset="0"/>
              </a:rPr>
              <a:t>IBM Watson IoT / © 2020 IBM Corporation</a:t>
            </a:r>
            <a:endParaRPr kumimoji="0" lang="en-US" sz="600" b="0" i="0" u="none" strike="noStrike" kern="1200" cap="none" spc="0" normalizeH="0" baseline="0" noProof="0" dirty="0">
              <a:ln>
                <a:noFill/>
              </a:ln>
              <a:solidFill>
                <a:srgbClr val="000000"/>
              </a:solidFill>
              <a:effectLst/>
              <a:uLnTx/>
              <a:uFillTx/>
              <a:latin typeface="IBM Plex Sans"/>
              <a:ea typeface="+mn-ea"/>
              <a:cs typeface="Arial" charset="0"/>
            </a:endParaRPr>
          </a:p>
        </p:txBody>
      </p:sp>
    </p:spTree>
    <p:extLst>
      <p:ext uri="{BB962C8B-B14F-4D97-AF65-F5344CB8AC3E}">
        <p14:creationId xmlns:p14="http://schemas.microsoft.com/office/powerpoint/2010/main" val="367614291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E40B6B5-3A91-4E6C-B643-E219B4122CFB}"/>
              </a:ext>
            </a:extLst>
          </p:cNvPr>
          <p:cNvSpPr/>
          <p:nvPr/>
        </p:nvSpPr>
        <p:spPr>
          <a:xfrm>
            <a:off x="230188" y="3918857"/>
            <a:ext cx="8629365" cy="924488"/>
          </a:xfrm>
          <a:prstGeom prst="rect">
            <a:avLst/>
          </a:prstGeom>
          <a:solidFill>
            <a:schemeClr val="accent1">
              <a:lumMod val="40000"/>
              <a:lumOff val="60000"/>
            </a:schemeClr>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pic>
        <p:nvPicPr>
          <p:cNvPr id="2" name="Picture 1">
            <a:extLst>
              <a:ext uri="{FF2B5EF4-FFF2-40B4-BE49-F238E27FC236}">
                <a16:creationId xmlns:a16="http://schemas.microsoft.com/office/drawing/2014/main" id="{2D0874E8-142E-4F72-A5C6-8CEFA4C91AC4}"/>
              </a:ext>
            </a:extLst>
          </p:cNvPr>
          <p:cNvPicPr>
            <a:picLocks noChangeAspect="1"/>
          </p:cNvPicPr>
          <p:nvPr/>
        </p:nvPicPr>
        <p:blipFill>
          <a:blip r:embed="rId3"/>
          <a:stretch>
            <a:fillRect/>
          </a:stretch>
        </p:blipFill>
        <p:spPr>
          <a:xfrm>
            <a:off x="230188" y="988241"/>
            <a:ext cx="8629365" cy="2971257"/>
          </a:xfrm>
          <a:prstGeom prst="rect">
            <a:avLst/>
          </a:prstGeom>
        </p:spPr>
      </p:pic>
      <p:sp>
        <p:nvSpPr>
          <p:cNvPr id="6" name="Content Placeholder 5"/>
          <p:cNvSpPr>
            <a:spLocks noGrp="1"/>
          </p:cNvSpPr>
          <p:nvPr>
            <p:ph idx="1"/>
          </p:nvPr>
        </p:nvSpPr>
        <p:spPr>
          <a:xfrm>
            <a:off x="257384" y="487935"/>
            <a:ext cx="8541385" cy="523632"/>
          </a:xfrm>
        </p:spPr>
        <p:txBody>
          <a:bodyPr/>
          <a:lstStyle/>
          <a:p>
            <a:pPr>
              <a:spcBef>
                <a:spcPts val="338"/>
              </a:spcBef>
              <a:defRPr/>
            </a:pPr>
            <a:r>
              <a:rPr lang="en-US" i="1" dirty="0"/>
              <a:t>Provides users with an accurate, detailed picture of their MRO inventory performance and powerful capabilities to make informed decisions that balance cost and risk to optimize MRO inventories</a:t>
            </a:r>
            <a:endParaRPr lang="en-US" altLang="en-US" sz="2000" i="1" dirty="0">
              <a:ea typeface="Avenir Next" charset="0"/>
              <a:sym typeface="Helvetica Neue Light Italic for" charset="0"/>
            </a:endParaRPr>
          </a:p>
          <a:p>
            <a:pPr>
              <a:spcBef>
                <a:spcPts val="338"/>
              </a:spcBef>
              <a:defRPr/>
            </a:pPr>
            <a:endParaRPr lang="en-US" altLang="en-US" sz="2000" i="1" dirty="0">
              <a:ea typeface="Avenir Next" charset="0"/>
              <a:sym typeface="Helvetica Neue Light Italic for" charset="0"/>
            </a:endParaRPr>
          </a:p>
          <a:p>
            <a:pPr>
              <a:spcBef>
                <a:spcPts val="338"/>
              </a:spcBef>
              <a:defRPr/>
            </a:pPr>
            <a:endParaRPr lang="en-US" altLang="en-US" sz="2000" i="1" dirty="0">
              <a:ea typeface="Avenir Next" charset="0"/>
              <a:sym typeface="Helvetica Neue Light Italic for" charset="0"/>
            </a:endParaRPr>
          </a:p>
          <a:p>
            <a:pPr>
              <a:spcBef>
                <a:spcPts val="338"/>
              </a:spcBef>
              <a:defRPr/>
            </a:pPr>
            <a:endParaRPr lang="en-US" altLang="en-US" sz="2000" i="1" dirty="0">
              <a:ea typeface="Avenir Next" charset="0"/>
              <a:sym typeface="Helvetica Neue Light Italic for" charset="0"/>
            </a:endParaRPr>
          </a:p>
          <a:p>
            <a:pPr>
              <a:spcBef>
                <a:spcPts val="338"/>
              </a:spcBef>
              <a:defRPr/>
            </a:pPr>
            <a:endParaRPr lang="en-US" altLang="en-US" sz="2000" i="1" dirty="0">
              <a:ea typeface="Avenir Next" charset="0"/>
              <a:sym typeface="Helvetica Neue Light Italic for" charset="0"/>
            </a:endParaRPr>
          </a:p>
          <a:p>
            <a:pPr>
              <a:spcBef>
                <a:spcPts val="338"/>
              </a:spcBef>
              <a:defRPr/>
            </a:pPr>
            <a:r>
              <a:rPr lang="en-US" altLang="en-US" sz="700" i="1" dirty="0">
                <a:ea typeface="Avenir Next" charset="0"/>
                <a:sym typeface="Helvetica Neue Light Italic for" charset="0"/>
              </a:rPr>
              <a:t>   </a:t>
            </a:r>
          </a:p>
          <a:p>
            <a:pPr>
              <a:spcBef>
                <a:spcPts val="338"/>
              </a:spcBef>
              <a:defRPr/>
            </a:pPr>
            <a:endParaRPr lang="en-US" altLang="en-US" sz="2000" i="1" dirty="0">
              <a:sym typeface="Helvetica Neue Light Italic for" charset="0"/>
            </a:endParaRPr>
          </a:p>
          <a:p>
            <a:pPr>
              <a:defRPr/>
            </a:pPr>
            <a:endParaRPr lang="en-US" sz="2000" i="1" dirty="0"/>
          </a:p>
        </p:txBody>
      </p:sp>
      <p:sp>
        <p:nvSpPr>
          <p:cNvPr id="143362" name="Title 3"/>
          <p:cNvSpPr>
            <a:spLocks noGrp="1"/>
          </p:cNvSpPr>
          <p:nvPr>
            <p:ph type="title"/>
          </p:nvPr>
        </p:nvSpPr>
        <p:spPr>
          <a:xfrm>
            <a:off x="257385" y="135771"/>
            <a:ext cx="7710236" cy="851516"/>
          </a:xfrm>
        </p:spPr>
        <p:txBody>
          <a:bodyPr vert="horz" lIns="0" tIns="0" rIns="0" bIns="0" rtlCol="0" anchor="t" anchorCtr="0">
            <a:noAutofit/>
          </a:bodyPr>
          <a:lstStyle/>
          <a:p>
            <a:pPr defTabSz="914355" eaLnBrk="0" fontAlgn="base" hangingPunct="0">
              <a:spcAft>
                <a:spcPct val="0"/>
              </a:spcAft>
            </a:pPr>
            <a:r>
              <a:rPr lang="en-US" sz="1800" dirty="0">
                <a:solidFill>
                  <a:schemeClr val="accent1">
                    <a:lumMod val="75000"/>
                  </a:schemeClr>
                </a:solidFill>
                <a:latin typeface="IBM Plex Sans" panose="020B0503050203000203" pitchFamily="34" charset="77"/>
                <a:cs typeface="+mn-cs"/>
              </a:rPr>
              <a:t>MRO Inventory Optimization</a:t>
            </a:r>
            <a:endParaRPr lang="en-US" altLang="en-US" sz="1800" dirty="0">
              <a:solidFill>
                <a:schemeClr val="accent1">
                  <a:lumMod val="75000"/>
                </a:schemeClr>
              </a:solidFill>
              <a:latin typeface="IBM Plex Sans" panose="020B0503050203000203" pitchFamily="34" charset="77"/>
              <a:cs typeface="+mn-cs"/>
            </a:endParaRPr>
          </a:p>
        </p:txBody>
      </p:sp>
      <p:sp>
        <p:nvSpPr>
          <p:cNvPr id="21" name="Title 1">
            <a:extLst>
              <a:ext uri="{FF2B5EF4-FFF2-40B4-BE49-F238E27FC236}">
                <a16:creationId xmlns:a16="http://schemas.microsoft.com/office/drawing/2014/main" id="{BFDD81A0-6D9D-9944-86F4-F96CDFBD08F8}"/>
              </a:ext>
            </a:extLst>
          </p:cNvPr>
          <p:cNvSpPr txBox="1">
            <a:spLocks/>
          </p:cNvSpPr>
          <p:nvPr/>
        </p:nvSpPr>
        <p:spPr>
          <a:xfrm>
            <a:off x="4997715" y="4882446"/>
            <a:ext cx="4055547" cy="227614"/>
          </a:xfrm>
          <a:prstGeom prst="rect">
            <a:avLst/>
          </a:prstGeom>
        </p:spPr>
        <p:txBody>
          <a:bodyPr vert="horz" lIns="0" tIns="0" rIns="0" bIns="0" rtlCol="0" anchor="t" anchorCtr="0">
            <a:noAutofit/>
          </a:bodyPr>
          <a:lstStyle>
            <a:lvl1pPr algn="l" defTabSz="457200" rtl="0" eaLnBrk="1" latinLnBrk="0" hangingPunct="1">
              <a:lnSpc>
                <a:spcPct val="100000"/>
              </a:lnSpc>
              <a:spcBef>
                <a:spcPct val="0"/>
              </a:spcBef>
              <a:buNone/>
              <a:defRPr sz="2000" b="0" i="0" kern="1200">
                <a:solidFill>
                  <a:srgbClr val="FFFFFF"/>
                </a:solidFill>
                <a:latin typeface="IBM Plex Sans Regular" charset="0"/>
                <a:ea typeface="+mj-ea"/>
                <a:cs typeface="IBM Plex Sans Regular" charset="0"/>
              </a:defRPr>
            </a:lvl1pPr>
          </a:lstStyle>
          <a:p>
            <a:pPr marL="0" marR="0" lvl="0" indent="0" algn="ctr" defTabSz="342896"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IBM Plex Sans Regular" charset="0"/>
              <a:ea typeface="+mj-ea"/>
            </a:endParaRPr>
          </a:p>
        </p:txBody>
      </p:sp>
      <p:sp>
        <p:nvSpPr>
          <p:cNvPr id="24" name="Slide Number Placeholder 3"/>
          <p:cNvSpPr txBox="1">
            <a:spLocks/>
          </p:cNvSpPr>
          <p:nvPr/>
        </p:nvSpPr>
        <p:spPr>
          <a:xfrm>
            <a:off x="230188" y="4718304"/>
            <a:ext cx="210312" cy="20116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342896"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FFFFFF"/>
                </a:solidFill>
                <a:effectLst/>
                <a:uLnTx/>
                <a:uFillTx/>
                <a:latin typeface="IBM Plex Sans Regular" charset="0"/>
                <a:ea typeface="+mn-ea"/>
                <a:cs typeface="IBM Plex Sans Regular" charset="0"/>
              </a:rPr>
              <a:t>5</a:t>
            </a:r>
          </a:p>
        </p:txBody>
      </p:sp>
      <p:sp>
        <p:nvSpPr>
          <p:cNvPr id="4" name="Rectangle 3">
            <a:extLst>
              <a:ext uri="{FF2B5EF4-FFF2-40B4-BE49-F238E27FC236}">
                <a16:creationId xmlns:a16="http://schemas.microsoft.com/office/drawing/2014/main" id="{B28FA343-6C89-9848-8323-8B0ECFA9325A}"/>
              </a:ext>
            </a:extLst>
          </p:cNvPr>
          <p:cNvSpPr/>
          <p:nvPr/>
        </p:nvSpPr>
        <p:spPr>
          <a:xfrm>
            <a:off x="257385" y="4032512"/>
            <a:ext cx="4923442" cy="715581"/>
          </a:xfrm>
          <a:prstGeom prst="rect">
            <a:avLst/>
          </a:prstGeom>
        </p:spPr>
        <p:txBody>
          <a:bodyPr wrap="square">
            <a:spAutoFit/>
          </a:bodyPr>
          <a:lstStyle/>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000000"/>
                </a:solidFill>
                <a:effectLst/>
                <a:uLnTx/>
                <a:uFillTx/>
                <a:latin typeface="IBM Plex Sans"/>
                <a:ea typeface="+mn-ea"/>
                <a:cs typeface="+mn-cs"/>
              </a:rPr>
              <a:t>Systematic decision support tool grounded in the industry-leading and proprietary algorithms </a:t>
            </a: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000000"/>
                </a:solidFill>
                <a:effectLst/>
                <a:uLnTx/>
                <a:uFillTx/>
                <a:latin typeface="IBM Plex Sans"/>
                <a:ea typeface="+mn-ea"/>
                <a:cs typeface="+mn-cs"/>
              </a:rPr>
              <a:t>Easy to use user interface </a:t>
            </a:r>
          </a:p>
        </p:txBody>
      </p:sp>
      <p:sp>
        <p:nvSpPr>
          <p:cNvPr id="3" name="Rectangle 2">
            <a:extLst>
              <a:ext uri="{FF2B5EF4-FFF2-40B4-BE49-F238E27FC236}">
                <a16:creationId xmlns:a16="http://schemas.microsoft.com/office/drawing/2014/main" id="{F10E2AC9-5D1E-4184-8502-C83D0DC59AB6}"/>
              </a:ext>
            </a:extLst>
          </p:cNvPr>
          <p:cNvSpPr/>
          <p:nvPr/>
        </p:nvSpPr>
        <p:spPr>
          <a:xfrm>
            <a:off x="2508663" y="4662286"/>
            <a:ext cx="4572000" cy="461665"/>
          </a:xfrm>
          <a:prstGeom prst="rect">
            <a:avLst/>
          </a:prstGeom>
        </p:spPr>
        <p:txBody>
          <a:bodyP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br>
              <a:rPr kumimoji="0" lang="en-US" sz="1200" b="0" i="0" u="none" strike="noStrike" kern="1200" cap="none" spc="0" normalizeH="0" baseline="0" noProof="0" dirty="0">
                <a:ln>
                  <a:noFill/>
                </a:ln>
                <a:solidFill>
                  <a:srgbClr val="000000"/>
                </a:solidFill>
                <a:effectLst/>
                <a:uLnTx/>
                <a:uFillTx/>
                <a:latin typeface="IBM Plex Sans"/>
                <a:ea typeface="+mn-ea"/>
                <a:cs typeface="+mn-cs"/>
              </a:rPr>
            </a:br>
            <a:r>
              <a:rPr kumimoji="0" lang="en-US" sz="1100" b="0" i="0" u="sng" strike="noStrike" kern="1200" cap="none" spc="0" normalizeH="0" baseline="0" noProof="0" dirty="0">
                <a:ln>
                  <a:noFill/>
                </a:ln>
                <a:solidFill>
                  <a:srgbClr val="000000"/>
                </a:solidFill>
                <a:effectLst/>
                <a:uLnTx/>
                <a:uFillTx/>
                <a:latin typeface="IBM Plex Sans"/>
                <a:ea typeface="+mn-ea"/>
                <a:cs typeface="+mn-cs"/>
                <a:hlinkClick r:id="rId4"/>
              </a:rPr>
              <a:t>https://www.ibm.com/services/process/mro-inventory</a:t>
            </a:r>
            <a:endParaRPr kumimoji="0" lang="en-US" sz="9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5" name="Rectangle 4">
            <a:extLst>
              <a:ext uri="{FF2B5EF4-FFF2-40B4-BE49-F238E27FC236}">
                <a16:creationId xmlns:a16="http://schemas.microsoft.com/office/drawing/2014/main" id="{F34015FE-5EAC-488D-9B9E-E96D39BF3E77}"/>
              </a:ext>
            </a:extLst>
          </p:cNvPr>
          <p:cNvSpPr/>
          <p:nvPr/>
        </p:nvSpPr>
        <p:spPr>
          <a:xfrm>
            <a:off x="4855447" y="4016328"/>
            <a:ext cx="3943322" cy="715581"/>
          </a:xfrm>
          <a:prstGeom prst="rect">
            <a:avLst/>
          </a:prstGeom>
        </p:spPr>
        <p:txBody>
          <a:bodyPr wrap="square">
            <a:spAutoFit/>
          </a:bodyPr>
          <a:lstStyle/>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000000"/>
                </a:solidFill>
                <a:effectLst/>
                <a:uLnTx/>
                <a:uFillTx/>
                <a:latin typeface="IBM Plex Sans"/>
                <a:ea typeface="+mn-ea"/>
                <a:cs typeface="+mn-cs"/>
              </a:rPr>
              <a:t>SaaS Deployment </a:t>
            </a: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000000"/>
                </a:solidFill>
                <a:effectLst/>
                <a:uLnTx/>
                <a:uFillTx/>
                <a:latin typeface="IBM Plex Sans"/>
                <a:ea typeface="+mn-ea"/>
                <a:cs typeface="+mn-cs"/>
              </a:rPr>
              <a:t>Standard connectors with SAP &amp; Maximo</a:t>
            </a:r>
          </a:p>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000000"/>
                </a:solidFill>
                <a:effectLst/>
                <a:uLnTx/>
                <a:uFillTx/>
                <a:latin typeface="IBM Plex Sans"/>
                <a:ea typeface="+mn-ea"/>
                <a:cs typeface="+mn-cs"/>
              </a:rPr>
              <a:t>ISO 27k certified</a:t>
            </a:r>
            <a:endParaRPr kumimoji="0" lang="en-US" sz="1013" b="0" i="0" u="none" strike="noStrike" kern="1200" cap="none" spc="0" normalizeH="0" baseline="0" noProof="0" dirty="0">
              <a:ln>
                <a:noFill/>
              </a:ln>
              <a:solidFill>
                <a:srgbClr val="000000"/>
              </a:solidFill>
              <a:effectLst/>
              <a:uLnTx/>
              <a:uFillTx/>
              <a:latin typeface="IBM Plex Sans"/>
              <a:ea typeface="+mn-ea"/>
              <a:cs typeface="+mn-cs"/>
            </a:endParaRPr>
          </a:p>
        </p:txBody>
      </p:sp>
      <p:sp>
        <p:nvSpPr>
          <p:cNvPr id="12" name="Slide Number Placeholder 1">
            <a:extLst>
              <a:ext uri="{FF2B5EF4-FFF2-40B4-BE49-F238E27FC236}">
                <a16:creationId xmlns:a16="http://schemas.microsoft.com/office/drawing/2014/main" id="{046DC11C-0A1C-436E-BB86-1D352887FE92}"/>
              </a:ext>
            </a:extLst>
          </p:cNvPr>
          <p:cNvSpPr txBox="1">
            <a:spLocks/>
          </p:cNvSpPr>
          <p:nvPr/>
        </p:nvSpPr>
        <p:spPr>
          <a:xfrm>
            <a:off x="8769246" y="4912755"/>
            <a:ext cx="323807" cy="137160"/>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fld id="{FAE4B3C6-245C-644B-9074-60488D830437}" type="slidenum">
              <a:rPr kumimoji="0" lang="en-US" sz="600" b="0" i="0" u="none" strike="noStrike" kern="1200" cap="none" spc="0" normalizeH="0" baseline="0" noProof="0">
                <a:ln>
                  <a:noFill/>
                </a:ln>
                <a:solidFill>
                  <a:srgbClr val="000000"/>
                </a:solidFill>
                <a:effectLst/>
                <a:uLnTx/>
                <a:uFillTx/>
                <a:latin typeface="IBM Plex Sans Regular" charset="0"/>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38</a:t>
            </a:fld>
            <a:endParaRPr kumimoji="0" lang="en-US" sz="600" b="0" i="0" u="none" strike="noStrike" kern="1200" cap="none" spc="0" normalizeH="0" baseline="0" noProof="0" dirty="0">
              <a:ln>
                <a:noFill/>
              </a:ln>
              <a:solidFill>
                <a:srgbClr val="000000"/>
              </a:solidFill>
              <a:effectLst/>
              <a:uLnTx/>
              <a:uFillTx/>
              <a:latin typeface="IBM Plex Sans Regular" charset="0"/>
              <a:ea typeface="+mn-ea"/>
              <a:cs typeface="+mn-cs"/>
            </a:endParaRPr>
          </a:p>
        </p:txBody>
      </p:sp>
      <p:sp>
        <p:nvSpPr>
          <p:cNvPr id="13" name="Footer Placeholder 9">
            <a:extLst>
              <a:ext uri="{FF2B5EF4-FFF2-40B4-BE49-F238E27FC236}">
                <a16:creationId xmlns:a16="http://schemas.microsoft.com/office/drawing/2014/main" id="{F1D6E034-BDAE-41A1-98CD-637CAE554D46}"/>
              </a:ext>
            </a:extLst>
          </p:cNvPr>
          <p:cNvSpPr>
            <a:spLocks noGrp="1"/>
          </p:cNvSpPr>
          <p:nvPr>
            <p:ph type="ftr" sz="quarter" idx="3"/>
          </p:nvPr>
        </p:nvSpPr>
        <p:spPr>
          <a:xfrm>
            <a:off x="228600" y="4912755"/>
            <a:ext cx="6400800" cy="137160"/>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de-DE" sz="600" b="0" i="0" u="none" strike="noStrike" kern="1200" cap="none" spc="0" normalizeH="0" baseline="0" noProof="0" dirty="0">
                <a:ln>
                  <a:noFill/>
                </a:ln>
                <a:solidFill>
                  <a:srgbClr val="000000"/>
                </a:solidFill>
                <a:effectLst/>
                <a:uLnTx/>
                <a:uFillTx/>
                <a:latin typeface="IBM Plex Sans"/>
                <a:cs typeface="Arial" charset="0"/>
              </a:rPr>
              <a:t>IBM</a:t>
            </a:r>
            <a:r>
              <a:rPr kumimoji="0" lang="de-DE" sz="600" b="0" i="0" u="none" strike="noStrike" kern="1200" cap="none" spc="0" normalizeH="0" baseline="0" noProof="0" dirty="0">
                <a:ln>
                  <a:noFill/>
                </a:ln>
                <a:solidFill>
                  <a:srgbClr val="FFFFFF"/>
                </a:solidFill>
                <a:effectLst/>
                <a:uLnTx/>
                <a:uFillTx/>
                <a:latin typeface="IBM Plex Sans"/>
                <a:cs typeface="Arial" charset="0"/>
              </a:rPr>
              <a:t> </a:t>
            </a:r>
            <a:r>
              <a:rPr kumimoji="0" lang="de-DE" sz="600" b="0" i="0" u="none" strike="noStrike" kern="1200" cap="none" spc="0" normalizeH="0" baseline="0" noProof="0" dirty="0">
                <a:ln>
                  <a:noFill/>
                </a:ln>
                <a:solidFill>
                  <a:srgbClr val="000000"/>
                </a:solidFill>
                <a:effectLst/>
                <a:uLnTx/>
                <a:uFillTx/>
                <a:latin typeface="IBM Plex Sans"/>
                <a:cs typeface="Arial" charset="0"/>
              </a:rPr>
              <a:t>Watson IoT / © 2020 IBM Corporation</a:t>
            </a:r>
            <a:endParaRPr kumimoji="0" lang="en-US" sz="600" b="0" i="0" u="none" strike="noStrike" kern="1200" cap="none" spc="0" normalizeH="0" baseline="0" noProof="0" dirty="0">
              <a:ln>
                <a:noFill/>
              </a:ln>
              <a:solidFill>
                <a:srgbClr val="000000"/>
              </a:solidFill>
              <a:effectLst/>
              <a:uLnTx/>
              <a:uFillTx/>
              <a:latin typeface="IBM Plex Sans"/>
              <a:cs typeface="Arial" charset="0"/>
            </a:endParaRPr>
          </a:p>
        </p:txBody>
      </p:sp>
    </p:spTree>
    <p:extLst>
      <p:ext uri="{BB962C8B-B14F-4D97-AF65-F5344CB8AC3E}">
        <p14:creationId xmlns:p14="http://schemas.microsoft.com/office/powerpoint/2010/main" val="3823782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42896" y="1379198"/>
            <a:ext cx="2019233" cy="1892826"/>
          </a:xfrm>
        </p:spPr>
        <p:txBody>
          <a:bodyPr wrap="square">
            <a:spAutoFit/>
          </a:bodyPr>
          <a:lstStyle/>
          <a:p>
            <a:r>
              <a:rPr lang="en-US" dirty="0">
                <a:solidFill>
                  <a:schemeClr val="bg1"/>
                </a:solidFill>
              </a:rPr>
              <a:t>Maximo Application Suite: </a:t>
            </a:r>
            <a:r>
              <a:rPr lang="en-US" dirty="0">
                <a:solidFill>
                  <a:schemeClr val="accent2"/>
                </a:solidFill>
              </a:rPr>
              <a:t>A New Model for Software</a:t>
            </a:r>
          </a:p>
        </p:txBody>
      </p:sp>
      <p:sp>
        <p:nvSpPr>
          <p:cNvPr id="6" name="Content Placeholder 5"/>
          <p:cNvSpPr>
            <a:spLocks noGrp="1"/>
          </p:cNvSpPr>
          <p:nvPr>
            <p:ph idx="13"/>
          </p:nvPr>
        </p:nvSpPr>
        <p:spPr>
          <a:xfrm>
            <a:off x="6978895" y="-25363"/>
            <a:ext cx="2158012" cy="5166360"/>
          </a:xfrm>
          <a:solidFill>
            <a:schemeClr val="tx2"/>
          </a:solidFill>
        </p:spPr>
        <p:txBody>
          <a:bodyPr/>
          <a:lstStyle/>
          <a:p>
            <a:pPr>
              <a:lnSpc>
                <a:spcPct val="100000"/>
              </a:lnSpc>
            </a:pPr>
            <a:r>
              <a:rPr lang="en-US" sz="1600" dirty="0"/>
              <a:t>Maximo 8.0 – GA May 29, 2020</a:t>
            </a:r>
          </a:p>
        </p:txBody>
      </p:sp>
      <p:pic>
        <p:nvPicPr>
          <p:cNvPr id="105" name="Picture 10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04264" y="4886335"/>
            <a:ext cx="353824" cy="142876"/>
          </a:xfrm>
          <a:prstGeom prst="rect">
            <a:avLst/>
          </a:prstGeom>
        </p:spPr>
      </p:pic>
      <p:sp>
        <p:nvSpPr>
          <p:cNvPr id="44" name="Content Placeholder 7"/>
          <p:cNvSpPr>
            <a:spLocks noGrp="1"/>
          </p:cNvSpPr>
          <p:nvPr>
            <p:ph idx="12"/>
          </p:nvPr>
        </p:nvSpPr>
        <p:spPr>
          <a:xfrm>
            <a:off x="3156912" y="761163"/>
            <a:ext cx="3632971" cy="3068734"/>
          </a:xfrm>
        </p:spPr>
        <p:txBody>
          <a:bodyPr/>
          <a:lstStyle/>
          <a:p>
            <a:pPr>
              <a:lnSpc>
                <a:spcPct val="110000"/>
              </a:lnSpc>
              <a:spcBef>
                <a:spcPts val="1250"/>
              </a:spcBef>
            </a:pPr>
            <a:r>
              <a:rPr lang="en-US" sz="2250" dirty="0">
                <a:solidFill>
                  <a:schemeClr val="accent2"/>
                </a:solidFill>
              </a:rPr>
              <a:t>Faster </a:t>
            </a:r>
            <a:r>
              <a:rPr lang="en-US" sz="2250" b="1" dirty="0">
                <a:solidFill>
                  <a:schemeClr val="bg2"/>
                </a:solidFill>
              </a:rPr>
              <a:t>Hybrid Installation</a:t>
            </a:r>
          </a:p>
          <a:p>
            <a:pPr>
              <a:lnSpc>
                <a:spcPct val="110000"/>
              </a:lnSpc>
              <a:spcBef>
                <a:spcPts val="1500"/>
              </a:spcBef>
            </a:pPr>
            <a:r>
              <a:rPr lang="en-US" sz="2250" b="1" dirty="0">
                <a:solidFill>
                  <a:schemeClr val="bg2"/>
                </a:solidFill>
              </a:rPr>
              <a:t>All </a:t>
            </a:r>
            <a:r>
              <a:rPr lang="en-US" sz="2250" dirty="0">
                <a:solidFill>
                  <a:schemeClr val="accent2"/>
                </a:solidFill>
              </a:rPr>
              <a:t>Applications in </a:t>
            </a:r>
            <a:r>
              <a:rPr lang="en-US" sz="2250" dirty="0">
                <a:solidFill>
                  <a:schemeClr val="bg2"/>
                </a:solidFill>
              </a:rPr>
              <a:t>one</a:t>
            </a:r>
            <a:r>
              <a:rPr lang="en-US" sz="2250" dirty="0">
                <a:solidFill>
                  <a:schemeClr val="accent2"/>
                </a:solidFill>
              </a:rPr>
              <a:t> Suite</a:t>
            </a:r>
            <a:endParaRPr lang="en-US" sz="2250" dirty="0">
              <a:solidFill>
                <a:schemeClr val="bg2"/>
              </a:solidFill>
            </a:endParaRPr>
          </a:p>
          <a:p>
            <a:pPr>
              <a:lnSpc>
                <a:spcPct val="110000"/>
              </a:lnSpc>
              <a:spcBef>
                <a:spcPts val="1500"/>
              </a:spcBef>
            </a:pPr>
            <a:r>
              <a:rPr lang="en-US" sz="2250" dirty="0">
                <a:solidFill>
                  <a:schemeClr val="accent2"/>
                </a:solidFill>
              </a:rPr>
              <a:t>Simplified </a:t>
            </a:r>
            <a:r>
              <a:rPr lang="en-US" sz="2250" b="1" dirty="0">
                <a:solidFill>
                  <a:schemeClr val="bg2"/>
                </a:solidFill>
              </a:rPr>
              <a:t>Licensing</a:t>
            </a:r>
          </a:p>
          <a:p>
            <a:pPr>
              <a:lnSpc>
                <a:spcPct val="110000"/>
              </a:lnSpc>
              <a:spcBef>
                <a:spcPts val="1500"/>
              </a:spcBef>
            </a:pPr>
            <a:r>
              <a:rPr lang="en-US" dirty="0">
                <a:solidFill>
                  <a:schemeClr val="accent2"/>
                </a:solidFill>
              </a:rPr>
              <a:t>The Application Suite effort is driving the journey for hybrid software built on </a:t>
            </a:r>
            <a:r>
              <a:rPr lang="en-US" dirty="0">
                <a:solidFill>
                  <a:srgbClr val="FF0000"/>
                </a:solidFill>
              </a:rPr>
              <a:t>RedHat OpenShift</a:t>
            </a:r>
            <a:endParaRPr lang="en-US" sz="2250" b="1" dirty="0">
              <a:solidFill>
                <a:srgbClr val="FF0000"/>
              </a:solidFill>
            </a:endParaRPr>
          </a:p>
        </p:txBody>
      </p:sp>
      <p:grpSp>
        <p:nvGrpSpPr>
          <p:cNvPr id="45" name="Group 4"/>
          <p:cNvGrpSpPr>
            <a:grpSpLocks noChangeAspect="1"/>
          </p:cNvGrpSpPr>
          <p:nvPr/>
        </p:nvGrpSpPr>
        <p:grpSpPr bwMode="auto">
          <a:xfrm>
            <a:off x="2452040" y="1448260"/>
            <a:ext cx="535738" cy="534535"/>
            <a:chOff x="2725" y="2249"/>
            <a:chExt cx="445" cy="444"/>
          </a:xfrm>
          <a:solidFill>
            <a:schemeClr val="accent2"/>
          </a:solidFill>
        </p:grpSpPr>
        <p:sp>
          <p:nvSpPr>
            <p:cNvPr id="46" name="Freeform 5"/>
            <p:cNvSpPr>
              <a:spLocks noEditPoints="1"/>
            </p:cNvSpPr>
            <p:nvPr/>
          </p:nvSpPr>
          <p:spPr bwMode="auto">
            <a:xfrm>
              <a:off x="2725" y="2249"/>
              <a:ext cx="445" cy="444"/>
            </a:xfrm>
            <a:custGeom>
              <a:avLst/>
              <a:gdLst>
                <a:gd name="T0" fmla="*/ 752 w 1574"/>
                <a:gd name="T1" fmla="*/ 1149 h 1574"/>
                <a:gd name="T2" fmla="*/ 443 w 1574"/>
                <a:gd name="T3" fmla="*/ 669 h 1574"/>
                <a:gd name="T4" fmla="*/ 504 w 1574"/>
                <a:gd name="T5" fmla="*/ 690 h 1574"/>
                <a:gd name="T6" fmla="*/ 758 w 1574"/>
                <a:gd name="T7" fmla="*/ 1084 h 1574"/>
                <a:gd name="T8" fmla="*/ 1117 w 1574"/>
                <a:gd name="T9" fmla="*/ 787 h 1574"/>
                <a:gd name="T10" fmla="*/ 787 w 1574"/>
                <a:gd name="T11" fmla="*/ 423 h 1574"/>
                <a:gd name="T12" fmla="*/ 535 w 1574"/>
                <a:gd name="T13" fmla="*/ 574 h 1574"/>
                <a:gd name="T14" fmla="*/ 787 w 1574"/>
                <a:gd name="T15" fmla="*/ 488 h 1574"/>
                <a:gd name="T16" fmla="*/ 1117 w 1574"/>
                <a:gd name="T17" fmla="*/ 787 h 1574"/>
                <a:gd name="T18" fmla="*/ 978 w 1574"/>
                <a:gd name="T19" fmla="*/ 1266 h 1574"/>
                <a:gd name="T20" fmla="*/ 904 w 1574"/>
                <a:gd name="T21" fmla="*/ 1309 h 1574"/>
                <a:gd name="T22" fmla="*/ 834 w 1574"/>
                <a:gd name="T23" fmla="*/ 1509 h 1574"/>
                <a:gd name="T24" fmla="*/ 705 w 1574"/>
                <a:gd name="T25" fmla="*/ 1480 h 1574"/>
                <a:gd name="T26" fmla="*/ 648 w 1574"/>
                <a:gd name="T27" fmla="*/ 1284 h 1574"/>
                <a:gd name="T28" fmla="*/ 500 w 1574"/>
                <a:gd name="T29" fmla="*/ 1238 h 1574"/>
                <a:gd name="T30" fmla="*/ 309 w 1574"/>
                <a:gd name="T31" fmla="*/ 1331 h 1574"/>
                <a:gd name="T32" fmla="*/ 239 w 1574"/>
                <a:gd name="T33" fmla="*/ 1219 h 1574"/>
                <a:gd name="T34" fmla="*/ 337 w 1574"/>
                <a:gd name="T35" fmla="*/ 1040 h 1574"/>
                <a:gd name="T36" fmla="*/ 265 w 1574"/>
                <a:gd name="T37" fmla="*/ 903 h 1574"/>
                <a:gd name="T38" fmla="*/ 65 w 1574"/>
                <a:gd name="T39" fmla="*/ 834 h 1574"/>
                <a:gd name="T40" fmla="*/ 94 w 1574"/>
                <a:gd name="T41" fmla="*/ 705 h 1574"/>
                <a:gd name="T42" fmla="*/ 290 w 1574"/>
                <a:gd name="T43" fmla="*/ 647 h 1574"/>
                <a:gd name="T44" fmla="*/ 336 w 1574"/>
                <a:gd name="T45" fmla="*/ 500 h 1574"/>
                <a:gd name="T46" fmla="*/ 243 w 1574"/>
                <a:gd name="T47" fmla="*/ 309 h 1574"/>
                <a:gd name="T48" fmla="*/ 355 w 1574"/>
                <a:gd name="T49" fmla="*/ 239 h 1574"/>
                <a:gd name="T50" fmla="*/ 534 w 1574"/>
                <a:gd name="T51" fmla="*/ 337 h 1574"/>
                <a:gd name="T52" fmla="*/ 671 w 1574"/>
                <a:gd name="T53" fmla="*/ 265 h 1574"/>
                <a:gd name="T54" fmla="*/ 740 w 1574"/>
                <a:gd name="T55" fmla="*/ 65 h 1574"/>
                <a:gd name="T56" fmla="*/ 869 w 1574"/>
                <a:gd name="T57" fmla="*/ 94 h 1574"/>
                <a:gd name="T58" fmla="*/ 927 w 1574"/>
                <a:gd name="T59" fmla="*/ 290 h 1574"/>
                <a:gd name="T60" fmla="*/ 1074 w 1574"/>
                <a:gd name="T61" fmla="*/ 335 h 1574"/>
                <a:gd name="T62" fmla="*/ 1265 w 1574"/>
                <a:gd name="T63" fmla="*/ 243 h 1574"/>
                <a:gd name="T64" fmla="*/ 1335 w 1574"/>
                <a:gd name="T65" fmla="*/ 355 h 1574"/>
                <a:gd name="T66" fmla="*/ 1237 w 1574"/>
                <a:gd name="T67" fmla="*/ 534 h 1574"/>
                <a:gd name="T68" fmla="*/ 1309 w 1574"/>
                <a:gd name="T69" fmla="*/ 670 h 1574"/>
                <a:gd name="T70" fmla="*/ 1509 w 1574"/>
                <a:gd name="T71" fmla="*/ 740 h 1574"/>
                <a:gd name="T72" fmla="*/ 1480 w 1574"/>
                <a:gd name="T73" fmla="*/ 869 h 1574"/>
                <a:gd name="T74" fmla="*/ 1284 w 1574"/>
                <a:gd name="T75" fmla="*/ 926 h 1574"/>
                <a:gd name="T76" fmla="*/ 1273 w 1574"/>
                <a:gd name="T77" fmla="*/ 1044 h 1574"/>
                <a:gd name="T78" fmla="*/ 1341 w 1574"/>
                <a:gd name="T79" fmla="*/ 963 h 1574"/>
                <a:gd name="T80" fmla="*/ 1574 w 1574"/>
                <a:gd name="T81" fmla="*/ 834 h 1574"/>
                <a:gd name="T82" fmla="*/ 1493 w 1574"/>
                <a:gd name="T83" fmla="*/ 641 h 1574"/>
                <a:gd name="T84" fmla="*/ 1303 w 1574"/>
                <a:gd name="T85" fmla="*/ 520 h 1574"/>
                <a:gd name="T86" fmla="*/ 1377 w 1574"/>
                <a:gd name="T87" fmla="*/ 263 h 1574"/>
                <a:gd name="T88" fmla="*/ 1183 w 1574"/>
                <a:gd name="T89" fmla="*/ 185 h 1574"/>
                <a:gd name="T90" fmla="*/ 963 w 1574"/>
                <a:gd name="T91" fmla="*/ 233 h 1574"/>
                <a:gd name="T92" fmla="*/ 834 w 1574"/>
                <a:gd name="T93" fmla="*/ 0 h 1574"/>
                <a:gd name="T94" fmla="*/ 642 w 1574"/>
                <a:gd name="T95" fmla="*/ 81 h 1574"/>
                <a:gd name="T96" fmla="*/ 520 w 1574"/>
                <a:gd name="T97" fmla="*/ 271 h 1574"/>
                <a:gd name="T98" fmla="*/ 264 w 1574"/>
                <a:gd name="T99" fmla="*/ 197 h 1574"/>
                <a:gd name="T100" fmla="*/ 185 w 1574"/>
                <a:gd name="T101" fmla="*/ 391 h 1574"/>
                <a:gd name="T102" fmla="*/ 233 w 1574"/>
                <a:gd name="T103" fmla="*/ 611 h 1574"/>
                <a:gd name="T104" fmla="*/ 0 w 1574"/>
                <a:gd name="T105" fmla="*/ 740 h 1574"/>
                <a:gd name="T106" fmla="*/ 81 w 1574"/>
                <a:gd name="T107" fmla="*/ 932 h 1574"/>
                <a:gd name="T108" fmla="*/ 271 w 1574"/>
                <a:gd name="T109" fmla="*/ 1054 h 1574"/>
                <a:gd name="T110" fmla="*/ 198 w 1574"/>
                <a:gd name="T111" fmla="*/ 1310 h 1574"/>
                <a:gd name="T112" fmla="*/ 391 w 1574"/>
                <a:gd name="T113" fmla="*/ 1389 h 1574"/>
                <a:gd name="T114" fmla="*/ 611 w 1574"/>
                <a:gd name="T115" fmla="*/ 1341 h 1574"/>
                <a:gd name="T116" fmla="*/ 740 w 1574"/>
                <a:gd name="T117" fmla="*/ 1574 h 1574"/>
                <a:gd name="T118" fmla="*/ 933 w 1574"/>
                <a:gd name="T119" fmla="*/ 1493 h 1574"/>
                <a:gd name="T120" fmla="*/ 1006 w 1574"/>
                <a:gd name="T121" fmla="*/ 1324 h 1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74" h="1574">
                  <a:moveTo>
                    <a:pt x="787" y="1116"/>
                  </a:moveTo>
                  <a:cubicBezTo>
                    <a:pt x="787" y="1135"/>
                    <a:pt x="771" y="1150"/>
                    <a:pt x="752" y="1149"/>
                  </a:cubicBezTo>
                  <a:cubicBezTo>
                    <a:pt x="568" y="1131"/>
                    <a:pt x="424" y="975"/>
                    <a:pt x="424" y="787"/>
                  </a:cubicBezTo>
                  <a:cubicBezTo>
                    <a:pt x="424" y="747"/>
                    <a:pt x="430" y="707"/>
                    <a:pt x="443" y="669"/>
                  </a:cubicBezTo>
                  <a:cubicBezTo>
                    <a:pt x="449" y="653"/>
                    <a:pt x="466" y="643"/>
                    <a:pt x="483" y="648"/>
                  </a:cubicBezTo>
                  <a:cubicBezTo>
                    <a:pt x="501" y="653"/>
                    <a:pt x="511" y="672"/>
                    <a:pt x="504" y="690"/>
                  </a:cubicBezTo>
                  <a:cubicBezTo>
                    <a:pt x="494" y="721"/>
                    <a:pt x="488" y="754"/>
                    <a:pt x="488" y="787"/>
                  </a:cubicBezTo>
                  <a:cubicBezTo>
                    <a:pt x="488" y="942"/>
                    <a:pt x="607" y="1070"/>
                    <a:pt x="758" y="1084"/>
                  </a:cubicBezTo>
                  <a:cubicBezTo>
                    <a:pt x="775" y="1086"/>
                    <a:pt x="787" y="1100"/>
                    <a:pt x="787" y="1116"/>
                  </a:cubicBezTo>
                  <a:close/>
                  <a:moveTo>
                    <a:pt x="1117" y="787"/>
                  </a:moveTo>
                  <a:cubicBezTo>
                    <a:pt x="1136" y="787"/>
                    <a:pt x="1151" y="771"/>
                    <a:pt x="1149" y="752"/>
                  </a:cubicBezTo>
                  <a:cubicBezTo>
                    <a:pt x="1131" y="568"/>
                    <a:pt x="976" y="423"/>
                    <a:pt x="787" y="423"/>
                  </a:cubicBezTo>
                  <a:cubicBezTo>
                    <a:pt x="692" y="423"/>
                    <a:pt x="602" y="460"/>
                    <a:pt x="533" y="527"/>
                  </a:cubicBezTo>
                  <a:cubicBezTo>
                    <a:pt x="520" y="540"/>
                    <a:pt x="520" y="561"/>
                    <a:pt x="535" y="574"/>
                  </a:cubicBezTo>
                  <a:cubicBezTo>
                    <a:pt x="547" y="585"/>
                    <a:pt x="567" y="584"/>
                    <a:pt x="580" y="572"/>
                  </a:cubicBezTo>
                  <a:cubicBezTo>
                    <a:pt x="636" y="518"/>
                    <a:pt x="709" y="488"/>
                    <a:pt x="787" y="488"/>
                  </a:cubicBezTo>
                  <a:cubicBezTo>
                    <a:pt x="942" y="488"/>
                    <a:pt x="1070" y="607"/>
                    <a:pt x="1085" y="758"/>
                  </a:cubicBezTo>
                  <a:cubicBezTo>
                    <a:pt x="1086" y="774"/>
                    <a:pt x="1100" y="787"/>
                    <a:pt x="1117" y="787"/>
                  </a:cubicBezTo>
                  <a:close/>
                  <a:moveTo>
                    <a:pt x="1021" y="1281"/>
                  </a:moveTo>
                  <a:cubicBezTo>
                    <a:pt x="1013" y="1265"/>
                    <a:pt x="994" y="1258"/>
                    <a:pt x="978" y="1266"/>
                  </a:cubicBezTo>
                  <a:cubicBezTo>
                    <a:pt x="952" y="1278"/>
                    <a:pt x="955" y="1276"/>
                    <a:pt x="927" y="1284"/>
                  </a:cubicBezTo>
                  <a:cubicBezTo>
                    <a:pt x="915" y="1287"/>
                    <a:pt x="906" y="1297"/>
                    <a:pt x="904" y="1309"/>
                  </a:cubicBezTo>
                  <a:cubicBezTo>
                    <a:pt x="869" y="1480"/>
                    <a:pt x="869" y="1480"/>
                    <a:pt x="869" y="1480"/>
                  </a:cubicBezTo>
                  <a:cubicBezTo>
                    <a:pt x="866" y="1497"/>
                    <a:pt x="851" y="1509"/>
                    <a:pt x="834" y="1509"/>
                  </a:cubicBezTo>
                  <a:cubicBezTo>
                    <a:pt x="740" y="1509"/>
                    <a:pt x="740" y="1509"/>
                    <a:pt x="740" y="1509"/>
                  </a:cubicBezTo>
                  <a:cubicBezTo>
                    <a:pt x="723" y="1509"/>
                    <a:pt x="708" y="1497"/>
                    <a:pt x="705" y="1480"/>
                  </a:cubicBezTo>
                  <a:cubicBezTo>
                    <a:pt x="671" y="1309"/>
                    <a:pt x="671" y="1309"/>
                    <a:pt x="671" y="1309"/>
                  </a:cubicBezTo>
                  <a:cubicBezTo>
                    <a:pt x="668" y="1297"/>
                    <a:pt x="659" y="1287"/>
                    <a:pt x="648" y="1284"/>
                  </a:cubicBezTo>
                  <a:cubicBezTo>
                    <a:pt x="608" y="1273"/>
                    <a:pt x="570" y="1257"/>
                    <a:pt x="534" y="1237"/>
                  </a:cubicBezTo>
                  <a:cubicBezTo>
                    <a:pt x="524" y="1231"/>
                    <a:pt x="510" y="1232"/>
                    <a:pt x="500" y="1238"/>
                  </a:cubicBezTo>
                  <a:cubicBezTo>
                    <a:pt x="355" y="1335"/>
                    <a:pt x="355" y="1335"/>
                    <a:pt x="355" y="1335"/>
                  </a:cubicBezTo>
                  <a:cubicBezTo>
                    <a:pt x="341" y="1345"/>
                    <a:pt x="322" y="1343"/>
                    <a:pt x="309" y="1331"/>
                  </a:cubicBezTo>
                  <a:cubicBezTo>
                    <a:pt x="243" y="1265"/>
                    <a:pt x="243" y="1265"/>
                    <a:pt x="243" y="1265"/>
                  </a:cubicBezTo>
                  <a:cubicBezTo>
                    <a:pt x="231" y="1252"/>
                    <a:pt x="229" y="1233"/>
                    <a:pt x="239" y="1219"/>
                  </a:cubicBezTo>
                  <a:cubicBezTo>
                    <a:pt x="336" y="1074"/>
                    <a:pt x="336" y="1074"/>
                    <a:pt x="336" y="1074"/>
                  </a:cubicBezTo>
                  <a:cubicBezTo>
                    <a:pt x="342" y="1063"/>
                    <a:pt x="343" y="1050"/>
                    <a:pt x="337" y="1040"/>
                  </a:cubicBezTo>
                  <a:cubicBezTo>
                    <a:pt x="317" y="1004"/>
                    <a:pt x="301" y="966"/>
                    <a:pt x="290" y="926"/>
                  </a:cubicBezTo>
                  <a:cubicBezTo>
                    <a:pt x="287" y="915"/>
                    <a:pt x="277" y="906"/>
                    <a:pt x="265" y="903"/>
                  </a:cubicBezTo>
                  <a:cubicBezTo>
                    <a:pt x="94" y="869"/>
                    <a:pt x="94" y="869"/>
                    <a:pt x="94" y="869"/>
                  </a:cubicBezTo>
                  <a:cubicBezTo>
                    <a:pt x="77" y="866"/>
                    <a:pt x="65" y="851"/>
                    <a:pt x="65" y="834"/>
                  </a:cubicBezTo>
                  <a:cubicBezTo>
                    <a:pt x="65" y="740"/>
                    <a:pt x="65" y="740"/>
                    <a:pt x="65" y="740"/>
                  </a:cubicBezTo>
                  <a:cubicBezTo>
                    <a:pt x="65" y="723"/>
                    <a:pt x="77" y="708"/>
                    <a:pt x="94" y="705"/>
                  </a:cubicBezTo>
                  <a:cubicBezTo>
                    <a:pt x="265" y="670"/>
                    <a:pt x="265" y="670"/>
                    <a:pt x="265" y="670"/>
                  </a:cubicBezTo>
                  <a:cubicBezTo>
                    <a:pt x="277" y="668"/>
                    <a:pt x="287" y="659"/>
                    <a:pt x="290" y="647"/>
                  </a:cubicBezTo>
                  <a:cubicBezTo>
                    <a:pt x="301" y="608"/>
                    <a:pt x="317" y="570"/>
                    <a:pt x="337" y="534"/>
                  </a:cubicBezTo>
                  <a:cubicBezTo>
                    <a:pt x="343" y="523"/>
                    <a:pt x="342" y="510"/>
                    <a:pt x="336" y="500"/>
                  </a:cubicBezTo>
                  <a:cubicBezTo>
                    <a:pt x="239" y="355"/>
                    <a:pt x="239" y="355"/>
                    <a:pt x="239" y="355"/>
                  </a:cubicBezTo>
                  <a:cubicBezTo>
                    <a:pt x="229" y="341"/>
                    <a:pt x="231" y="321"/>
                    <a:pt x="243" y="309"/>
                  </a:cubicBezTo>
                  <a:cubicBezTo>
                    <a:pt x="309" y="243"/>
                    <a:pt x="309" y="243"/>
                    <a:pt x="309" y="243"/>
                  </a:cubicBezTo>
                  <a:cubicBezTo>
                    <a:pt x="322" y="231"/>
                    <a:pt x="341" y="229"/>
                    <a:pt x="355" y="239"/>
                  </a:cubicBezTo>
                  <a:cubicBezTo>
                    <a:pt x="500" y="335"/>
                    <a:pt x="500" y="335"/>
                    <a:pt x="500" y="335"/>
                  </a:cubicBezTo>
                  <a:cubicBezTo>
                    <a:pt x="510" y="342"/>
                    <a:pt x="524" y="343"/>
                    <a:pt x="534" y="337"/>
                  </a:cubicBezTo>
                  <a:cubicBezTo>
                    <a:pt x="570" y="317"/>
                    <a:pt x="608" y="301"/>
                    <a:pt x="648" y="290"/>
                  </a:cubicBezTo>
                  <a:cubicBezTo>
                    <a:pt x="659" y="286"/>
                    <a:pt x="668" y="277"/>
                    <a:pt x="671" y="265"/>
                  </a:cubicBezTo>
                  <a:cubicBezTo>
                    <a:pt x="705" y="94"/>
                    <a:pt x="705" y="94"/>
                    <a:pt x="705" y="94"/>
                  </a:cubicBezTo>
                  <a:cubicBezTo>
                    <a:pt x="708" y="77"/>
                    <a:pt x="723" y="65"/>
                    <a:pt x="740" y="65"/>
                  </a:cubicBezTo>
                  <a:cubicBezTo>
                    <a:pt x="834" y="65"/>
                    <a:pt x="834" y="65"/>
                    <a:pt x="834" y="65"/>
                  </a:cubicBezTo>
                  <a:cubicBezTo>
                    <a:pt x="851" y="65"/>
                    <a:pt x="866" y="77"/>
                    <a:pt x="869" y="94"/>
                  </a:cubicBezTo>
                  <a:cubicBezTo>
                    <a:pt x="904" y="265"/>
                    <a:pt x="904" y="265"/>
                    <a:pt x="904" y="265"/>
                  </a:cubicBezTo>
                  <a:cubicBezTo>
                    <a:pt x="906" y="277"/>
                    <a:pt x="915" y="286"/>
                    <a:pt x="927" y="290"/>
                  </a:cubicBezTo>
                  <a:cubicBezTo>
                    <a:pt x="966" y="301"/>
                    <a:pt x="1004" y="317"/>
                    <a:pt x="1040" y="337"/>
                  </a:cubicBezTo>
                  <a:cubicBezTo>
                    <a:pt x="1051" y="343"/>
                    <a:pt x="1064" y="342"/>
                    <a:pt x="1074" y="335"/>
                  </a:cubicBezTo>
                  <a:cubicBezTo>
                    <a:pt x="1219" y="239"/>
                    <a:pt x="1219" y="239"/>
                    <a:pt x="1219" y="239"/>
                  </a:cubicBezTo>
                  <a:cubicBezTo>
                    <a:pt x="1233" y="229"/>
                    <a:pt x="1253" y="231"/>
                    <a:pt x="1265" y="243"/>
                  </a:cubicBezTo>
                  <a:cubicBezTo>
                    <a:pt x="1331" y="309"/>
                    <a:pt x="1331" y="309"/>
                    <a:pt x="1331" y="309"/>
                  </a:cubicBezTo>
                  <a:cubicBezTo>
                    <a:pt x="1343" y="321"/>
                    <a:pt x="1345" y="341"/>
                    <a:pt x="1335" y="355"/>
                  </a:cubicBezTo>
                  <a:cubicBezTo>
                    <a:pt x="1239" y="500"/>
                    <a:pt x="1239" y="500"/>
                    <a:pt x="1239" y="500"/>
                  </a:cubicBezTo>
                  <a:cubicBezTo>
                    <a:pt x="1232" y="510"/>
                    <a:pt x="1231" y="523"/>
                    <a:pt x="1237" y="534"/>
                  </a:cubicBezTo>
                  <a:cubicBezTo>
                    <a:pt x="1257" y="570"/>
                    <a:pt x="1273" y="608"/>
                    <a:pt x="1284" y="647"/>
                  </a:cubicBezTo>
                  <a:cubicBezTo>
                    <a:pt x="1288" y="659"/>
                    <a:pt x="1297" y="668"/>
                    <a:pt x="1309" y="670"/>
                  </a:cubicBezTo>
                  <a:cubicBezTo>
                    <a:pt x="1480" y="705"/>
                    <a:pt x="1480" y="705"/>
                    <a:pt x="1480" y="705"/>
                  </a:cubicBezTo>
                  <a:cubicBezTo>
                    <a:pt x="1497" y="708"/>
                    <a:pt x="1509" y="723"/>
                    <a:pt x="1509" y="740"/>
                  </a:cubicBezTo>
                  <a:cubicBezTo>
                    <a:pt x="1509" y="834"/>
                    <a:pt x="1509" y="834"/>
                    <a:pt x="1509" y="834"/>
                  </a:cubicBezTo>
                  <a:cubicBezTo>
                    <a:pt x="1509" y="851"/>
                    <a:pt x="1497" y="866"/>
                    <a:pt x="1480" y="869"/>
                  </a:cubicBezTo>
                  <a:cubicBezTo>
                    <a:pt x="1309" y="903"/>
                    <a:pt x="1309" y="903"/>
                    <a:pt x="1309" y="903"/>
                  </a:cubicBezTo>
                  <a:cubicBezTo>
                    <a:pt x="1297" y="906"/>
                    <a:pt x="1288" y="915"/>
                    <a:pt x="1284" y="926"/>
                  </a:cubicBezTo>
                  <a:cubicBezTo>
                    <a:pt x="1276" y="955"/>
                    <a:pt x="1270" y="974"/>
                    <a:pt x="1257" y="1001"/>
                  </a:cubicBezTo>
                  <a:cubicBezTo>
                    <a:pt x="1250" y="1017"/>
                    <a:pt x="1257" y="1036"/>
                    <a:pt x="1273" y="1044"/>
                  </a:cubicBezTo>
                  <a:cubicBezTo>
                    <a:pt x="1289" y="1052"/>
                    <a:pt x="1308" y="1045"/>
                    <a:pt x="1316" y="1029"/>
                  </a:cubicBezTo>
                  <a:cubicBezTo>
                    <a:pt x="1327" y="1005"/>
                    <a:pt x="1333" y="989"/>
                    <a:pt x="1341" y="963"/>
                  </a:cubicBezTo>
                  <a:cubicBezTo>
                    <a:pt x="1493" y="932"/>
                    <a:pt x="1493" y="932"/>
                    <a:pt x="1493" y="932"/>
                  </a:cubicBezTo>
                  <a:cubicBezTo>
                    <a:pt x="1540" y="923"/>
                    <a:pt x="1574" y="881"/>
                    <a:pt x="1574" y="834"/>
                  </a:cubicBezTo>
                  <a:cubicBezTo>
                    <a:pt x="1574" y="740"/>
                    <a:pt x="1574" y="740"/>
                    <a:pt x="1574" y="740"/>
                  </a:cubicBezTo>
                  <a:cubicBezTo>
                    <a:pt x="1574" y="692"/>
                    <a:pt x="1540" y="651"/>
                    <a:pt x="1493" y="641"/>
                  </a:cubicBezTo>
                  <a:cubicBezTo>
                    <a:pt x="1341" y="611"/>
                    <a:pt x="1341" y="611"/>
                    <a:pt x="1341" y="611"/>
                  </a:cubicBezTo>
                  <a:cubicBezTo>
                    <a:pt x="1331" y="579"/>
                    <a:pt x="1318" y="549"/>
                    <a:pt x="1303" y="520"/>
                  </a:cubicBezTo>
                  <a:cubicBezTo>
                    <a:pt x="1389" y="391"/>
                    <a:pt x="1389" y="391"/>
                    <a:pt x="1389" y="391"/>
                  </a:cubicBezTo>
                  <a:cubicBezTo>
                    <a:pt x="1416" y="351"/>
                    <a:pt x="1410" y="297"/>
                    <a:pt x="1377" y="263"/>
                  </a:cubicBezTo>
                  <a:cubicBezTo>
                    <a:pt x="1311" y="197"/>
                    <a:pt x="1311" y="197"/>
                    <a:pt x="1311" y="197"/>
                  </a:cubicBezTo>
                  <a:cubicBezTo>
                    <a:pt x="1277" y="164"/>
                    <a:pt x="1223" y="158"/>
                    <a:pt x="1183" y="185"/>
                  </a:cubicBezTo>
                  <a:cubicBezTo>
                    <a:pt x="1054" y="271"/>
                    <a:pt x="1054" y="271"/>
                    <a:pt x="1054" y="271"/>
                  </a:cubicBezTo>
                  <a:cubicBezTo>
                    <a:pt x="1025" y="256"/>
                    <a:pt x="995" y="243"/>
                    <a:pt x="963" y="233"/>
                  </a:cubicBezTo>
                  <a:cubicBezTo>
                    <a:pt x="933" y="81"/>
                    <a:pt x="933" y="81"/>
                    <a:pt x="933" y="81"/>
                  </a:cubicBezTo>
                  <a:cubicBezTo>
                    <a:pt x="923" y="34"/>
                    <a:pt x="882" y="0"/>
                    <a:pt x="834" y="0"/>
                  </a:cubicBezTo>
                  <a:cubicBezTo>
                    <a:pt x="740" y="0"/>
                    <a:pt x="740" y="0"/>
                    <a:pt x="740" y="0"/>
                  </a:cubicBezTo>
                  <a:cubicBezTo>
                    <a:pt x="693" y="0"/>
                    <a:pt x="651" y="34"/>
                    <a:pt x="642" y="81"/>
                  </a:cubicBezTo>
                  <a:cubicBezTo>
                    <a:pt x="611" y="233"/>
                    <a:pt x="611" y="233"/>
                    <a:pt x="611" y="233"/>
                  </a:cubicBezTo>
                  <a:cubicBezTo>
                    <a:pt x="580" y="243"/>
                    <a:pt x="549" y="256"/>
                    <a:pt x="520" y="271"/>
                  </a:cubicBezTo>
                  <a:cubicBezTo>
                    <a:pt x="391" y="185"/>
                    <a:pt x="391" y="185"/>
                    <a:pt x="391" y="185"/>
                  </a:cubicBezTo>
                  <a:cubicBezTo>
                    <a:pt x="351" y="158"/>
                    <a:pt x="298" y="164"/>
                    <a:pt x="264" y="197"/>
                  </a:cubicBezTo>
                  <a:cubicBezTo>
                    <a:pt x="198" y="263"/>
                    <a:pt x="198" y="263"/>
                    <a:pt x="198" y="263"/>
                  </a:cubicBezTo>
                  <a:cubicBezTo>
                    <a:pt x="164" y="297"/>
                    <a:pt x="159" y="351"/>
                    <a:pt x="185" y="391"/>
                  </a:cubicBezTo>
                  <a:cubicBezTo>
                    <a:pt x="271" y="520"/>
                    <a:pt x="271" y="520"/>
                    <a:pt x="271" y="520"/>
                  </a:cubicBezTo>
                  <a:cubicBezTo>
                    <a:pt x="256" y="549"/>
                    <a:pt x="243" y="579"/>
                    <a:pt x="233" y="611"/>
                  </a:cubicBezTo>
                  <a:cubicBezTo>
                    <a:pt x="81" y="641"/>
                    <a:pt x="81" y="641"/>
                    <a:pt x="81" y="641"/>
                  </a:cubicBezTo>
                  <a:cubicBezTo>
                    <a:pt x="34" y="651"/>
                    <a:pt x="0" y="692"/>
                    <a:pt x="0" y="740"/>
                  </a:cubicBezTo>
                  <a:cubicBezTo>
                    <a:pt x="0" y="834"/>
                    <a:pt x="0" y="834"/>
                    <a:pt x="0" y="834"/>
                  </a:cubicBezTo>
                  <a:cubicBezTo>
                    <a:pt x="0" y="881"/>
                    <a:pt x="34" y="923"/>
                    <a:pt x="81" y="932"/>
                  </a:cubicBezTo>
                  <a:cubicBezTo>
                    <a:pt x="233" y="963"/>
                    <a:pt x="233" y="963"/>
                    <a:pt x="233" y="963"/>
                  </a:cubicBezTo>
                  <a:cubicBezTo>
                    <a:pt x="243" y="994"/>
                    <a:pt x="256" y="1025"/>
                    <a:pt x="271" y="1054"/>
                  </a:cubicBezTo>
                  <a:cubicBezTo>
                    <a:pt x="185" y="1183"/>
                    <a:pt x="185" y="1183"/>
                    <a:pt x="185" y="1183"/>
                  </a:cubicBezTo>
                  <a:cubicBezTo>
                    <a:pt x="159" y="1223"/>
                    <a:pt x="164" y="1276"/>
                    <a:pt x="198" y="1310"/>
                  </a:cubicBezTo>
                  <a:cubicBezTo>
                    <a:pt x="264" y="1376"/>
                    <a:pt x="264" y="1376"/>
                    <a:pt x="264" y="1376"/>
                  </a:cubicBezTo>
                  <a:cubicBezTo>
                    <a:pt x="298" y="1410"/>
                    <a:pt x="351" y="1415"/>
                    <a:pt x="391" y="1389"/>
                  </a:cubicBezTo>
                  <a:cubicBezTo>
                    <a:pt x="520" y="1303"/>
                    <a:pt x="520" y="1303"/>
                    <a:pt x="520" y="1303"/>
                  </a:cubicBezTo>
                  <a:cubicBezTo>
                    <a:pt x="549" y="1318"/>
                    <a:pt x="580" y="1331"/>
                    <a:pt x="611" y="1341"/>
                  </a:cubicBezTo>
                  <a:cubicBezTo>
                    <a:pt x="642" y="1493"/>
                    <a:pt x="642" y="1493"/>
                    <a:pt x="642" y="1493"/>
                  </a:cubicBezTo>
                  <a:cubicBezTo>
                    <a:pt x="651" y="1540"/>
                    <a:pt x="693" y="1574"/>
                    <a:pt x="740" y="1574"/>
                  </a:cubicBezTo>
                  <a:cubicBezTo>
                    <a:pt x="834" y="1574"/>
                    <a:pt x="834" y="1574"/>
                    <a:pt x="834" y="1574"/>
                  </a:cubicBezTo>
                  <a:cubicBezTo>
                    <a:pt x="882" y="1574"/>
                    <a:pt x="923" y="1540"/>
                    <a:pt x="933" y="1493"/>
                  </a:cubicBezTo>
                  <a:cubicBezTo>
                    <a:pt x="963" y="1341"/>
                    <a:pt x="963" y="1341"/>
                    <a:pt x="963" y="1341"/>
                  </a:cubicBezTo>
                  <a:cubicBezTo>
                    <a:pt x="988" y="1333"/>
                    <a:pt x="982" y="1335"/>
                    <a:pt x="1006" y="1324"/>
                  </a:cubicBezTo>
                  <a:cubicBezTo>
                    <a:pt x="1022" y="1316"/>
                    <a:pt x="1029" y="1297"/>
                    <a:pt x="1021" y="1281"/>
                  </a:cubicBezTo>
                  <a:close/>
                </a:path>
              </a:pathLst>
            </a:custGeom>
            <a:grpFill/>
            <a:ln w="3175">
              <a:solidFill>
                <a:schemeClr val="bg1"/>
              </a:solidFill>
              <a:round/>
              <a:headEnd/>
              <a:tailEnd/>
            </a:ln>
          </p:spPr>
          <p:txBody>
            <a:bodyPr vert="horz" wrap="square" lIns="57150" tIns="28575" rIns="57150" bIns="28575"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64FF"/>
                </a:solidFill>
                <a:effectLst/>
                <a:uLnTx/>
                <a:uFillTx/>
                <a:latin typeface="Arial" panose="020B0604020202020204"/>
                <a:ea typeface="+mn-ea"/>
                <a:cs typeface="+mn-cs"/>
              </a:endParaRPr>
            </a:p>
          </p:txBody>
        </p:sp>
        <p:sp>
          <p:nvSpPr>
            <p:cNvPr id="47" name="Freeform 6"/>
            <p:cNvSpPr>
              <a:spLocks/>
            </p:cNvSpPr>
            <p:nvPr/>
          </p:nvSpPr>
          <p:spPr bwMode="auto">
            <a:xfrm>
              <a:off x="2937" y="2464"/>
              <a:ext cx="213" cy="214"/>
            </a:xfrm>
            <a:custGeom>
              <a:avLst/>
              <a:gdLst>
                <a:gd name="T0" fmla="*/ 740 w 752"/>
                <a:gd name="T1" fmla="*/ 749 h 758"/>
                <a:gd name="T2" fmla="*/ 719 w 752"/>
                <a:gd name="T3" fmla="*/ 758 h 758"/>
                <a:gd name="T4" fmla="*/ 698 w 752"/>
                <a:gd name="T5" fmla="*/ 749 h 758"/>
                <a:gd name="T6" fmla="*/ 63 w 752"/>
                <a:gd name="T7" fmla="*/ 112 h 758"/>
                <a:gd name="T8" fmla="*/ 66 w 752"/>
                <a:gd name="T9" fmla="*/ 220 h 758"/>
                <a:gd name="T10" fmla="*/ 37 w 752"/>
                <a:gd name="T11" fmla="*/ 251 h 758"/>
                <a:gd name="T12" fmla="*/ 36 w 752"/>
                <a:gd name="T13" fmla="*/ 251 h 758"/>
                <a:gd name="T14" fmla="*/ 6 w 752"/>
                <a:gd name="T15" fmla="*/ 222 h 758"/>
                <a:gd name="T16" fmla="*/ 1 w 752"/>
                <a:gd name="T17" fmla="*/ 37 h 758"/>
                <a:gd name="T18" fmla="*/ 30 w 752"/>
                <a:gd name="T19" fmla="*/ 6 h 758"/>
                <a:gd name="T20" fmla="*/ 215 w 752"/>
                <a:gd name="T21" fmla="*/ 1 h 758"/>
                <a:gd name="T22" fmla="*/ 246 w 752"/>
                <a:gd name="T23" fmla="*/ 30 h 758"/>
                <a:gd name="T24" fmla="*/ 217 w 752"/>
                <a:gd name="T25" fmla="*/ 61 h 758"/>
                <a:gd name="T26" fmla="*/ 100 w 752"/>
                <a:gd name="T27" fmla="*/ 64 h 758"/>
                <a:gd name="T28" fmla="*/ 741 w 752"/>
                <a:gd name="T29" fmla="*/ 707 h 758"/>
                <a:gd name="T30" fmla="*/ 740 w 752"/>
                <a:gd name="T31" fmla="*/ 749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2" h="758">
                  <a:moveTo>
                    <a:pt x="740" y="749"/>
                  </a:moveTo>
                  <a:cubicBezTo>
                    <a:pt x="735" y="755"/>
                    <a:pt x="727" y="758"/>
                    <a:pt x="719" y="758"/>
                  </a:cubicBezTo>
                  <a:cubicBezTo>
                    <a:pt x="712" y="758"/>
                    <a:pt x="704" y="755"/>
                    <a:pt x="698" y="749"/>
                  </a:cubicBezTo>
                  <a:cubicBezTo>
                    <a:pt x="63" y="112"/>
                    <a:pt x="63" y="112"/>
                    <a:pt x="63" y="112"/>
                  </a:cubicBezTo>
                  <a:cubicBezTo>
                    <a:pt x="66" y="220"/>
                    <a:pt x="66" y="220"/>
                    <a:pt x="66" y="220"/>
                  </a:cubicBezTo>
                  <a:cubicBezTo>
                    <a:pt x="67" y="237"/>
                    <a:pt x="54" y="251"/>
                    <a:pt x="37" y="251"/>
                  </a:cubicBezTo>
                  <a:cubicBezTo>
                    <a:pt x="37" y="251"/>
                    <a:pt x="36" y="251"/>
                    <a:pt x="36" y="251"/>
                  </a:cubicBezTo>
                  <a:cubicBezTo>
                    <a:pt x="20" y="251"/>
                    <a:pt x="7" y="238"/>
                    <a:pt x="6" y="222"/>
                  </a:cubicBezTo>
                  <a:cubicBezTo>
                    <a:pt x="1" y="37"/>
                    <a:pt x="1" y="37"/>
                    <a:pt x="1" y="37"/>
                  </a:cubicBezTo>
                  <a:cubicBezTo>
                    <a:pt x="0" y="21"/>
                    <a:pt x="13" y="7"/>
                    <a:pt x="30" y="6"/>
                  </a:cubicBezTo>
                  <a:cubicBezTo>
                    <a:pt x="215" y="1"/>
                    <a:pt x="215" y="1"/>
                    <a:pt x="215" y="1"/>
                  </a:cubicBezTo>
                  <a:cubicBezTo>
                    <a:pt x="232" y="0"/>
                    <a:pt x="245" y="13"/>
                    <a:pt x="246" y="30"/>
                  </a:cubicBezTo>
                  <a:cubicBezTo>
                    <a:pt x="246" y="46"/>
                    <a:pt x="233" y="60"/>
                    <a:pt x="217" y="61"/>
                  </a:cubicBezTo>
                  <a:cubicBezTo>
                    <a:pt x="100" y="64"/>
                    <a:pt x="100" y="64"/>
                    <a:pt x="100" y="64"/>
                  </a:cubicBezTo>
                  <a:cubicBezTo>
                    <a:pt x="741" y="707"/>
                    <a:pt x="741" y="707"/>
                    <a:pt x="741" y="707"/>
                  </a:cubicBezTo>
                  <a:cubicBezTo>
                    <a:pt x="752" y="719"/>
                    <a:pt x="752" y="738"/>
                    <a:pt x="740" y="749"/>
                  </a:cubicBezTo>
                  <a:close/>
                </a:path>
              </a:pathLst>
            </a:custGeom>
            <a:grpFill/>
            <a:ln w="3175">
              <a:solidFill>
                <a:schemeClr val="bg1"/>
              </a:solidFill>
              <a:round/>
              <a:headEnd/>
              <a:tailEnd/>
            </a:ln>
          </p:spPr>
          <p:txBody>
            <a:bodyPr vert="horz" wrap="square" lIns="57150" tIns="28575" rIns="57150" bIns="28575"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64FF"/>
                </a:solidFill>
                <a:effectLst/>
                <a:uLnTx/>
                <a:uFillTx/>
                <a:latin typeface="Arial" panose="020B0604020202020204"/>
                <a:ea typeface="+mn-ea"/>
                <a:cs typeface="+mn-cs"/>
              </a:endParaRPr>
            </a:p>
          </p:txBody>
        </p:sp>
      </p:grpSp>
      <p:grpSp>
        <p:nvGrpSpPr>
          <p:cNvPr id="60" name="Group 9"/>
          <p:cNvGrpSpPr>
            <a:grpSpLocks noChangeAspect="1"/>
          </p:cNvGrpSpPr>
          <p:nvPr/>
        </p:nvGrpSpPr>
        <p:grpSpPr bwMode="auto">
          <a:xfrm>
            <a:off x="2444853" y="808633"/>
            <a:ext cx="578845" cy="566261"/>
            <a:chOff x="2666" y="1715"/>
            <a:chExt cx="552" cy="540"/>
          </a:xfrm>
          <a:solidFill>
            <a:schemeClr val="accent2"/>
          </a:solidFill>
        </p:grpSpPr>
        <p:sp>
          <p:nvSpPr>
            <p:cNvPr id="61" name="Freeform 10"/>
            <p:cNvSpPr>
              <a:spLocks noEditPoints="1"/>
            </p:cNvSpPr>
            <p:nvPr/>
          </p:nvSpPr>
          <p:spPr bwMode="auto">
            <a:xfrm>
              <a:off x="2776" y="1820"/>
              <a:ext cx="318" cy="435"/>
            </a:xfrm>
            <a:custGeom>
              <a:avLst/>
              <a:gdLst>
                <a:gd name="T0" fmla="*/ 54 w 108"/>
                <a:gd name="T1" fmla="*/ 0 h 148"/>
                <a:gd name="T2" fmla="*/ 0 w 108"/>
                <a:gd name="T3" fmla="*/ 55 h 148"/>
                <a:gd name="T4" fmla="*/ 35 w 108"/>
                <a:gd name="T5" fmla="*/ 106 h 148"/>
                <a:gd name="T6" fmla="*/ 35 w 108"/>
                <a:gd name="T7" fmla="*/ 135 h 148"/>
                <a:gd name="T8" fmla="*/ 38 w 108"/>
                <a:gd name="T9" fmla="*/ 138 h 148"/>
                <a:gd name="T10" fmla="*/ 41 w 108"/>
                <a:gd name="T11" fmla="*/ 138 h 148"/>
                <a:gd name="T12" fmla="*/ 41 w 108"/>
                <a:gd name="T13" fmla="*/ 144 h 148"/>
                <a:gd name="T14" fmla="*/ 44 w 108"/>
                <a:gd name="T15" fmla="*/ 148 h 148"/>
                <a:gd name="T16" fmla="*/ 64 w 108"/>
                <a:gd name="T17" fmla="*/ 148 h 148"/>
                <a:gd name="T18" fmla="*/ 67 w 108"/>
                <a:gd name="T19" fmla="*/ 144 h 148"/>
                <a:gd name="T20" fmla="*/ 67 w 108"/>
                <a:gd name="T21" fmla="*/ 138 h 148"/>
                <a:gd name="T22" fmla="*/ 70 w 108"/>
                <a:gd name="T23" fmla="*/ 138 h 148"/>
                <a:gd name="T24" fmla="*/ 73 w 108"/>
                <a:gd name="T25" fmla="*/ 135 h 148"/>
                <a:gd name="T26" fmla="*/ 73 w 108"/>
                <a:gd name="T27" fmla="*/ 106 h 148"/>
                <a:gd name="T28" fmla="*/ 108 w 108"/>
                <a:gd name="T29" fmla="*/ 55 h 148"/>
                <a:gd name="T30" fmla="*/ 54 w 108"/>
                <a:gd name="T31" fmla="*/ 0 h 148"/>
                <a:gd name="T32" fmla="*/ 64 w 108"/>
                <a:gd name="T33" fmla="*/ 132 h 148"/>
                <a:gd name="T34" fmla="*/ 60 w 108"/>
                <a:gd name="T35" fmla="*/ 135 h 148"/>
                <a:gd name="T36" fmla="*/ 60 w 108"/>
                <a:gd name="T37" fmla="*/ 141 h 148"/>
                <a:gd name="T38" fmla="*/ 48 w 108"/>
                <a:gd name="T39" fmla="*/ 141 h 148"/>
                <a:gd name="T40" fmla="*/ 48 w 108"/>
                <a:gd name="T41" fmla="*/ 135 h 148"/>
                <a:gd name="T42" fmla="*/ 44 w 108"/>
                <a:gd name="T43" fmla="*/ 132 h 148"/>
                <a:gd name="T44" fmla="*/ 41 w 108"/>
                <a:gd name="T45" fmla="*/ 132 h 148"/>
                <a:gd name="T46" fmla="*/ 41 w 108"/>
                <a:gd name="T47" fmla="*/ 116 h 148"/>
                <a:gd name="T48" fmla="*/ 67 w 108"/>
                <a:gd name="T49" fmla="*/ 116 h 148"/>
                <a:gd name="T50" fmla="*/ 67 w 108"/>
                <a:gd name="T51" fmla="*/ 132 h 148"/>
                <a:gd name="T52" fmla="*/ 64 w 108"/>
                <a:gd name="T53" fmla="*/ 132 h 148"/>
                <a:gd name="T54" fmla="*/ 69 w 108"/>
                <a:gd name="T55" fmla="*/ 100 h 148"/>
                <a:gd name="T56" fmla="*/ 67 w 108"/>
                <a:gd name="T57" fmla="*/ 103 h 148"/>
                <a:gd name="T58" fmla="*/ 67 w 108"/>
                <a:gd name="T59" fmla="*/ 109 h 148"/>
                <a:gd name="T60" fmla="*/ 41 w 108"/>
                <a:gd name="T61" fmla="*/ 109 h 148"/>
                <a:gd name="T62" fmla="*/ 41 w 108"/>
                <a:gd name="T63" fmla="*/ 103 h 148"/>
                <a:gd name="T64" fmla="*/ 39 w 108"/>
                <a:gd name="T65" fmla="*/ 100 h 148"/>
                <a:gd name="T66" fmla="*/ 6 w 108"/>
                <a:gd name="T67" fmla="*/ 55 h 148"/>
                <a:gd name="T68" fmla="*/ 54 w 108"/>
                <a:gd name="T69" fmla="*/ 7 h 148"/>
                <a:gd name="T70" fmla="*/ 102 w 108"/>
                <a:gd name="T71" fmla="*/ 55 h 148"/>
                <a:gd name="T72" fmla="*/ 69 w 108"/>
                <a:gd name="T73" fmla="*/ 100 h 148"/>
                <a:gd name="T74" fmla="*/ 69 w 108"/>
                <a:gd name="T75" fmla="*/ 100 h 148"/>
                <a:gd name="T76" fmla="*/ 69 w 108"/>
                <a:gd name="T77" fmla="*/ 10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8" h="148">
                  <a:moveTo>
                    <a:pt x="54" y="0"/>
                  </a:moveTo>
                  <a:cubicBezTo>
                    <a:pt x="24" y="0"/>
                    <a:pt x="0" y="25"/>
                    <a:pt x="0" y="55"/>
                  </a:cubicBezTo>
                  <a:cubicBezTo>
                    <a:pt x="0" y="78"/>
                    <a:pt x="14" y="98"/>
                    <a:pt x="35" y="106"/>
                  </a:cubicBezTo>
                  <a:cubicBezTo>
                    <a:pt x="35" y="135"/>
                    <a:pt x="35" y="135"/>
                    <a:pt x="35" y="135"/>
                  </a:cubicBezTo>
                  <a:cubicBezTo>
                    <a:pt x="35" y="137"/>
                    <a:pt x="36" y="138"/>
                    <a:pt x="38" y="138"/>
                  </a:cubicBezTo>
                  <a:cubicBezTo>
                    <a:pt x="41" y="138"/>
                    <a:pt x="41" y="138"/>
                    <a:pt x="41" y="138"/>
                  </a:cubicBezTo>
                  <a:cubicBezTo>
                    <a:pt x="41" y="144"/>
                    <a:pt x="41" y="144"/>
                    <a:pt x="41" y="144"/>
                  </a:cubicBezTo>
                  <a:cubicBezTo>
                    <a:pt x="41" y="146"/>
                    <a:pt x="43" y="148"/>
                    <a:pt x="44" y="148"/>
                  </a:cubicBezTo>
                  <a:cubicBezTo>
                    <a:pt x="64" y="148"/>
                    <a:pt x="64" y="148"/>
                    <a:pt x="64" y="148"/>
                  </a:cubicBezTo>
                  <a:cubicBezTo>
                    <a:pt x="65" y="148"/>
                    <a:pt x="67" y="146"/>
                    <a:pt x="67" y="144"/>
                  </a:cubicBezTo>
                  <a:cubicBezTo>
                    <a:pt x="67" y="138"/>
                    <a:pt x="67" y="138"/>
                    <a:pt x="67" y="138"/>
                  </a:cubicBezTo>
                  <a:cubicBezTo>
                    <a:pt x="70" y="138"/>
                    <a:pt x="70" y="138"/>
                    <a:pt x="70" y="138"/>
                  </a:cubicBezTo>
                  <a:cubicBezTo>
                    <a:pt x="72" y="138"/>
                    <a:pt x="73" y="137"/>
                    <a:pt x="73" y="135"/>
                  </a:cubicBezTo>
                  <a:cubicBezTo>
                    <a:pt x="73" y="106"/>
                    <a:pt x="73" y="106"/>
                    <a:pt x="73" y="106"/>
                  </a:cubicBezTo>
                  <a:cubicBezTo>
                    <a:pt x="94" y="98"/>
                    <a:pt x="108" y="78"/>
                    <a:pt x="108" y="55"/>
                  </a:cubicBezTo>
                  <a:cubicBezTo>
                    <a:pt x="108" y="25"/>
                    <a:pt x="84" y="0"/>
                    <a:pt x="54" y="0"/>
                  </a:cubicBezTo>
                  <a:close/>
                  <a:moveTo>
                    <a:pt x="64" y="132"/>
                  </a:moveTo>
                  <a:cubicBezTo>
                    <a:pt x="62" y="132"/>
                    <a:pt x="60" y="133"/>
                    <a:pt x="60" y="135"/>
                  </a:cubicBezTo>
                  <a:cubicBezTo>
                    <a:pt x="60" y="141"/>
                    <a:pt x="60" y="141"/>
                    <a:pt x="60" y="141"/>
                  </a:cubicBezTo>
                  <a:cubicBezTo>
                    <a:pt x="48" y="141"/>
                    <a:pt x="48" y="141"/>
                    <a:pt x="48" y="141"/>
                  </a:cubicBezTo>
                  <a:cubicBezTo>
                    <a:pt x="48" y="135"/>
                    <a:pt x="48" y="135"/>
                    <a:pt x="48" y="135"/>
                  </a:cubicBezTo>
                  <a:cubicBezTo>
                    <a:pt x="48" y="133"/>
                    <a:pt x="46" y="132"/>
                    <a:pt x="44" y="132"/>
                  </a:cubicBezTo>
                  <a:cubicBezTo>
                    <a:pt x="41" y="132"/>
                    <a:pt x="41" y="132"/>
                    <a:pt x="41" y="132"/>
                  </a:cubicBezTo>
                  <a:cubicBezTo>
                    <a:pt x="41" y="116"/>
                    <a:pt x="41" y="116"/>
                    <a:pt x="41" y="116"/>
                  </a:cubicBezTo>
                  <a:cubicBezTo>
                    <a:pt x="67" y="116"/>
                    <a:pt x="67" y="116"/>
                    <a:pt x="67" y="116"/>
                  </a:cubicBezTo>
                  <a:cubicBezTo>
                    <a:pt x="67" y="132"/>
                    <a:pt x="67" y="132"/>
                    <a:pt x="67" y="132"/>
                  </a:cubicBezTo>
                  <a:lnTo>
                    <a:pt x="64" y="132"/>
                  </a:lnTo>
                  <a:close/>
                  <a:moveTo>
                    <a:pt x="69" y="100"/>
                  </a:moveTo>
                  <a:cubicBezTo>
                    <a:pt x="68" y="101"/>
                    <a:pt x="67" y="102"/>
                    <a:pt x="67" y="103"/>
                  </a:cubicBezTo>
                  <a:cubicBezTo>
                    <a:pt x="67" y="109"/>
                    <a:pt x="67" y="109"/>
                    <a:pt x="67" y="109"/>
                  </a:cubicBezTo>
                  <a:cubicBezTo>
                    <a:pt x="41" y="109"/>
                    <a:pt x="41" y="109"/>
                    <a:pt x="41" y="109"/>
                  </a:cubicBezTo>
                  <a:cubicBezTo>
                    <a:pt x="41" y="103"/>
                    <a:pt x="41" y="103"/>
                    <a:pt x="41" y="103"/>
                  </a:cubicBezTo>
                  <a:cubicBezTo>
                    <a:pt x="41" y="102"/>
                    <a:pt x="40" y="101"/>
                    <a:pt x="39" y="100"/>
                  </a:cubicBezTo>
                  <a:cubicBezTo>
                    <a:pt x="19" y="94"/>
                    <a:pt x="6" y="76"/>
                    <a:pt x="6" y="55"/>
                  </a:cubicBezTo>
                  <a:cubicBezTo>
                    <a:pt x="6" y="28"/>
                    <a:pt x="28" y="7"/>
                    <a:pt x="54" y="7"/>
                  </a:cubicBezTo>
                  <a:cubicBezTo>
                    <a:pt x="80" y="7"/>
                    <a:pt x="102" y="28"/>
                    <a:pt x="102" y="55"/>
                  </a:cubicBezTo>
                  <a:cubicBezTo>
                    <a:pt x="102" y="76"/>
                    <a:pt x="89" y="94"/>
                    <a:pt x="69" y="100"/>
                  </a:cubicBezTo>
                  <a:close/>
                  <a:moveTo>
                    <a:pt x="69" y="100"/>
                  </a:moveTo>
                  <a:cubicBezTo>
                    <a:pt x="69" y="100"/>
                    <a:pt x="69" y="100"/>
                    <a:pt x="69" y="10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64FF"/>
                </a:solidFill>
                <a:effectLst/>
                <a:uLnTx/>
                <a:uFillTx/>
                <a:latin typeface="Arial" panose="020B0604020202020204"/>
                <a:ea typeface="+mn-ea"/>
                <a:cs typeface="+mn-cs"/>
              </a:endParaRPr>
            </a:p>
          </p:txBody>
        </p:sp>
        <p:sp>
          <p:nvSpPr>
            <p:cNvPr id="62" name="Freeform 11"/>
            <p:cNvSpPr>
              <a:spLocks noEditPoints="1"/>
            </p:cNvSpPr>
            <p:nvPr/>
          </p:nvSpPr>
          <p:spPr bwMode="auto">
            <a:xfrm>
              <a:off x="2926" y="1715"/>
              <a:ext cx="18" cy="56"/>
            </a:xfrm>
            <a:custGeom>
              <a:avLst/>
              <a:gdLst>
                <a:gd name="T0" fmla="*/ 3 w 6"/>
                <a:gd name="T1" fmla="*/ 19 h 19"/>
                <a:gd name="T2" fmla="*/ 6 w 6"/>
                <a:gd name="T3" fmla="*/ 16 h 19"/>
                <a:gd name="T4" fmla="*/ 6 w 6"/>
                <a:gd name="T5" fmla="*/ 3 h 19"/>
                <a:gd name="T6" fmla="*/ 3 w 6"/>
                <a:gd name="T7" fmla="*/ 0 h 19"/>
                <a:gd name="T8" fmla="*/ 0 w 6"/>
                <a:gd name="T9" fmla="*/ 3 h 19"/>
                <a:gd name="T10" fmla="*/ 0 w 6"/>
                <a:gd name="T11" fmla="*/ 16 h 19"/>
                <a:gd name="T12" fmla="*/ 3 w 6"/>
                <a:gd name="T13" fmla="*/ 19 h 19"/>
                <a:gd name="T14" fmla="*/ 3 w 6"/>
                <a:gd name="T15" fmla="*/ 19 h 19"/>
                <a:gd name="T16" fmla="*/ 3 w 6"/>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9">
                  <a:moveTo>
                    <a:pt x="3" y="19"/>
                  </a:moveTo>
                  <a:cubicBezTo>
                    <a:pt x="5" y="19"/>
                    <a:pt x="6" y="18"/>
                    <a:pt x="6" y="16"/>
                  </a:cubicBezTo>
                  <a:cubicBezTo>
                    <a:pt x="6" y="3"/>
                    <a:pt x="6" y="3"/>
                    <a:pt x="6" y="3"/>
                  </a:cubicBezTo>
                  <a:cubicBezTo>
                    <a:pt x="6" y="1"/>
                    <a:pt x="5" y="0"/>
                    <a:pt x="3" y="0"/>
                  </a:cubicBezTo>
                  <a:cubicBezTo>
                    <a:pt x="1" y="0"/>
                    <a:pt x="0" y="1"/>
                    <a:pt x="0" y="3"/>
                  </a:cubicBezTo>
                  <a:cubicBezTo>
                    <a:pt x="0" y="16"/>
                    <a:pt x="0" y="16"/>
                    <a:pt x="0" y="16"/>
                  </a:cubicBezTo>
                  <a:cubicBezTo>
                    <a:pt x="0" y="18"/>
                    <a:pt x="1" y="19"/>
                    <a:pt x="3" y="19"/>
                  </a:cubicBezTo>
                  <a:close/>
                  <a:moveTo>
                    <a:pt x="3" y="19"/>
                  </a:moveTo>
                  <a:cubicBezTo>
                    <a:pt x="3" y="19"/>
                    <a:pt x="3" y="19"/>
                    <a:pt x="3"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64FF"/>
                </a:solidFill>
                <a:effectLst/>
                <a:uLnTx/>
                <a:uFillTx/>
                <a:latin typeface="Arial" panose="020B0604020202020204"/>
                <a:ea typeface="+mn-ea"/>
                <a:cs typeface="+mn-cs"/>
              </a:endParaRPr>
            </a:p>
          </p:txBody>
        </p:sp>
        <p:sp>
          <p:nvSpPr>
            <p:cNvPr id="64" name="Freeform 12"/>
            <p:cNvSpPr>
              <a:spLocks noEditPoints="1"/>
            </p:cNvSpPr>
            <p:nvPr/>
          </p:nvSpPr>
          <p:spPr bwMode="auto">
            <a:xfrm>
              <a:off x="3162" y="1973"/>
              <a:ext cx="56" cy="17"/>
            </a:xfrm>
            <a:custGeom>
              <a:avLst/>
              <a:gdLst>
                <a:gd name="T0" fmla="*/ 16 w 19"/>
                <a:gd name="T1" fmla="*/ 0 h 6"/>
                <a:gd name="T2" fmla="*/ 3 w 19"/>
                <a:gd name="T3" fmla="*/ 0 h 6"/>
                <a:gd name="T4" fmla="*/ 0 w 19"/>
                <a:gd name="T5" fmla="*/ 3 h 6"/>
                <a:gd name="T6" fmla="*/ 3 w 19"/>
                <a:gd name="T7" fmla="*/ 6 h 6"/>
                <a:gd name="T8" fmla="*/ 16 w 19"/>
                <a:gd name="T9" fmla="*/ 6 h 6"/>
                <a:gd name="T10" fmla="*/ 19 w 19"/>
                <a:gd name="T11" fmla="*/ 3 h 6"/>
                <a:gd name="T12" fmla="*/ 16 w 19"/>
                <a:gd name="T13" fmla="*/ 0 h 6"/>
                <a:gd name="T14" fmla="*/ 16 w 19"/>
                <a:gd name="T15" fmla="*/ 0 h 6"/>
                <a:gd name="T16" fmla="*/ 16 w 19"/>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6">
                  <a:moveTo>
                    <a:pt x="16" y="0"/>
                  </a:moveTo>
                  <a:cubicBezTo>
                    <a:pt x="3" y="0"/>
                    <a:pt x="3" y="0"/>
                    <a:pt x="3" y="0"/>
                  </a:cubicBezTo>
                  <a:cubicBezTo>
                    <a:pt x="1" y="0"/>
                    <a:pt x="0" y="1"/>
                    <a:pt x="0" y="3"/>
                  </a:cubicBezTo>
                  <a:cubicBezTo>
                    <a:pt x="0" y="5"/>
                    <a:pt x="1" y="6"/>
                    <a:pt x="3" y="6"/>
                  </a:cubicBezTo>
                  <a:cubicBezTo>
                    <a:pt x="16" y="6"/>
                    <a:pt x="16" y="6"/>
                    <a:pt x="16" y="6"/>
                  </a:cubicBezTo>
                  <a:cubicBezTo>
                    <a:pt x="18" y="6"/>
                    <a:pt x="19" y="5"/>
                    <a:pt x="19" y="3"/>
                  </a:cubicBezTo>
                  <a:cubicBezTo>
                    <a:pt x="19" y="1"/>
                    <a:pt x="18" y="0"/>
                    <a:pt x="16" y="0"/>
                  </a:cubicBezTo>
                  <a:close/>
                  <a:moveTo>
                    <a:pt x="16" y="0"/>
                  </a:move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64FF"/>
                </a:solidFill>
                <a:effectLst/>
                <a:uLnTx/>
                <a:uFillTx/>
                <a:latin typeface="Arial" panose="020B0604020202020204"/>
                <a:ea typeface="+mn-ea"/>
                <a:cs typeface="+mn-cs"/>
              </a:endParaRPr>
            </a:p>
          </p:txBody>
        </p:sp>
        <p:sp>
          <p:nvSpPr>
            <p:cNvPr id="66" name="Freeform 13"/>
            <p:cNvSpPr>
              <a:spLocks noEditPoints="1"/>
            </p:cNvSpPr>
            <p:nvPr/>
          </p:nvSpPr>
          <p:spPr bwMode="auto">
            <a:xfrm>
              <a:off x="2666" y="1973"/>
              <a:ext cx="56" cy="17"/>
            </a:xfrm>
            <a:custGeom>
              <a:avLst/>
              <a:gdLst>
                <a:gd name="T0" fmla="*/ 16 w 19"/>
                <a:gd name="T1" fmla="*/ 0 h 6"/>
                <a:gd name="T2" fmla="*/ 3 w 19"/>
                <a:gd name="T3" fmla="*/ 0 h 6"/>
                <a:gd name="T4" fmla="*/ 0 w 19"/>
                <a:gd name="T5" fmla="*/ 3 h 6"/>
                <a:gd name="T6" fmla="*/ 3 w 19"/>
                <a:gd name="T7" fmla="*/ 6 h 6"/>
                <a:gd name="T8" fmla="*/ 16 w 19"/>
                <a:gd name="T9" fmla="*/ 6 h 6"/>
                <a:gd name="T10" fmla="*/ 19 w 19"/>
                <a:gd name="T11" fmla="*/ 3 h 6"/>
                <a:gd name="T12" fmla="*/ 16 w 19"/>
                <a:gd name="T13" fmla="*/ 0 h 6"/>
                <a:gd name="T14" fmla="*/ 16 w 19"/>
                <a:gd name="T15" fmla="*/ 0 h 6"/>
                <a:gd name="T16" fmla="*/ 16 w 19"/>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6">
                  <a:moveTo>
                    <a:pt x="16" y="0"/>
                  </a:moveTo>
                  <a:cubicBezTo>
                    <a:pt x="3" y="0"/>
                    <a:pt x="3" y="0"/>
                    <a:pt x="3" y="0"/>
                  </a:cubicBezTo>
                  <a:cubicBezTo>
                    <a:pt x="1" y="0"/>
                    <a:pt x="0" y="1"/>
                    <a:pt x="0" y="3"/>
                  </a:cubicBezTo>
                  <a:cubicBezTo>
                    <a:pt x="0" y="5"/>
                    <a:pt x="1" y="6"/>
                    <a:pt x="3" y="6"/>
                  </a:cubicBezTo>
                  <a:cubicBezTo>
                    <a:pt x="16" y="6"/>
                    <a:pt x="16" y="6"/>
                    <a:pt x="16" y="6"/>
                  </a:cubicBezTo>
                  <a:cubicBezTo>
                    <a:pt x="18" y="6"/>
                    <a:pt x="19" y="5"/>
                    <a:pt x="19" y="3"/>
                  </a:cubicBezTo>
                  <a:cubicBezTo>
                    <a:pt x="19" y="1"/>
                    <a:pt x="18" y="0"/>
                    <a:pt x="16" y="0"/>
                  </a:cubicBezTo>
                  <a:close/>
                  <a:moveTo>
                    <a:pt x="16" y="0"/>
                  </a:move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64FF"/>
                </a:solidFill>
                <a:effectLst/>
                <a:uLnTx/>
                <a:uFillTx/>
                <a:latin typeface="Arial" panose="020B0604020202020204"/>
                <a:ea typeface="+mn-ea"/>
                <a:cs typeface="+mn-cs"/>
              </a:endParaRPr>
            </a:p>
          </p:txBody>
        </p:sp>
        <p:sp>
          <p:nvSpPr>
            <p:cNvPr id="72" name="Freeform 14"/>
            <p:cNvSpPr>
              <a:spLocks noEditPoints="1"/>
            </p:cNvSpPr>
            <p:nvPr/>
          </p:nvSpPr>
          <p:spPr bwMode="auto">
            <a:xfrm>
              <a:off x="3106" y="1811"/>
              <a:ext cx="47" cy="47"/>
            </a:xfrm>
            <a:custGeom>
              <a:avLst/>
              <a:gdLst>
                <a:gd name="T0" fmla="*/ 10 w 16"/>
                <a:gd name="T1" fmla="*/ 1 h 16"/>
                <a:gd name="T2" fmla="*/ 1 w 16"/>
                <a:gd name="T3" fmla="*/ 10 h 16"/>
                <a:gd name="T4" fmla="*/ 1 w 16"/>
                <a:gd name="T5" fmla="*/ 15 h 16"/>
                <a:gd name="T6" fmla="*/ 3 w 16"/>
                <a:gd name="T7" fmla="*/ 16 h 16"/>
                <a:gd name="T8" fmla="*/ 6 w 16"/>
                <a:gd name="T9" fmla="*/ 15 h 16"/>
                <a:gd name="T10" fmla="*/ 15 w 16"/>
                <a:gd name="T11" fmla="*/ 6 h 16"/>
                <a:gd name="T12" fmla="*/ 15 w 16"/>
                <a:gd name="T13" fmla="*/ 1 h 16"/>
                <a:gd name="T14" fmla="*/ 10 w 16"/>
                <a:gd name="T15" fmla="*/ 1 h 16"/>
                <a:gd name="T16" fmla="*/ 10 w 16"/>
                <a:gd name="T17" fmla="*/ 1 h 16"/>
                <a:gd name="T18" fmla="*/ 10 w 16"/>
                <a:gd name="T19"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10" y="1"/>
                  </a:moveTo>
                  <a:cubicBezTo>
                    <a:pt x="1" y="10"/>
                    <a:pt x="1" y="10"/>
                    <a:pt x="1" y="10"/>
                  </a:cubicBezTo>
                  <a:cubicBezTo>
                    <a:pt x="0" y="12"/>
                    <a:pt x="0" y="14"/>
                    <a:pt x="1" y="15"/>
                  </a:cubicBezTo>
                  <a:cubicBezTo>
                    <a:pt x="2" y="16"/>
                    <a:pt x="2" y="16"/>
                    <a:pt x="3" y="16"/>
                  </a:cubicBezTo>
                  <a:cubicBezTo>
                    <a:pt x="4" y="16"/>
                    <a:pt x="5" y="16"/>
                    <a:pt x="6" y="15"/>
                  </a:cubicBezTo>
                  <a:cubicBezTo>
                    <a:pt x="15" y="6"/>
                    <a:pt x="15" y="6"/>
                    <a:pt x="15" y="6"/>
                  </a:cubicBezTo>
                  <a:cubicBezTo>
                    <a:pt x="16" y="5"/>
                    <a:pt x="16" y="3"/>
                    <a:pt x="15" y="1"/>
                  </a:cubicBezTo>
                  <a:cubicBezTo>
                    <a:pt x="13" y="0"/>
                    <a:pt x="11" y="0"/>
                    <a:pt x="10" y="1"/>
                  </a:cubicBezTo>
                  <a:close/>
                  <a:moveTo>
                    <a:pt x="10" y="1"/>
                  </a:moveTo>
                  <a:cubicBezTo>
                    <a:pt x="10" y="1"/>
                    <a:pt x="10" y="1"/>
                    <a:pt x="1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64FF"/>
                </a:solidFill>
                <a:effectLst/>
                <a:uLnTx/>
                <a:uFillTx/>
                <a:latin typeface="Arial" panose="020B0604020202020204"/>
                <a:ea typeface="+mn-ea"/>
                <a:cs typeface="+mn-cs"/>
              </a:endParaRPr>
            </a:p>
          </p:txBody>
        </p:sp>
        <p:sp>
          <p:nvSpPr>
            <p:cNvPr id="73" name="Freeform 15"/>
            <p:cNvSpPr>
              <a:spLocks noEditPoints="1"/>
            </p:cNvSpPr>
            <p:nvPr/>
          </p:nvSpPr>
          <p:spPr bwMode="auto">
            <a:xfrm>
              <a:off x="2731" y="2105"/>
              <a:ext cx="47" cy="44"/>
            </a:xfrm>
            <a:custGeom>
              <a:avLst/>
              <a:gdLst>
                <a:gd name="T0" fmla="*/ 10 w 16"/>
                <a:gd name="T1" fmla="*/ 1 h 15"/>
                <a:gd name="T2" fmla="*/ 1 w 16"/>
                <a:gd name="T3" fmla="*/ 10 h 15"/>
                <a:gd name="T4" fmla="*/ 1 w 16"/>
                <a:gd name="T5" fmla="*/ 14 h 15"/>
                <a:gd name="T6" fmla="*/ 4 w 16"/>
                <a:gd name="T7" fmla="*/ 15 h 15"/>
                <a:gd name="T8" fmla="*/ 6 w 16"/>
                <a:gd name="T9" fmla="*/ 14 h 15"/>
                <a:gd name="T10" fmla="*/ 15 w 16"/>
                <a:gd name="T11" fmla="*/ 5 h 15"/>
                <a:gd name="T12" fmla="*/ 15 w 16"/>
                <a:gd name="T13" fmla="*/ 1 h 15"/>
                <a:gd name="T14" fmla="*/ 10 w 16"/>
                <a:gd name="T15" fmla="*/ 1 h 15"/>
                <a:gd name="T16" fmla="*/ 10 w 16"/>
                <a:gd name="T17" fmla="*/ 1 h 15"/>
                <a:gd name="T18" fmla="*/ 10 w 16"/>
                <a:gd name="T19"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5">
                  <a:moveTo>
                    <a:pt x="10" y="1"/>
                  </a:moveTo>
                  <a:cubicBezTo>
                    <a:pt x="1" y="10"/>
                    <a:pt x="1" y="10"/>
                    <a:pt x="1" y="10"/>
                  </a:cubicBezTo>
                  <a:cubicBezTo>
                    <a:pt x="0" y="11"/>
                    <a:pt x="0" y="13"/>
                    <a:pt x="1" y="14"/>
                  </a:cubicBezTo>
                  <a:cubicBezTo>
                    <a:pt x="2" y="15"/>
                    <a:pt x="3" y="15"/>
                    <a:pt x="4" y="15"/>
                  </a:cubicBezTo>
                  <a:cubicBezTo>
                    <a:pt x="5" y="15"/>
                    <a:pt x="5" y="15"/>
                    <a:pt x="6" y="14"/>
                  </a:cubicBezTo>
                  <a:cubicBezTo>
                    <a:pt x="15" y="5"/>
                    <a:pt x="15" y="5"/>
                    <a:pt x="15" y="5"/>
                  </a:cubicBezTo>
                  <a:cubicBezTo>
                    <a:pt x="16" y="4"/>
                    <a:pt x="16" y="2"/>
                    <a:pt x="15" y="1"/>
                  </a:cubicBezTo>
                  <a:cubicBezTo>
                    <a:pt x="14" y="0"/>
                    <a:pt x="12" y="0"/>
                    <a:pt x="10" y="1"/>
                  </a:cubicBezTo>
                  <a:close/>
                  <a:moveTo>
                    <a:pt x="10" y="1"/>
                  </a:moveTo>
                  <a:cubicBezTo>
                    <a:pt x="10" y="1"/>
                    <a:pt x="10" y="1"/>
                    <a:pt x="1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64FF"/>
                </a:solidFill>
                <a:effectLst/>
                <a:uLnTx/>
                <a:uFillTx/>
                <a:latin typeface="Arial" panose="020B0604020202020204"/>
                <a:ea typeface="+mn-ea"/>
                <a:cs typeface="+mn-cs"/>
              </a:endParaRPr>
            </a:p>
          </p:txBody>
        </p:sp>
        <p:sp>
          <p:nvSpPr>
            <p:cNvPr id="74" name="Freeform 16"/>
            <p:cNvSpPr>
              <a:spLocks noEditPoints="1"/>
            </p:cNvSpPr>
            <p:nvPr/>
          </p:nvSpPr>
          <p:spPr bwMode="auto">
            <a:xfrm>
              <a:off x="3106" y="2105"/>
              <a:ext cx="47" cy="44"/>
            </a:xfrm>
            <a:custGeom>
              <a:avLst/>
              <a:gdLst>
                <a:gd name="T0" fmla="*/ 6 w 16"/>
                <a:gd name="T1" fmla="*/ 1 h 15"/>
                <a:gd name="T2" fmla="*/ 1 w 16"/>
                <a:gd name="T3" fmla="*/ 1 h 15"/>
                <a:gd name="T4" fmla="*/ 1 w 16"/>
                <a:gd name="T5" fmla="*/ 5 h 15"/>
                <a:gd name="T6" fmla="*/ 10 w 16"/>
                <a:gd name="T7" fmla="*/ 14 h 15"/>
                <a:gd name="T8" fmla="*/ 12 w 16"/>
                <a:gd name="T9" fmla="*/ 15 h 15"/>
                <a:gd name="T10" fmla="*/ 15 w 16"/>
                <a:gd name="T11" fmla="*/ 14 h 15"/>
                <a:gd name="T12" fmla="*/ 15 w 16"/>
                <a:gd name="T13" fmla="*/ 10 h 15"/>
                <a:gd name="T14" fmla="*/ 6 w 16"/>
                <a:gd name="T15" fmla="*/ 1 h 15"/>
                <a:gd name="T16" fmla="*/ 6 w 16"/>
                <a:gd name="T17" fmla="*/ 1 h 15"/>
                <a:gd name="T18" fmla="*/ 6 w 16"/>
                <a:gd name="T19"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5">
                  <a:moveTo>
                    <a:pt x="6" y="1"/>
                  </a:moveTo>
                  <a:cubicBezTo>
                    <a:pt x="4" y="0"/>
                    <a:pt x="2" y="0"/>
                    <a:pt x="1" y="1"/>
                  </a:cubicBezTo>
                  <a:cubicBezTo>
                    <a:pt x="0" y="2"/>
                    <a:pt x="0" y="4"/>
                    <a:pt x="1" y="5"/>
                  </a:cubicBezTo>
                  <a:cubicBezTo>
                    <a:pt x="10" y="14"/>
                    <a:pt x="10" y="14"/>
                    <a:pt x="10" y="14"/>
                  </a:cubicBezTo>
                  <a:cubicBezTo>
                    <a:pt x="11" y="15"/>
                    <a:pt x="11" y="15"/>
                    <a:pt x="12" y="15"/>
                  </a:cubicBezTo>
                  <a:cubicBezTo>
                    <a:pt x="13" y="15"/>
                    <a:pt x="14" y="15"/>
                    <a:pt x="15" y="14"/>
                  </a:cubicBezTo>
                  <a:cubicBezTo>
                    <a:pt x="16" y="13"/>
                    <a:pt x="16" y="11"/>
                    <a:pt x="15" y="10"/>
                  </a:cubicBezTo>
                  <a:lnTo>
                    <a:pt x="6" y="1"/>
                  </a:lnTo>
                  <a:close/>
                  <a:moveTo>
                    <a:pt x="6" y="1"/>
                  </a:moveTo>
                  <a:cubicBezTo>
                    <a:pt x="6" y="1"/>
                    <a:pt x="6" y="1"/>
                    <a:pt x="6"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64FF"/>
                </a:solidFill>
                <a:effectLst/>
                <a:uLnTx/>
                <a:uFillTx/>
                <a:latin typeface="Arial" panose="020B0604020202020204"/>
                <a:ea typeface="+mn-ea"/>
                <a:cs typeface="+mn-cs"/>
              </a:endParaRPr>
            </a:p>
          </p:txBody>
        </p:sp>
        <p:sp>
          <p:nvSpPr>
            <p:cNvPr id="76" name="Freeform 17"/>
            <p:cNvSpPr>
              <a:spLocks noEditPoints="1"/>
            </p:cNvSpPr>
            <p:nvPr/>
          </p:nvSpPr>
          <p:spPr bwMode="auto">
            <a:xfrm>
              <a:off x="2731" y="1811"/>
              <a:ext cx="47" cy="47"/>
            </a:xfrm>
            <a:custGeom>
              <a:avLst/>
              <a:gdLst>
                <a:gd name="T0" fmla="*/ 10 w 16"/>
                <a:gd name="T1" fmla="*/ 15 h 16"/>
                <a:gd name="T2" fmla="*/ 13 w 16"/>
                <a:gd name="T3" fmla="*/ 16 h 16"/>
                <a:gd name="T4" fmla="*/ 15 w 16"/>
                <a:gd name="T5" fmla="*/ 15 h 16"/>
                <a:gd name="T6" fmla="*/ 15 w 16"/>
                <a:gd name="T7" fmla="*/ 10 h 16"/>
                <a:gd name="T8" fmla="*/ 6 w 16"/>
                <a:gd name="T9" fmla="*/ 1 h 16"/>
                <a:gd name="T10" fmla="*/ 1 w 16"/>
                <a:gd name="T11" fmla="*/ 1 h 16"/>
                <a:gd name="T12" fmla="*/ 1 w 16"/>
                <a:gd name="T13" fmla="*/ 6 h 16"/>
                <a:gd name="T14" fmla="*/ 10 w 16"/>
                <a:gd name="T15" fmla="*/ 15 h 16"/>
                <a:gd name="T16" fmla="*/ 10 w 16"/>
                <a:gd name="T17" fmla="*/ 15 h 16"/>
                <a:gd name="T18" fmla="*/ 10 w 16"/>
                <a:gd name="T1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10" y="15"/>
                  </a:moveTo>
                  <a:cubicBezTo>
                    <a:pt x="11" y="16"/>
                    <a:pt x="12" y="16"/>
                    <a:pt x="13" y="16"/>
                  </a:cubicBezTo>
                  <a:cubicBezTo>
                    <a:pt x="14" y="16"/>
                    <a:pt x="14" y="16"/>
                    <a:pt x="15" y="15"/>
                  </a:cubicBezTo>
                  <a:cubicBezTo>
                    <a:pt x="16" y="14"/>
                    <a:pt x="16" y="12"/>
                    <a:pt x="15" y="10"/>
                  </a:cubicBezTo>
                  <a:cubicBezTo>
                    <a:pt x="6" y="1"/>
                    <a:pt x="6" y="1"/>
                    <a:pt x="6" y="1"/>
                  </a:cubicBezTo>
                  <a:cubicBezTo>
                    <a:pt x="5" y="0"/>
                    <a:pt x="3" y="0"/>
                    <a:pt x="1" y="1"/>
                  </a:cubicBezTo>
                  <a:cubicBezTo>
                    <a:pt x="0" y="3"/>
                    <a:pt x="0" y="5"/>
                    <a:pt x="1" y="6"/>
                  </a:cubicBezTo>
                  <a:lnTo>
                    <a:pt x="10" y="15"/>
                  </a:lnTo>
                  <a:close/>
                  <a:moveTo>
                    <a:pt x="10" y="15"/>
                  </a:moveTo>
                  <a:cubicBezTo>
                    <a:pt x="10" y="15"/>
                    <a:pt x="10" y="15"/>
                    <a:pt x="10"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64FF"/>
                </a:solidFill>
                <a:effectLst/>
                <a:uLnTx/>
                <a:uFillTx/>
                <a:latin typeface="Arial" panose="020B0604020202020204"/>
                <a:ea typeface="+mn-ea"/>
                <a:cs typeface="+mn-cs"/>
              </a:endParaRPr>
            </a:p>
          </p:txBody>
        </p:sp>
        <p:sp>
          <p:nvSpPr>
            <p:cNvPr id="78" name="Freeform 18"/>
            <p:cNvSpPr>
              <a:spLocks noEditPoints="1"/>
            </p:cNvSpPr>
            <p:nvPr/>
          </p:nvSpPr>
          <p:spPr bwMode="auto">
            <a:xfrm>
              <a:off x="2829" y="1881"/>
              <a:ext cx="121" cy="123"/>
            </a:xfrm>
            <a:custGeom>
              <a:avLst/>
              <a:gdLst>
                <a:gd name="T0" fmla="*/ 38 w 41"/>
                <a:gd name="T1" fmla="*/ 0 h 42"/>
                <a:gd name="T2" fmla="*/ 0 w 41"/>
                <a:gd name="T3" fmla="*/ 39 h 42"/>
                <a:gd name="T4" fmla="*/ 3 w 41"/>
                <a:gd name="T5" fmla="*/ 42 h 42"/>
                <a:gd name="T6" fmla="*/ 6 w 41"/>
                <a:gd name="T7" fmla="*/ 39 h 42"/>
                <a:gd name="T8" fmla="*/ 38 w 41"/>
                <a:gd name="T9" fmla="*/ 7 h 42"/>
                <a:gd name="T10" fmla="*/ 41 w 41"/>
                <a:gd name="T11" fmla="*/ 4 h 42"/>
                <a:gd name="T12" fmla="*/ 38 w 41"/>
                <a:gd name="T13" fmla="*/ 0 h 42"/>
                <a:gd name="T14" fmla="*/ 38 w 41"/>
                <a:gd name="T15" fmla="*/ 0 h 42"/>
                <a:gd name="T16" fmla="*/ 38 w 4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2">
                  <a:moveTo>
                    <a:pt x="38" y="0"/>
                  </a:moveTo>
                  <a:cubicBezTo>
                    <a:pt x="17" y="0"/>
                    <a:pt x="0" y="18"/>
                    <a:pt x="0" y="39"/>
                  </a:cubicBezTo>
                  <a:cubicBezTo>
                    <a:pt x="0" y="41"/>
                    <a:pt x="1" y="42"/>
                    <a:pt x="3" y="42"/>
                  </a:cubicBezTo>
                  <a:cubicBezTo>
                    <a:pt x="5" y="42"/>
                    <a:pt x="6" y="41"/>
                    <a:pt x="6" y="39"/>
                  </a:cubicBezTo>
                  <a:cubicBezTo>
                    <a:pt x="6" y="21"/>
                    <a:pt x="20" y="7"/>
                    <a:pt x="38" y="7"/>
                  </a:cubicBezTo>
                  <a:cubicBezTo>
                    <a:pt x="40" y="7"/>
                    <a:pt x="41" y="5"/>
                    <a:pt x="41" y="4"/>
                  </a:cubicBezTo>
                  <a:cubicBezTo>
                    <a:pt x="41" y="2"/>
                    <a:pt x="40" y="0"/>
                    <a:pt x="38" y="0"/>
                  </a:cubicBezTo>
                  <a:close/>
                  <a:moveTo>
                    <a:pt x="38" y="0"/>
                  </a:moveTo>
                  <a:cubicBezTo>
                    <a:pt x="38" y="0"/>
                    <a:pt x="38" y="0"/>
                    <a:pt x="3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64FF"/>
                </a:solidFill>
                <a:effectLst/>
                <a:uLnTx/>
                <a:uFillTx/>
                <a:latin typeface="Arial" panose="020B0604020202020204"/>
                <a:ea typeface="+mn-ea"/>
                <a:cs typeface="+mn-cs"/>
              </a:endParaRPr>
            </a:p>
          </p:txBody>
        </p:sp>
      </p:grpSp>
      <p:grpSp>
        <p:nvGrpSpPr>
          <p:cNvPr id="33" name="Group 4"/>
          <p:cNvGrpSpPr>
            <a:grpSpLocks noChangeAspect="1"/>
          </p:cNvGrpSpPr>
          <p:nvPr/>
        </p:nvGrpSpPr>
        <p:grpSpPr bwMode="auto">
          <a:xfrm>
            <a:off x="2502589" y="2077033"/>
            <a:ext cx="507228" cy="504824"/>
            <a:chOff x="2754" y="3298"/>
            <a:chExt cx="422" cy="420"/>
          </a:xfrm>
          <a:solidFill>
            <a:schemeClr val="accent2"/>
          </a:solidFill>
        </p:grpSpPr>
        <p:sp>
          <p:nvSpPr>
            <p:cNvPr id="34" name="Freeform 5"/>
            <p:cNvSpPr>
              <a:spLocks noEditPoints="1"/>
            </p:cNvSpPr>
            <p:nvPr/>
          </p:nvSpPr>
          <p:spPr bwMode="auto">
            <a:xfrm>
              <a:off x="2835" y="3450"/>
              <a:ext cx="260" cy="268"/>
            </a:xfrm>
            <a:custGeom>
              <a:avLst/>
              <a:gdLst>
                <a:gd name="T0" fmla="*/ 491 w 1581"/>
                <a:gd name="T1" fmla="*/ 820 h 1634"/>
                <a:gd name="T2" fmla="*/ 554 w 1581"/>
                <a:gd name="T3" fmla="*/ 794 h 1634"/>
                <a:gd name="T4" fmla="*/ 430 w 1581"/>
                <a:gd name="T5" fmla="*/ 656 h 1634"/>
                <a:gd name="T6" fmla="*/ 737 w 1581"/>
                <a:gd name="T7" fmla="*/ 27 h 1634"/>
                <a:gd name="T8" fmla="*/ 1152 w 1581"/>
                <a:gd name="T9" fmla="*/ 383 h 1634"/>
                <a:gd name="T10" fmla="*/ 1137 w 1581"/>
                <a:gd name="T11" fmla="*/ 686 h 1634"/>
                <a:gd name="T12" fmla="*/ 1011 w 1581"/>
                <a:gd name="T13" fmla="*/ 820 h 1634"/>
                <a:gd name="T14" fmla="*/ 1283 w 1581"/>
                <a:gd name="T15" fmla="*/ 820 h 1634"/>
                <a:gd name="T16" fmla="*/ 1316 w 1581"/>
                <a:gd name="T17" fmla="*/ 826 h 1634"/>
                <a:gd name="T18" fmla="*/ 1466 w 1581"/>
                <a:gd name="T19" fmla="*/ 939 h 1634"/>
                <a:gd name="T20" fmla="*/ 1506 w 1581"/>
                <a:gd name="T21" fmla="*/ 888 h 1634"/>
                <a:gd name="T22" fmla="*/ 1581 w 1581"/>
                <a:gd name="T23" fmla="*/ 1012 h 1634"/>
                <a:gd name="T24" fmla="*/ 1554 w 1581"/>
                <a:gd name="T25" fmla="*/ 1128 h 1634"/>
                <a:gd name="T26" fmla="*/ 1569 w 1581"/>
                <a:gd name="T27" fmla="*/ 1447 h 1634"/>
                <a:gd name="T28" fmla="*/ 1458 w 1581"/>
                <a:gd name="T29" fmla="*/ 1511 h 1634"/>
                <a:gd name="T30" fmla="*/ 126 w 1581"/>
                <a:gd name="T31" fmla="*/ 1634 h 1634"/>
                <a:gd name="T32" fmla="*/ 119 w 1581"/>
                <a:gd name="T33" fmla="*/ 1515 h 1634"/>
                <a:gd name="T34" fmla="*/ 4 w 1581"/>
                <a:gd name="T35" fmla="*/ 1410 h 1634"/>
                <a:gd name="T36" fmla="*/ 39 w 1581"/>
                <a:gd name="T37" fmla="*/ 1015 h 1634"/>
                <a:gd name="T38" fmla="*/ 4 w 1581"/>
                <a:gd name="T39" fmla="*/ 888 h 1634"/>
                <a:gd name="T40" fmla="*/ 76 w 1581"/>
                <a:gd name="T41" fmla="*/ 936 h 1634"/>
                <a:gd name="T42" fmla="*/ 264 w 1581"/>
                <a:gd name="T43" fmla="*/ 826 h 1634"/>
                <a:gd name="T44" fmla="*/ 652 w 1581"/>
                <a:gd name="T45" fmla="*/ 1558 h 1634"/>
                <a:gd name="T46" fmla="*/ 654 w 1581"/>
                <a:gd name="T47" fmla="*/ 1097 h 1634"/>
                <a:gd name="T48" fmla="*/ 727 w 1581"/>
                <a:gd name="T49" fmla="*/ 958 h 1634"/>
                <a:gd name="T50" fmla="*/ 855 w 1581"/>
                <a:gd name="T51" fmla="*/ 1022 h 1634"/>
                <a:gd name="T52" fmla="*/ 929 w 1581"/>
                <a:gd name="T53" fmla="*/ 958 h 1634"/>
                <a:gd name="T54" fmla="*/ 891 w 1581"/>
                <a:gd name="T55" fmla="*/ 1100 h 1634"/>
                <a:gd name="T56" fmla="*/ 1181 w 1581"/>
                <a:gd name="T57" fmla="*/ 1558 h 1634"/>
                <a:gd name="T58" fmla="*/ 1258 w 1581"/>
                <a:gd name="T59" fmla="*/ 1256 h 1634"/>
                <a:gd name="T60" fmla="*/ 1382 w 1581"/>
                <a:gd name="T61" fmla="*/ 1558 h 1634"/>
                <a:gd name="T62" fmla="*/ 1382 w 1581"/>
                <a:gd name="T63" fmla="*/ 1125 h 1634"/>
                <a:gd name="T64" fmla="*/ 1290 w 1581"/>
                <a:gd name="T65" fmla="*/ 909 h 1634"/>
                <a:gd name="T66" fmla="*/ 427 w 1581"/>
                <a:gd name="T67" fmla="*/ 896 h 1634"/>
                <a:gd name="T68" fmla="*/ 220 w 1581"/>
                <a:gd name="T69" fmla="*/ 983 h 1634"/>
                <a:gd name="T70" fmla="*/ 203 w 1581"/>
                <a:gd name="T71" fmla="*/ 1531 h 1634"/>
                <a:gd name="T72" fmla="*/ 327 w 1581"/>
                <a:gd name="T73" fmla="*/ 1558 h 1634"/>
                <a:gd name="T74" fmla="*/ 327 w 1581"/>
                <a:gd name="T75" fmla="*/ 1256 h 1634"/>
                <a:gd name="T76" fmla="*/ 402 w 1581"/>
                <a:gd name="T77" fmla="*/ 1406 h 1634"/>
                <a:gd name="T78" fmla="*/ 652 w 1581"/>
                <a:gd name="T79" fmla="*/ 1558 h 1634"/>
                <a:gd name="T80" fmla="*/ 507 w 1581"/>
                <a:gd name="T81" fmla="*/ 491 h 1634"/>
                <a:gd name="T82" fmla="*/ 522 w 1581"/>
                <a:gd name="T83" fmla="*/ 653 h 1634"/>
                <a:gd name="T84" fmla="*/ 709 w 1581"/>
                <a:gd name="T85" fmla="*/ 819 h 1634"/>
                <a:gd name="T86" fmla="*/ 907 w 1581"/>
                <a:gd name="T87" fmla="*/ 808 h 1634"/>
                <a:gd name="T88" fmla="*/ 1077 w 1581"/>
                <a:gd name="T89" fmla="*/ 628 h 1634"/>
                <a:gd name="T90" fmla="*/ 828 w 1581"/>
                <a:gd name="T91" fmla="*/ 101 h 1634"/>
                <a:gd name="T92" fmla="*/ 502 w 1581"/>
                <a:gd name="T93" fmla="*/ 490 h 1634"/>
                <a:gd name="T94" fmla="*/ 764 w 1581"/>
                <a:gd name="T95" fmla="*/ 1167 h 1634"/>
                <a:gd name="T96" fmla="*/ 778 w 1581"/>
                <a:gd name="T97" fmla="*/ 1560 h 1634"/>
                <a:gd name="T98" fmla="*/ 820 w 1581"/>
                <a:gd name="T99" fmla="*/ 1169 h 1634"/>
                <a:gd name="T100" fmla="*/ 770 w 1581"/>
                <a:gd name="T101" fmla="*/ 1099 h 1634"/>
                <a:gd name="T102" fmla="*/ 1460 w 1581"/>
                <a:gd name="T103" fmla="*/ 1016 h 1634"/>
                <a:gd name="T104" fmla="*/ 1500 w 1581"/>
                <a:gd name="T105" fmla="*/ 1390 h 1634"/>
                <a:gd name="T106" fmla="*/ 1467 w 1581"/>
                <a:gd name="T107" fmla="*/ 1015 h 1634"/>
                <a:gd name="T108" fmla="*/ 123 w 1581"/>
                <a:gd name="T109" fmla="*/ 1016 h 1634"/>
                <a:gd name="T110" fmla="*/ 105 w 1581"/>
                <a:gd name="T111" fmla="*/ 1132 h 1634"/>
                <a:gd name="T112" fmla="*/ 123 w 1581"/>
                <a:gd name="T113" fmla="*/ 1436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81" h="1634">
                  <a:moveTo>
                    <a:pt x="268" y="822"/>
                  </a:moveTo>
                  <a:cubicBezTo>
                    <a:pt x="342" y="821"/>
                    <a:pt x="417" y="821"/>
                    <a:pt x="491" y="820"/>
                  </a:cubicBezTo>
                  <a:cubicBezTo>
                    <a:pt x="518" y="820"/>
                    <a:pt x="544" y="820"/>
                    <a:pt x="578" y="820"/>
                  </a:cubicBezTo>
                  <a:cubicBezTo>
                    <a:pt x="567" y="809"/>
                    <a:pt x="561" y="801"/>
                    <a:pt x="554" y="794"/>
                  </a:cubicBezTo>
                  <a:cubicBezTo>
                    <a:pt x="517" y="758"/>
                    <a:pt x="480" y="722"/>
                    <a:pt x="445" y="685"/>
                  </a:cubicBezTo>
                  <a:cubicBezTo>
                    <a:pt x="437" y="677"/>
                    <a:pt x="430" y="666"/>
                    <a:pt x="430" y="656"/>
                  </a:cubicBezTo>
                  <a:cubicBezTo>
                    <a:pt x="430" y="553"/>
                    <a:pt x="428" y="450"/>
                    <a:pt x="434" y="347"/>
                  </a:cubicBezTo>
                  <a:cubicBezTo>
                    <a:pt x="443" y="187"/>
                    <a:pt x="578" y="51"/>
                    <a:pt x="737" y="27"/>
                  </a:cubicBezTo>
                  <a:cubicBezTo>
                    <a:pt x="910" y="0"/>
                    <a:pt x="1101" y="109"/>
                    <a:pt x="1144" y="307"/>
                  </a:cubicBezTo>
                  <a:cubicBezTo>
                    <a:pt x="1150" y="332"/>
                    <a:pt x="1152" y="358"/>
                    <a:pt x="1152" y="383"/>
                  </a:cubicBezTo>
                  <a:cubicBezTo>
                    <a:pt x="1153" y="472"/>
                    <a:pt x="1153" y="561"/>
                    <a:pt x="1152" y="649"/>
                  </a:cubicBezTo>
                  <a:cubicBezTo>
                    <a:pt x="1152" y="662"/>
                    <a:pt x="1145" y="677"/>
                    <a:pt x="1137" y="686"/>
                  </a:cubicBezTo>
                  <a:cubicBezTo>
                    <a:pt x="1095" y="729"/>
                    <a:pt x="1051" y="771"/>
                    <a:pt x="1009" y="813"/>
                  </a:cubicBezTo>
                  <a:cubicBezTo>
                    <a:pt x="1009" y="815"/>
                    <a:pt x="1010" y="818"/>
                    <a:pt x="1011" y="820"/>
                  </a:cubicBezTo>
                  <a:cubicBezTo>
                    <a:pt x="1019" y="820"/>
                    <a:pt x="1027" y="820"/>
                    <a:pt x="1035" y="820"/>
                  </a:cubicBezTo>
                  <a:cubicBezTo>
                    <a:pt x="1118" y="820"/>
                    <a:pt x="1200" y="820"/>
                    <a:pt x="1283" y="820"/>
                  </a:cubicBezTo>
                  <a:cubicBezTo>
                    <a:pt x="1293" y="820"/>
                    <a:pt x="1304" y="823"/>
                    <a:pt x="1314" y="824"/>
                  </a:cubicBezTo>
                  <a:cubicBezTo>
                    <a:pt x="1314" y="824"/>
                    <a:pt x="1316" y="826"/>
                    <a:pt x="1316" y="826"/>
                  </a:cubicBezTo>
                  <a:cubicBezTo>
                    <a:pt x="1344" y="854"/>
                    <a:pt x="1373" y="882"/>
                    <a:pt x="1400" y="911"/>
                  </a:cubicBezTo>
                  <a:cubicBezTo>
                    <a:pt x="1418" y="932"/>
                    <a:pt x="1438" y="943"/>
                    <a:pt x="1466" y="939"/>
                  </a:cubicBezTo>
                  <a:cubicBezTo>
                    <a:pt x="1478" y="937"/>
                    <a:pt x="1491" y="939"/>
                    <a:pt x="1504" y="939"/>
                  </a:cubicBezTo>
                  <a:cubicBezTo>
                    <a:pt x="1505" y="921"/>
                    <a:pt x="1506" y="905"/>
                    <a:pt x="1506" y="888"/>
                  </a:cubicBezTo>
                  <a:cubicBezTo>
                    <a:pt x="1532" y="888"/>
                    <a:pt x="1555" y="888"/>
                    <a:pt x="1581" y="888"/>
                  </a:cubicBezTo>
                  <a:cubicBezTo>
                    <a:pt x="1581" y="929"/>
                    <a:pt x="1581" y="970"/>
                    <a:pt x="1581" y="1012"/>
                  </a:cubicBezTo>
                  <a:cubicBezTo>
                    <a:pt x="1571" y="1013"/>
                    <a:pt x="1561" y="1014"/>
                    <a:pt x="1546" y="1016"/>
                  </a:cubicBezTo>
                  <a:cubicBezTo>
                    <a:pt x="1549" y="1053"/>
                    <a:pt x="1551" y="1090"/>
                    <a:pt x="1554" y="1128"/>
                  </a:cubicBezTo>
                  <a:cubicBezTo>
                    <a:pt x="1562" y="1225"/>
                    <a:pt x="1571" y="1322"/>
                    <a:pt x="1579" y="1419"/>
                  </a:cubicBezTo>
                  <a:cubicBezTo>
                    <a:pt x="1580" y="1428"/>
                    <a:pt x="1574" y="1439"/>
                    <a:pt x="1569" y="1447"/>
                  </a:cubicBezTo>
                  <a:cubicBezTo>
                    <a:pt x="1565" y="1455"/>
                    <a:pt x="1557" y="1461"/>
                    <a:pt x="1552" y="1467"/>
                  </a:cubicBezTo>
                  <a:cubicBezTo>
                    <a:pt x="1527" y="1495"/>
                    <a:pt x="1506" y="1529"/>
                    <a:pt x="1458" y="1511"/>
                  </a:cubicBezTo>
                  <a:cubicBezTo>
                    <a:pt x="1458" y="1555"/>
                    <a:pt x="1458" y="1593"/>
                    <a:pt x="1458" y="1634"/>
                  </a:cubicBezTo>
                  <a:cubicBezTo>
                    <a:pt x="1013" y="1634"/>
                    <a:pt x="571" y="1634"/>
                    <a:pt x="126" y="1634"/>
                  </a:cubicBezTo>
                  <a:cubicBezTo>
                    <a:pt x="126" y="1596"/>
                    <a:pt x="126" y="1557"/>
                    <a:pt x="126" y="1520"/>
                  </a:cubicBezTo>
                  <a:cubicBezTo>
                    <a:pt x="122" y="1517"/>
                    <a:pt x="121" y="1515"/>
                    <a:pt x="119" y="1515"/>
                  </a:cubicBezTo>
                  <a:cubicBezTo>
                    <a:pt x="56" y="1525"/>
                    <a:pt x="39" y="1467"/>
                    <a:pt x="5" y="1436"/>
                  </a:cubicBezTo>
                  <a:cubicBezTo>
                    <a:pt x="0" y="1431"/>
                    <a:pt x="3" y="1419"/>
                    <a:pt x="4" y="1410"/>
                  </a:cubicBezTo>
                  <a:cubicBezTo>
                    <a:pt x="14" y="1294"/>
                    <a:pt x="24" y="1179"/>
                    <a:pt x="34" y="1063"/>
                  </a:cubicBezTo>
                  <a:cubicBezTo>
                    <a:pt x="36" y="1048"/>
                    <a:pt x="37" y="1033"/>
                    <a:pt x="39" y="1015"/>
                  </a:cubicBezTo>
                  <a:cubicBezTo>
                    <a:pt x="27" y="1014"/>
                    <a:pt x="16" y="1013"/>
                    <a:pt x="4" y="1012"/>
                  </a:cubicBezTo>
                  <a:cubicBezTo>
                    <a:pt x="4" y="971"/>
                    <a:pt x="4" y="930"/>
                    <a:pt x="4" y="888"/>
                  </a:cubicBezTo>
                  <a:cubicBezTo>
                    <a:pt x="28" y="888"/>
                    <a:pt x="50" y="888"/>
                    <a:pt x="76" y="888"/>
                  </a:cubicBezTo>
                  <a:cubicBezTo>
                    <a:pt x="76" y="904"/>
                    <a:pt x="76" y="919"/>
                    <a:pt x="76" y="936"/>
                  </a:cubicBezTo>
                  <a:cubicBezTo>
                    <a:pt x="120" y="941"/>
                    <a:pt x="159" y="946"/>
                    <a:pt x="190" y="905"/>
                  </a:cubicBezTo>
                  <a:cubicBezTo>
                    <a:pt x="211" y="877"/>
                    <a:pt x="239" y="853"/>
                    <a:pt x="264" y="826"/>
                  </a:cubicBezTo>
                  <a:cubicBezTo>
                    <a:pt x="265" y="825"/>
                    <a:pt x="267" y="824"/>
                    <a:pt x="268" y="822"/>
                  </a:cubicBezTo>
                  <a:close/>
                  <a:moveTo>
                    <a:pt x="652" y="1558"/>
                  </a:moveTo>
                  <a:cubicBezTo>
                    <a:pt x="666" y="1405"/>
                    <a:pt x="679" y="1253"/>
                    <a:pt x="693" y="1100"/>
                  </a:cubicBezTo>
                  <a:cubicBezTo>
                    <a:pt x="678" y="1099"/>
                    <a:pt x="666" y="1098"/>
                    <a:pt x="654" y="1097"/>
                  </a:cubicBezTo>
                  <a:cubicBezTo>
                    <a:pt x="654" y="1049"/>
                    <a:pt x="654" y="1004"/>
                    <a:pt x="654" y="958"/>
                  </a:cubicBezTo>
                  <a:cubicBezTo>
                    <a:pt x="680" y="958"/>
                    <a:pt x="703" y="958"/>
                    <a:pt x="727" y="958"/>
                  </a:cubicBezTo>
                  <a:cubicBezTo>
                    <a:pt x="728" y="981"/>
                    <a:pt x="729" y="1001"/>
                    <a:pt x="730" y="1022"/>
                  </a:cubicBezTo>
                  <a:cubicBezTo>
                    <a:pt x="772" y="1022"/>
                    <a:pt x="812" y="1022"/>
                    <a:pt x="855" y="1022"/>
                  </a:cubicBezTo>
                  <a:cubicBezTo>
                    <a:pt x="855" y="1000"/>
                    <a:pt x="855" y="979"/>
                    <a:pt x="855" y="958"/>
                  </a:cubicBezTo>
                  <a:cubicBezTo>
                    <a:pt x="882" y="958"/>
                    <a:pt x="904" y="958"/>
                    <a:pt x="929" y="958"/>
                  </a:cubicBezTo>
                  <a:cubicBezTo>
                    <a:pt x="929" y="1005"/>
                    <a:pt x="929" y="1050"/>
                    <a:pt x="929" y="1097"/>
                  </a:cubicBezTo>
                  <a:cubicBezTo>
                    <a:pt x="916" y="1098"/>
                    <a:pt x="904" y="1099"/>
                    <a:pt x="891" y="1100"/>
                  </a:cubicBezTo>
                  <a:cubicBezTo>
                    <a:pt x="904" y="1254"/>
                    <a:pt x="917" y="1406"/>
                    <a:pt x="931" y="1558"/>
                  </a:cubicBezTo>
                  <a:cubicBezTo>
                    <a:pt x="1014" y="1558"/>
                    <a:pt x="1096" y="1558"/>
                    <a:pt x="1181" y="1558"/>
                  </a:cubicBezTo>
                  <a:cubicBezTo>
                    <a:pt x="1181" y="1456"/>
                    <a:pt x="1181" y="1356"/>
                    <a:pt x="1181" y="1256"/>
                  </a:cubicBezTo>
                  <a:cubicBezTo>
                    <a:pt x="1208" y="1256"/>
                    <a:pt x="1231" y="1256"/>
                    <a:pt x="1258" y="1256"/>
                  </a:cubicBezTo>
                  <a:cubicBezTo>
                    <a:pt x="1258" y="1358"/>
                    <a:pt x="1258" y="1458"/>
                    <a:pt x="1258" y="1558"/>
                  </a:cubicBezTo>
                  <a:cubicBezTo>
                    <a:pt x="1301" y="1558"/>
                    <a:pt x="1341" y="1558"/>
                    <a:pt x="1382" y="1558"/>
                  </a:cubicBezTo>
                  <a:cubicBezTo>
                    <a:pt x="1382" y="1546"/>
                    <a:pt x="1382" y="1537"/>
                    <a:pt x="1382" y="1527"/>
                  </a:cubicBezTo>
                  <a:cubicBezTo>
                    <a:pt x="1382" y="1393"/>
                    <a:pt x="1382" y="1259"/>
                    <a:pt x="1382" y="1125"/>
                  </a:cubicBezTo>
                  <a:cubicBezTo>
                    <a:pt x="1382" y="1083"/>
                    <a:pt x="1392" y="1036"/>
                    <a:pt x="1377" y="1001"/>
                  </a:cubicBezTo>
                  <a:cubicBezTo>
                    <a:pt x="1362" y="965"/>
                    <a:pt x="1321" y="938"/>
                    <a:pt x="1290" y="909"/>
                  </a:cubicBezTo>
                  <a:cubicBezTo>
                    <a:pt x="1282" y="902"/>
                    <a:pt x="1269" y="897"/>
                    <a:pt x="1258" y="897"/>
                  </a:cubicBezTo>
                  <a:cubicBezTo>
                    <a:pt x="981" y="896"/>
                    <a:pt x="704" y="896"/>
                    <a:pt x="427" y="896"/>
                  </a:cubicBezTo>
                  <a:cubicBezTo>
                    <a:pt x="387" y="896"/>
                    <a:pt x="342" y="886"/>
                    <a:pt x="308" y="900"/>
                  </a:cubicBezTo>
                  <a:cubicBezTo>
                    <a:pt x="273" y="915"/>
                    <a:pt x="248" y="953"/>
                    <a:pt x="220" y="983"/>
                  </a:cubicBezTo>
                  <a:cubicBezTo>
                    <a:pt x="211" y="994"/>
                    <a:pt x="204" y="1011"/>
                    <a:pt x="204" y="1025"/>
                  </a:cubicBezTo>
                  <a:cubicBezTo>
                    <a:pt x="203" y="1193"/>
                    <a:pt x="203" y="1362"/>
                    <a:pt x="203" y="1531"/>
                  </a:cubicBezTo>
                  <a:cubicBezTo>
                    <a:pt x="203" y="1539"/>
                    <a:pt x="203" y="1548"/>
                    <a:pt x="203" y="1558"/>
                  </a:cubicBezTo>
                  <a:cubicBezTo>
                    <a:pt x="245" y="1558"/>
                    <a:pt x="285" y="1558"/>
                    <a:pt x="327" y="1558"/>
                  </a:cubicBezTo>
                  <a:cubicBezTo>
                    <a:pt x="327" y="1507"/>
                    <a:pt x="327" y="1458"/>
                    <a:pt x="327" y="1408"/>
                  </a:cubicBezTo>
                  <a:cubicBezTo>
                    <a:pt x="327" y="1358"/>
                    <a:pt x="327" y="1308"/>
                    <a:pt x="327" y="1256"/>
                  </a:cubicBezTo>
                  <a:cubicBezTo>
                    <a:pt x="353" y="1256"/>
                    <a:pt x="376" y="1256"/>
                    <a:pt x="402" y="1256"/>
                  </a:cubicBezTo>
                  <a:cubicBezTo>
                    <a:pt x="402" y="1307"/>
                    <a:pt x="402" y="1357"/>
                    <a:pt x="402" y="1406"/>
                  </a:cubicBezTo>
                  <a:cubicBezTo>
                    <a:pt x="402" y="1456"/>
                    <a:pt x="402" y="1507"/>
                    <a:pt x="402" y="1558"/>
                  </a:cubicBezTo>
                  <a:cubicBezTo>
                    <a:pt x="488" y="1558"/>
                    <a:pt x="570" y="1558"/>
                    <a:pt x="652" y="1558"/>
                  </a:cubicBezTo>
                  <a:close/>
                  <a:moveTo>
                    <a:pt x="502" y="490"/>
                  </a:moveTo>
                  <a:cubicBezTo>
                    <a:pt x="504" y="491"/>
                    <a:pt x="506" y="491"/>
                    <a:pt x="507" y="491"/>
                  </a:cubicBezTo>
                  <a:cubicBezTo>
                    <a:pt x="507" y="533"/>
                    <a:pt x="506" y="576"/>
                    <a:pt x="508" y="619"/>
                  </a:cubicBezTo>
                  <a:cubicBezTo>
                    <a:pt x="509" y="630"/>
                    <a:pt x="514" y="645"/>
                    <a:pt x="522" y="653"/>
                  </a:cubicBezTo>
                  <a:cubicBezTo>
                    <a:pt x="571" y="704"/>
                    <a:pt x="621" y="755"/>
                    <a:pt x="672" y="804"/>
                  </a:cubicBezTo>
                  <a:cubicBezTo>
                    <a:pt x="681" y="813"/>
                    <a:pt x="697" y="819"/>
                    <a:pt x="709" y="819"/>
                  </a:cubicBezTo>
                  <a:cubicBezTo>
                    <a:pt x="765" y="821"/>
                    <a:pt x="821" y="821"/>
                    <a:pt x="877" y="820"/>
                  </a:cubicBezTo>
                  <a:cubicBezTo>
                    <a:pt x="887" y="819"/>
                    <a:pt x="900" y="815"/>
                    <a:pt x="907" y="808"/>
                  </a:cubicBezTo>
                  <a:cubicBezTo>
                    <a:pt x="961" y="756"/>
                    <a:pt x="1013" y="703"/>
                    <a:pt x="1066" y="650"/>
                  </a:cubicBezTo>
                  <a:cubicBezTo>
                    <a:pt x="1071" y="644"/>
                    <a:pt x="1077" y="635"/>
                    <a:pt x="1077" y="628"/>
                  </a:cubicBezTo>
                  <a:cubicBezTo>
                    <a:pt x="1076" y="535"/>
                    <a:pt x="1080" y="441"/>
                    <a:pt x="1073" y="348"/>
                  </a:cubicBezTo>
                  <a:cubicBezTo>
                    <a:pt x="1063" y="222"/>
                    <a:pt x="949" y="115"/>
                    <a:pt x="828" y="101"/>
                  </a:cubicBezTo>
                  <a:cubicBezTo>
                    <a:pt x="675" y="84"/>
                    <a:pt x="550" y="183"/>
                    <a:pt x="520" y="303"/>
                  </a:cubicBezTo>
                  <a:cubicBezTo>
                    <a:pt x="505" y="363"/>
                    <a:pt x="508" y="428"/>
                    <a:pt x="502" y="490"/>
                  </a:cubicBezTo>
                  <a:close/>
                  <a:moveTo>
                    <a:pt x="770" y="1099"/>
                  </a:moveTo>
                  <a:cubicBezTo>
                    <a:pt x="768" y="1123"/>
                    <a:pt x="765" y="1145"/>
                    <a:pt x="764" y="1167"/>
                  </a:cubicBezTo>
                  <a:cubicBezTo>
                    <a:pt x="754" y="1278"/>
                    <a:pt x="744" y="1389"/>
                    <a:pt x="734" y="1500"/>
                  </a:cubicBezTo>
                  <a:cubicBezTo>
                    <a:pt x="731" y="1530"/>
                    <a:pt x="751" y="1558"/>
                    <a:pt x="778" y="1560"/>
                  </a:cubicBezTo>
                  <a:cubicBezTo>
                    <a:pt x="827" y="1562"/>
                    <a:pt x="852" y="1544"/>
                    <a:pt x="849" y="1505"/>
                  </a:cubicBezTo>
                  <a:cubicBezTo>
                    <a:pt x="840" y="1393"/>
                    <a:pt x="830" y="1281"/>
                    <a:pt x="820" y="1169"/>
                  </a:cubicBezTo>
                  <a:cubicBezTo>
                    <a:pt x="818" y="1146"/>
                    <a:pt x="815" y="1123"/>
                    <a:pt x="813" y="1099"/>
                  </a:cubicBezTo>
                  <a:cubicBezTo>
                    <a:pt x="797" y="1099"/>
                    <a:pt x="785" y="1099"/>
                    <a:pt x="770" y="1099"/>
                  </a:cubicBezTo>
                  <a:close/>
                  <a:moveTo>
                    <a:pt x="1467" y="1015"/>
                  </a:moveTo>
                  <a:cubicBezTo>
                    <a:pt x="1464" y="1015"/>
                    <a:pt x="1462" y="1015"/>
                    <a:pt x="1460" y="1016"/>
                  </a:cubicBezTo>
                  <a:cubicBezTo>
                    <a:pt x="1460" y="1156"/>
                    <a:pt x="1460" y="1297"/>
                    <a:pt x="1460" y="1438"/>
                  </a:cubicBezTo>
                  <a:cubicBezTo>
                    <a:pt x="1488" y="1432"/>
                    <a:pt x="1502" y="1414"/>
                    <a:pt x="1500" y="1390"/>
                  </a:cubicBezTo>
                  <a:cubicBezTo>
                    <a:pt x="1493" y="1297"/>
                    <a:pt x="1485" y="1205"/>
                    <a:pt x="1477" y="1112"/>
                  </a:cubicBezTo>
                  <a:cubicBezTo>
                    <a:pt x="1474" y="1080"/>
                    <a:pt x="1470" y="1047"/>
                    <a:pt x="1467" y="1015"/>
                  </a:cubicBezTo>
                  <a:close/>
                  <a:moveTo>
                    <a:pt x="123" y="1436"/>
                  </a:moveTo>
                  <a:cubicBezTo>
                    <a:pt x="123" y="1296"/>
                    <a:pt x="123" y="1156"/>
                    <a:pt x="123" y="1016"/>
                  </a:cubicBezTo>
                  <a:cubicBezTo>
                    <a:pt x="116" y="1023"/>
                    <a:pt x="114" y="1030"/>
                    <a:pt x="114" y="1037"/>
                  </a:cubicBezTo>
                  <a:cubicBezTo>
                    <a:pt x="111" y="1069"/>
                    <a:pt x="108" y="1100"/>
                    <a:pt x="105" y="1132"/>
                  </a:cubicBezTo>
                  <a:cubicBezTo>
                    <a:pt x="97" y="1219"/>
                    <a:pt x="89" y="1305"/>
                    <a:pt x="82" y="1392"/>
                  </a:cubicBezTo>
                  <a:cubicBezTo>
                    <a:pt x="80" y="1415"/>
                    <a:pt x="98" y="1434"/>
                    <a:pt x="123" y="14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64FF"/>
                </a:solidFill>
                <a:effectLst/>
                <a:uLnTx/>
                <a:uFillTx/>
                <a:latin typeface="Arial" panose="020B0604020202020204"/>
                <a:ea typeface="+mn-ea"/>
                <a:cs typeface="+mn-cs"/>
              </a:endParaRPr>
            </a:p>
          </p:txBody>
        </p:sp>
        <p:sp>
          <p:nvSpPr>
            <p:cNvPr id="35" name="Freeform 6"/>
            <p:cNvSpPr>
              <a:spLocks/>
            </p:cNvSpPr>
            <p:nvPr/>
          </p:nvSpPr>
          <p:spPr bwMode="auto">
            <a:xfrm>
              <a:off x="2831" y="3298"/>
              <a:ext cx="269" cy="146"/>
            </a:xfrm>
            <a:custGeom>
              <a:avLst/>
              <a:gdLst>
                <a:gd name="T0" fmla="*/ 0 w 1630"/>
                <a:gd name="T1" fmla="*/ 886 h 886"/>
                <a:gd name="T2" fmla="*/ 0 w 1630"/>
                <a:gd name="T3" fmla="*/ 609 h 886"/>
                <a:gd name="T4" fmla="*/ 59 w 1630"/>
                <a:gd name="T5" fmla="*/ 609 h 886"/>
                <a:gd name="T6" fmla="*/ 230 w 1630"/>
                <a:gd name="T7" fmla="*/ 610 h 886"/>
                <a:gd name="T8" fmla="*/ 263 w 1630"/>
                <a:gd name="T9" fmla="*/ 580 h 886"/>
                <a:gd name="T10" fmla="*/ 256 w 1630"/>
                <a:gd name="T11" fmla="*/ 544 h 886"/>
                <a:gd name="T12" fmla="*/ 97 w 1630"/>
                <a:gd name="T13" fmla="*/ 387 h 886"/>
                <a:gd name="T14" fmla="*/ 389 w 1630"/>
                <a:gd name="T15" fmla="*/ 95 h 886"/>
                <a:gd name="T16" fmla="*/ 541 w 1630"/>
                <a:gd name="T17" fmla="*/ 251 h 886"/>
                <a:gd name="T18" fmla="*/ 586 w 1630"/>
                <a:gd name="T19" fmla="*/ 261 h 886"/>
                <a:gd name="T20" fmla="*/ 612 w 1630"/>
                <a:gd name="T21" fmla="*/ 222 h 886"/>
                <a:gd name="T22" fmla="*/ 611 w 1630"/>
                <a:gd name="T23" fmla="*/ 0 h 886"/>
                <a:gd name="T24" fmla="*/ 1021 w 1630"/>
                <a:gd name="T25" fmla="*/ 0 h 886"/>
                <a:gd name="T26" fmla="*/ 1021 w 1630"/>
                <a:gd name="T27" fmla="*/ 29 h 886"/>
                <a:gd name="T28" fmla="*/ 1021 w 1630"/>
                <a:gd name="T29" fmla="*/ 226 h 886"/>
                <a:gd name="T30" fmla="*/ 1045 w 1630"/>
                <a:gd name="T31" fmla="*/ 260 h 886"/>
                <a:gd name="T32" fmla="*/ 1087 w 1630"/>
                <a:gd name="T33" fmla="*/ 254 h 886"/>
                <a:gd name="T34" fmla="*/ 1228 w 1630"/>
                <a:gd name="T35" fmla="*/ 113 h 886"/>
                <a:gd name="T36" fmla="*/ 1247 w 1630"/>
                <a:gd name="T37" fmla="*/ 95 h 886"/>
                <a:gd name="T38" fmla="*/ 1539 w 1630"/>
                <a:gd name="T39" fmla="*/ 390 h 886"/>
                <a:gd name="T40" fmla="*/ 1497 w 1630"/>
                <a:gd name="T41" fmla="*/ 424 h 886"/>
                <a:gd name="T42" fmla="*/ 1374 w 1630"/>
                <a:gd name="T43" fmla="*/ 546 h 886"/>
                <a:gd name="T44" fmla="*/ 1369 w 1630"/>
                <a:gd name="T45" fmla="*/ 583 h 886"/>
                <a:gd name="T46" fmla="*/ 1399 w 1630"/>
                <a:gd name="T47" fmla="*/ 610 h 886"/>
                <a:gd name="T48" fmla="*/ 1599 w 1630"/>
                <a:gd name="T49" fmla="*/ 609 h 886"/>
                <a:gd name="T50" fmla="*/ 1630 w 1630"/>
                <a:gd name="T51" fmla="*/ 609 h 886"/>
                <a:gd name="T52" fmla="*/ 1630 w 1630"/>
                <a:gd name="T53" fmla="*/ 886 h 886"/>
                <a:gd name="T54" fmla="*/ 1556 w 1630"/>
                <a:gd name="T55" fmla="*/ 886 h 886"/>
                <a:gd name="T56" fmla="*/ 1556 w 1630"/>
                <a:gd name="T57" fmla="*/ 687 h 886"/>
                <a:gd name="T58" fmla="*/ 1419 w 1630"/>
                <a:gd name="T59" fmla="*/ 687 h 886"/>
                <a:gd name="T60" fmla="*/ 1335 w 1630"/>
                <a:gd name="T61" fmla="*/ 684 h 886"/>
                <a:gd name="T62" fmla="*/ 1299 w 1630"/>
                <a:gd name="T63" fmla="*/ 612 h 886"/>
                <a:gd name="T64" fmla="*/ 1267 w 1630"/>
                <a:gd name="T65" fmla="*/ 545 h 886"/>
                <a:gd name="T66" fmla="*/ 1427 w 1630"/>
                <a:gd name="T67" fmla="*/ 386 h 886"/>
                <a:gd name="T68" fmla="*/ 1244 w 1630"/>
                <a:gd name="T69" fmla="*/ 204 h 886"/>
                <a:gd name="T70" fmla="*/ 1118 w 1630"/>
                <a:gd name="T71" fmla="*/ 330 h 886"/>
                <a:gd name="T72" fmla="*/ 1044 w 1630"/>
                <a:gd name="T73" fmla="*/ 343 h 886"/>
                <a:gd name="T74" fmla="*/ 965 w 1630"/>
                <a:gd name="T75" fmla="*/ 313 h 886"/>
                <a:gd name="T76" fmla="*/ 943 w 1630"/>
                <a:gd name="T77" fmla="*/ 282 h 886"/>
                <a:gd name="T78" fmla="*/ 943 w 1630"/>
                <a:gd name="T79" fmla="*/ 107 h 886"/>
                <a:gd name="T80" fmla="*/ 943 w 1630"/>
                <a:gd name="T81" fmla="*/ 76 h 886"/>
                <a:gd name="T82" fmla="*/ 686 w 1630"/>
                <a:gd name="T83" fmla="*/ 76 h 886"/>
                <a:gd name="T84" fmla="*/ 686 w 1630"/>
                <a:gd name="T85" fmla="*/ 249 h 886"/>
                <a:gd name="T86" fmla="*/ 633 w 1630"/>
                <a:gd name="T87" fmla="*/ 324 h 886"/>
                <a:gd name="T88" fmla="*/ 567 w 1630"/>
                <a:gd name="T89" fmla="*/ 354 h 886"/>
                <a:gd name="T90" fmla="*/ 529 w 1630"/>
                <a:gd name="T91" fmla="*/ 347 h 886"/>
                <a:gd name="T92" fmla="*/ 388 w 1630"/>
                <a:gd name="T93" fmla="*/ 202 h 886"/>
                <a:gd name="T94" fmla="*/ 203 w 1630"/>
                <a:gd name="T95" fmla="*/ 387 h 886"/>
                <a:gd name="T96" fmla="*/ 345 w 1630"/>
                <a:gd name="T97" fmla="*/ 525 h 886"/>
                <a:gd name="T98" fmla="*/ 353 w 1630"/>
                <a:gd name="T99" fmla="*/ 570 h 886"/>
                <a:gd name="T100" fmla="*/ 314 w 1630"/>
                <a:gd name="T101" fmla="*/ 665 h 886"/>
                <a:gd name="T102" fmla="*/ 284 w 1630"/>
                <a:gd name="T103" fmla="*/ 687 h 886"/>
                <a:gd name="T104" fmla="*/ 76 w 1630"/>
                <a:gd name="T105" fmla="*/ 687 h 886"/>
                <a:gd name="T106" fmla="*/ 76 w 1630"/>
                <a:gd name="T107" fmla="*/ 886 h 886"/>
                <a:gd name="T108" fmla="*/ 0 w 1630"/>
                <a:gd name="T109" fmla="*/ 886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0" h="886">
                  <a:moveTo>
                    <a:pt x="0" y="886"/>
                  </a:moveTo>
                  <a:cubicBezTo>
                    <a:pt x="0" y="793"/>
                    <a:pt x="0" y="703"/>
                    <a:pt x="0" y="609"/>
                  </a:cubicBezTo>
                  <a:cubicBezTo>
                    <a:pt x="21" y="609"/>
                    <a:pt x="40" y="609"/>
                    <a:pt x="59" y="609"/>
                  </a:cubicBezTo>
                  <a:cubicBezTo>
                    <a:pt x="116" y="609"/>
                    <a:pt x="173" y="607"/>
                    <a:pt x="230" y="610"/>
                  </a:cubicBezTo>
                  <a:cubicBezTo>
                    <a:pt x="254" y="611"/>
                    <a:pt x="256" y="595"/>
                    <a:pt x="263" y="580"/>
                  </a:cubicBezTo>
                  <a:cubicBezTo>
                    <a:pt x="272" y="565"/>
                    <a:pt x="268" y="556"/>
                    <a:pt x="256" y="544"/>
                  </a:cubicBezTo>
                  <a:cubicBezTo>
                    <a:pt x="202" y="492"/>
                    <a:pt x="148" y="438"/>
                    <a:pt x="97" y="387"/>
                  </a:cubicBezTo>
                  <a:cubicBezTo>
                    <a:pt x="194" y="290"/>
                    <a:pt x="290" y="194"/>
                    <a:pt x="389" y="95"/>
                  </a:cubicBezTo>
                  <a:cubicBezTo>
                    <a:pt x="438" y="146"/>
                    <a:pt x="490" y="197"/>
                    <a:pt x="541" y="251"/>
                  </a:cubicBezTo>
                  <a:cubicBezTo>
                    <a:pt x="555" y="266"/>
                    <a:pt x="567" y="270"/>
                    <a:pt x="586" y="261"/>
                  </a:cubicBezTo>
                  <a:cubicBezTo>
                    <a:pt x="605" y="253"/>
                    <a:pt x="613" y="244"/>
                    <a:pt x="612" y="222"/>
                  </a:cubicBezTo>
                  <a:cubicBezTo>
                    <a:pt x="610" y="149"/>
                    <a:pt x="611" y="75"/>
                    <a:pt x="611" y="0"/>
                  </a:cubicBezTo>
                  <a:cubicBezTo>
                    <a:pt x="748" y="0"/>
                    <a:pt x="883" y="0"/>
                    <a:pt x="1021" y="0"/>
                  </a:cubicBezTo>
                  <a:cubicBezTo>
                    <a:pt x="1021" y="10"/>
                    <a:pt x="1021" y="20"/>
                    <a:pt x="1021" y="29"/>
                  </a:cubicBezTo>
                  <a:cubicBezTo>
                    <a:pt x="1021" y="95"/>
                    <a:pt x="1022" y="160"/>
                    <a:pt x="1021" y="226"/>
                  </a:cubicBezTo>
                  <a:cubicBezTo>
                    <a:pt x="1020" y="246"/>
                    <a:pt x="1028" y="254"/>
                    <a:pt x="1045" y="260"/>
                  </a:cubicBezTo>
                  <a:cubicBezTo>
                    <a:pt x="1061" y="267"/>
                    <a:pt x="1073" y="270"/>
                    <a:pt x="1087" y="254"/>
                  </a:cubicBezTo>
                  <a:cubicBezTo>
                    <a:pt x="1133" y="206"/>
                    <a:pt x="1181" y="160"/>
                    <a:pt x="1228" y="113"/>
                  </a:cubicBezTo>
                  <a:cubicBezTo>
                    <a:pt x="1234" y="107"/>
                    <a:pt x="1241" y="101"/>
                    <a:pt x="1247" y="95"/>
                  </a:cubicBezTo>
                  <a:cubicBezTo>
                    <a:pt x="1343" y="192"/>
                    <a:pt x="1437" y="287"/>
                    <a:pt x="1539" y="390"/>
                  </a:cubicBezTo>
                  <a:cubicBezTo>
                    <a:pt x="1526" y="399"/>
                    <a:pt x="1510" y="410"/>
                    <a:pt x="1497" y="424"/>
                  </a:cubicBezTo>
                  <a:cubicBezTo>
                    <a:pt x="1455" y="464"/>
                    <a:pt x="1416" y="506"/>
                    <a:pt x="1374" y="546"/>
                  </a:cubicBezTo>
                  <a:cubicBezTo>
                    <a:pt x="1359" y="559"/>
                    <a:pt x="1363" y="570"/>
                    <a:pt x="1369" y="583"/>
                  </a:cubicBezTo>
                  <a:cubicBezTo>
                    <a:pt x="1375" y="597"/>
                    <a:pt x="1378" y="610"/>
                    <a:pt x="1399" y="610"/>
                  </a:cubicBezTo>
                  <a:cubicBezTo>
                    <a:pt x="1466" y="608"/>
                    <a:pt x="1533" y="609"/>
                    <a:pt x="1599" y="609"/>
                  </a:cubicBezTo>
                  <a:cubicBezTo>
                    <a:pt x="1609" y="609"/>
                    <a:pt x="1619" y="609"/>
                    <a:pt x="1630" y="609"/>
                  </a:cubicBezTo>
                  <a:cubicBezTo>
                    <a:pt x="1630" y="702"/>
                    <a:pt x="1630" y="793"/>
                    <a:pt x="1630" y="886"/>
                  </a:cubicBezTo>
                  <a:cubicBezTo>
                    <a:pt x="1606" y="886"/>
                    <a:pt x="1583" y="886"/>
                    <a:pt x="1556" y="886"/>
                  </a:cubicBezTo>
                  <a:cubicBezTo>
                    <a:pt x="1556" y="820"/>
                    <a:pt x="1556" y="755"/>
                    <a:pt x="1556" y="687"/>
                  </a:cubicBezTo>
                  <a:cubicBezTo>
                    <a:pt x="1508" y="687"/>
                    <a:pt x="1464" y="687"/>
                    <a:pt x="1419" y="687"/>
                  </a:cubicBezTo>
                  <a:cubicBezTo>
                    <a:pt x="1390" y="687"/>
                    <a:pt x="1356" y="696"/>
                    <a:pt x="1335" y="684"/>
                  </a:cubicBezTo>
                  <a:cubicBezTo>
                    <a:pt x="1316" y="672"/>
                    <a:pt x="1311" y="637"/>
                    <a:pt x="1299" y="612"/>
                  </a:cubicBezTo>
                  <a:cubicBezTo>
                    <a:pt x="1289" y="590"/>
                    <a:pt x="1278" y="569"/>
                    <a:pt x="1267" y="545"/>
                  </a:cubicBezTo>
                  <a:cubicBezTo>
                    <a:pt x="1321" y="492"/>
                    <a:pt x="1375" y="438"/>
                    <a:pt x="1427" y="386"/>
                  </a:cubicBezTo>
                  <a:cubicBezTo>
                    <a:pt x="1366" y="325"/>
                    <a:pt x="1306" y="265"/>
                    <a:pt x="1244" y="204"/>
                  </a:cubicBezTo>
                  <a:cubicBezTo>
                    <a:pt x="1204" y="244"/>
                    <a:pt x="1161" y="287"/>
                    <a:pt x="1118" y="330"/>
                  </a:cubicBezTo>
                  <a:cubicBezTo>
                    <a:pt x="1085" y="363"/>
                    <a:pt x="1086" y="362"/>
                    <a:pt x="1044" y="343"/>
                  </a:cubicBezTo>
                  <a:cubicBezTo>
                    <a:pt x="1018" y="331"/>
                    <a:pt x="991" y="321"/>
                    <a:pt x="965" y="313"/>
                  </a:cubicBezTo>
                  <a:cubicBezTo>
                    <a:pt x="948" y="308"/>
                    <a:pt x="943" y="299"/>
                    <a:pt x="943" y="282"/>
                  </a:cubicBezTo>
                  <a:cubicBezTo>
                    <a:pt x="944" y="224"/>
                    <a:pt x="943" y="165"/>
                    <a:pt x="943" y="107"/>
                  </a:cubicBezTo>
                  <a:cubicBezTo>
                    <a:pt x="943" y="97"/>
                    <a:pt x="943" y="87"/>
                    <a:pt x="943" y="76"/>
                  </a:cubicBezTo>
                  <a:cubicBezTo>
                    <a:pt x="857" y="76"/>
                    <a:pt x="774" y="76"/>
                    <a:pt x="686" y="76"/>
                  </a:cubicBezTo>
                  <a:cubicBezTo>
                    <a:pt x="686" y="134"/>
                    <a:pt x="686" y="191"/>
                    <a:pt x="686" y="249"/>
                  </a:cubicBezTo>
                  <a:cubicBezTo>
                    <a:pt x="686" y="305"/>
                    <a:pt x="686" y="305"/>
                    <a:pt x="633" y="324"/>
                  </a:cubicBezTo>
                  <a:cubicBezTo>
                    <a:pt x="610" y="332"/>
                    <a:pt x="588" y="342"/>
                    <a:pt x="567" y="354"/>
                  </a:cubicBezTo>
                  <a:cubicBezTo>
                    <a:pt x="551" y="364"/>
                    <a:pt x="541" y="359"/>
                    <a:pt x="529" y="347"/>
                  </a:cubicBezTo>
                  <a:cubicBezTo>
                    <a:pt x="482" y="297"/>
                    <a:pt x="434" y="249"/>
                    <a:pt x="388" y="202"/>
                  </a:cubicBezTo>
                  <a:cubicBezTo>
                    <a:pt x="326" y="265"/>
                    <a:pt x="266" y="324"/>
                    <a:pt x="203" y="387"/>
                  </a:cubicBezTo>
                  <a:cubicBezTo>
                    <a:pt x="248" y="431"/>
                    <a:pt x="296" y="479"/>
                    <a:pt x="345" y="525"/>
                  </a:cubicBezTo>
                  <a:cubicBezTo>
                    <a:pt x="360" y="539"/>
                    <a:pt x="364" y="550"/>
                    <a:pt x="353" y="570"/>
                  </a:cubicBezTo>
                  <a:cubicBezTo>
                    <a:pt x="337" y="600"/>
                    <a:pt x="325" y="633"/>
                    <a:pt x="314" y="665"/>
                  </a:cubicBezTo>
                  <a:cubicBezTo>
                    <a:pt x="308" y="681"/>
                    <a:pt x="301" y="687"/>
                    <a:pt x="284" y="687"/>
                  </a:cubicBezTo>
                  <a:cubicBezTo>
                    <a:pt x="215" y="686"/>
                    <a:pt x="147" y="687"/>
                    <a:pt x="76" y="687"/>
                  </a:cubicBezTo>
                  <a:cubicBezTo>
                    <a:pt x="76" y="754"/>
                    <a:pt x="76" y="819"/>
                    <a:pt x="76" y="886"/>
                  </a:cubicBezTo>
                  <a:cubicBezTo>
                    <a:pt x="49" y="886"/>
                    <a:pt x="26" y="886"/>
                    <a:pt x="0" y="8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64FF"/>
                </a:solidFill>
                <a:effectLst/>
                <a:uLnTx/>
                <a:uFillTx/>
                <a:latin typeface="Arial" panose="020B0604020202020204"/>
                <a:ea typeface="+mn-ea"/>
                <a:cs typeface="+mn-cs"/>
              </a:endParaRPr>
            </a:p>
          </p:txBody>
        </p:sp>
        <p:sp>
          <p:nvSpPr>
            <p:cNvPr id="36" name="Freeform 7"/>
            <p:cNvSpPr>
              <a:spLocks/>
            </p:cNvSpPr>
            <p:nvPr/>
          </p:nvSpPr>
          <p:spPr bwMode="auto">
            <a:xfrm>
              <a:off x="2754" y="3449"/>
              <a:ext cx="152" cy="249"/>
            </a:xfrm>
            <a:custGeom>
              <a:avLst/>
              <a:gdLst>
                <a:gd name="T0" fmla="*/ 756 w 923"/>
                <a:gd name="T1" fmla="*/ 823 h 1513"/>
                <a:gd name="T2" fmla="*/ 752 w 923"/>
                <a:gd name="T3" fmla="*/ 827 h 1513"/>
                <a:gd name="T4" fmla="*/ 198 w 923"/>
                <a:gd name="T5" fmla="*/ 827 h 1513"/>
                <a:gd name="T6" fmla="*/ 153 w 923"/>
                <a:gd name="T7" fmla="*/ 844 h 1513"/>
                <a:gd name="T8" fmla="*/ 75 w 923"/>
                <a:gd name="T9" fmla="*/ 1035 h 1513"/>
                <a:gd name="T10" fmla="*/ 77 w 923"/>
                <a:gd name="T11" fmla="*/ 1403 h 1513"/>
                <a:gd name="T12" fmla="*/ 77 w 923"/>
                <a:gd name="T13" fmla="*/ 1437 h 1513"/>
                <a:gd name="T14" fmla="*/ 186 w 923"/>
                <a:gd name="T15" fmla="*/ 1437 h 1513"/>
                <a:gd name="T16" fmla="*/ 186 w 923"/>
                <a:gd name="T17" fmla="*/ 1160 h 1513"/>
                <a:gd name="T18" fmla="*/ 262 w 923"/>
                <a:gd name="T19" fmla="*/ 1160 h 1513"/>
                <a:gd name="T20" fmla="*/ 262 w 923"/>
                <a:gd name="T21" fmla="*/ 1438 h 1513"/>
                <a:gd name="T22" fmla="*/ 450 w 923"/>
                <a:gd name="T23" fmla="*/ 1438 h 1513"/>
                <a:gd name="T24" fmla="*/ 450 w 923"/>
                <a:gd name="T25" fmla="*/ 1513 h 1513"/>
                <a:gd name="T26" fmla="*/ 1 w 923"/>
                <a:gd name="T27" fmla="*/ 1513 h 1513"/>
                <a:gd name="T28" fmla="*/ 0 w 923"/>
                <a:gd name="T29" fmla="*/ 1487 h 1513"/>
                <a:gd name="T30" fmla="*/ 1 w 923"/>
                <a:gd name="T31" fmla="*/ 914 h 1513"/>
                <a:gd name="T32" fmla="*/ 16 w 923"/>
                <a:gd name="T33" fmla="*/ 875 h 1513"/>
                <a:gd name="T34" fmla="*/ 124 w 923"/>
                <a:gd name="T35" fmla="*/ 768 h 1513"/>
                <a:gd name="T36" fmla="*/ 165 w 923"/>
                <a:gd name="T37" fmla="*/ 751 h 1513"/>
                <a:gd name="T38" fmla="*/ 415 w 923"/>
                <a:gd name="T39" fmla="*/ 750 h 1513"/>
                <a:gd name="T40" fmla="*/ 369 w 923"/>
                <a:gd name="T41" fmla="*/ 702 h 1513"/>
                <a:gd name="T42" fmla="*/ 287 w 923"/>
                <a:gd name="T43" fmla="*/ 614 h 1513"/>
                <a:gd name="T44" fmla="*/ 283 w 923"/>
                <a:gd name="T45" fmla="*/ 493 h 1513"/>
                <a:gd name="T46" fmla="*/ 288 w 923"/>
                <a:gd name="T47" fmla="*/ 299 h 1513"/>
                <a:gd name="T48" fmla="*/ 638 w 923"/>
                <a:gd name="T49" fmla="*/ 11 h 1513"/>
                <a:gd name="T50" fmla="*/ 919 w 923"/>
                <a:gd name="T51" fmla="*/ 189 h 1513"/>
                <a:gd name="T52" fmla="*/ 923 w 923"/>
                <a:gd name="T53" fmla="*/ 196 h 1513"/>
                <a:gd name="T54" fmla="*/ 922 w 923"/>
                <a:gd name="T55" fmla="*/ 202 h 1513"/>
                <a:gd name="T56" fmla="*/ 861 w 923"/>
                <a:gd name="T57" fmla="*/ 232 h 1513"/>
                <a:gd name="T58" fmla="*/ 802 w 923"/>
                <a:gd name="T59" fmla="*/ 159 h 1513"/>
                <a:gd name="T60" fmla="*/ 521 w 923"/>
                <a:gd name="T61" fmla="*/ 108 h 1513"/>
                <a:gd name="T62" fmla="*/ 362 w 923"/>
                <a:gd name="T63" fmla="*/ 334 h 1513"/>
                <a:gd name="T64" fmla="*/ 360 w 923"/>
                <a:gd name="T65" fmla="*/ 568 h 1513"/>
                <a:gd name="T66" fmla="*/ 372 w 923"/>
                <a:gd name="T67" fmla="*/ 596 h 1513"/>
                <a:gd name="T68" fmla="*/ 513 w 923"/>
                <a:gd name="T69" fmla="*/ 737 h 1513"/>
                <a:gd name="T70" fmla="*/ 543 w 923"/>
                <a:gd name="T71" fmla="*/ 750 h 1513"/>
                <a:gd name="T72" fmla="*/ 700 w 923"/>
                <a:gd name="T73" fmla="*/ 750 h 1513"/>
                <a:gd name="T74" fmla="*/ 732 w 923"/>
                <a:gd name="T75" fmla="*/ 736 h 1513"/>
                <a:gd name="T76" fmla="*/ 827 w 923"/>
                <a:gd name="T77" fmla="*/ 640 h 1513"/>
                <a:gd name="T78" fmla="*/ 880 w 923"/>
                <a:gd name="T79" fmla="*/ 695 h 1513"/>
                <a:gd name="T80" fmla="*/ 756 w 923"/>
                <a:gd name="T81" fmla="*/ 823 h 1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3" h="1513">
                  <a:moveTo>
                    <a:pt x="756" y="823"/>
                  </a:moveTo>
                  <a:cubicBezTo>
                    <a:pt x="755" y="825"/>
                    <a:pt x="753" y="826"/>
                    <a:pt x="752" y="827"/>
                  </a:cubicBezTo>
                  <a:cubicBezTo>
                    <a:pt x="567" y="827"/>
                    <a:pt x="382" y="828"/>
                    <a:pt x="198" y="827"/>
                  </a:cubicBezTo>
                  <a:cubicBezTo>
                    <a:pt x="180" y="827"/>
                    <a:pt x="168" y="834"/>
                    <a:pt x="153" y="844"/>
                  </a:cubicBezTo>
                  <a:cubicBezTo>
                    <a:pt x="87" y="892"/>
                    <a:pt x="70" y="955"/>
                    <a:pt x="75" y="1035"/>
                  </a:cubicBezTo>
                  <a:cubicBezTo>
                    <a:pt x="82" y="1157"/>
                    <a:pt x="77" y="1280"/>
                    <a:pt x="77" y="1403"/>
                  </a:cubicBezTo>
                  <a:cubicBezTo>
                    <a:pt x="77" y="1413"/>
                    <a:pt x="77" y="1424"/>
                    <a:pt x="77" y="1437"/>
                  </a:cubicBezTo>
                  <a:cubicBezTo>
                    <a:pt x="113" y="1437"/>
                    <a:pt x="148" y="1437"/>
                    <a:pt x="186" y="1437"/>
                  </a:cubicBezTo>
                  <a:cubicBezTo>
                    <a:pt x="186" y="1345"/>
                    <a:pt x="186" y="1254"/>
                    <a:pt x="186" y="1160"/>
                  </a:cubicBezTo>
                  <a:cubicBezTo>
                    <a:pt x="211" y="1160"/>
                    <a:pt x="235" y="1160"/>
                    <a:pt x="262" y="1160"/>
                  </a:cubicBezTo>
                  <a:cubicBezTo>
                    <a:pt x="262" y="1252"/>
                    <a:pt x="262" y="1343"/>
                    <a:pt x="262" y="1438"/>
                  </a:cubicBezTo>
                  <a:cubicBezTo>
                    <a:pt x="326" y="1438"/>
                    <a:pt x="387" y="1438"/>
                    <a:pt x="450" y="1438"/>
                  </a:cubicBezTo>
                  <a:cubicBezTo>
                    <a:pt x="450" y="1464"/>
                    <a:pt x="450" y="1487"/>
                    <a:pt x="450" y="1513"/>
                  </a:cubicBezTo>
                  <a:cubicBezTo>
                    <a:pt x="302" y="1513"/>
                    <a:pt x="153" y="1513"/>
                    <a:pt x="1" y="1513"/>
                  </a:cubicBezTo>
                  <a:cubicBezTo>
                    <a:pt x="1" y="1504"/>
                    <a:pt x="0" y="1495"/>
                    <a:pt x="0" y="1487"/>
                  </a:cubicBezTo>
                  <a:cubicBezTo>
                    <a:pt x="0" y="1296"/>
                    <a:pt x="0" y="1105"/>
                    <a:pt x="1" y="914"/>
                  </a:cubicBezTo>
                  <a:cubicBezTo>
                    <a:pt x="1" y="901"/>
                    <a:pt x="7" y="885"/>
                    <a:pt x="16" y="875"/>
                  </a:cubicBezTo>
                  <a:cubicBezTo>
                    <a:pt x="51" y="838"/>
                    <a:pt x="86" y="802"/>
                    <a:pt x="124" y="768"/>
                  </a:cubicBezTo>
                  <a:cubicBezTo>
                    <a:pt x="134" y="758"/>
                    <a:pt x="151" y="752"/>
                    <a:pt x="165" y="751"/>
                  </a:cubicBezTo>
                  <a:cubicBezTo>
                    <a:pt x="246" y="750"/>
                    <a:pt x="326" y="750"/>
                    <a:pt x="415" y="750"/>
                  </a:cubicBezTo>
                  <a:cubicBezTo>
                    <a:pt x="396" y="731"/>
                    <a:pt x="383" y="717"/>
                    <a:pt x="369" y="702"/>
                  </a:cubicBezTo>
                  <a:cubicBezTo>
                    <a:pt x="341" y="673"/>
                    <a:pt x="301" y="649"/>
                    <a:pt x="287" y="614"/>
                  </a:cubicBezTo>
                  <a:cubicBezTo>
                    <a:pt x="272" y="579"/>
                    <a:pt x="282" y="533"/>
                    <a:pt x="283" y="493"/>
                  </a:cubicBezTo>
                  <a:cubicBezTo>
                    <a:pt x="284" y="428"/>
                    <a:pt x="282" y="363"/>
                    <a:pt x="288" y="299"/>
                  </a:cubicBezTo>
                  <a:cubicBezTo>
                    <a:pt x="306" y="131"/>
                    <a:pt x="469" y="0"/>
                    <a:pt x="638" y="11"/>
                  </a:cubicBezTo>
                  <a:cubicBezTo>
                    <a:pt x="764" y="20"/>
                    <a:pt x="857" y="80"/>
                    <a:pt x="919" y="189"/>
                  </a:cubicBezTo>
                  <a:cubicBezTo>
                    <a:pt x="921" y="191"/>
                    <a:pt x="922" y="194"/>
                    <a:pt x="923" y="196"/>
                  </a:cubicBezTo>
                  <a:cubicBezTo>
                    <a:pt x="923" y="197"/>
                    <a:pt x="922" y="198"/>
                    <a:pt x="922" y="202"/>
                  </a:cubicBezTo>
                  <a:cubicBezTo>
                    <a:pt x="903" y="212"/>
                    <a:pt x="882" y="222"/>
                    <a:pt x="861" y="232"/>
                  </a:cubicBezTo>
                  <a:cubicBezTo>
                    <a:pt x="841" y="207"/>
                    <a:pt x="824" y="180"/>
                    <a:pt x="802" y="159"/>
                  </a:cubicBezTo>
                  <a:cubicBezTo>
                    <a:pt x="720" y="84"/>
                    <a:pt x="624" y="65"/>
                    <a:pt x="521" y="108"/>
                  </a:cubicBezTo>
                  <a:cubicBezTo>
                    <a:pt x="423" y="149"/>
                    <a:pt x="368" y="227"/>
                    <a:pt x="362" y="334"/>
                  </a:cubicBezTo>
                  <a:cubicBezTo>
                    <a:pt x="358" y="412"/>
                    <a:pt x="360" y="490"/>
                    <a:pt x="360" y="568"/>
                  </a:cubicBezTo>
                  <a:cubicBezTo>
                    <a:pt x="360" y="578"/>
                    <a:pt x="365" y="589"/>
                    <a:pt x="372" y="596"/>
                  </a:cubicBezTo>
                  <a:cubicBezTo>
                    <a:pt x="418" y="644"/>
                    <a:pt x="465" y="691"/>
                    <a:pt x="513" y="737"/>
                  </a:cubicBezTo>
                  <a:cubicBezTo>
                    <a:pt x="520" y="744"/>
                    <a:pt x="533" y="750"/>
                    <a:pt x="543" y="750"/>
                  </a:cubicBezTo>
                  <a:cubicBezTo>
                    <a:pt x="595" y="751"/>
                    <a:pt x="648" y="751"/>
                    <a:pt x="700" y="750"/>
                  </a:cubicBezTo>
                  <a:cubicBezTo>
                    <a:pt x="711" y="750"/>
                    <a:pt x="724" y="743"/>
                    <a:pt x="732" y="736"/>
                  </a:cubicBezTo>
                  <a:cubicBezTo>
                    <a:pt x="765" y="705"/>
                    <a:pt x="796" y="672"/>
                    <a:pt x="827" y="640"/>
                  </a:cubicBezTo>
                  <a:cubicBezTo>
                    <a:pt x="846" y="659"/>
                    <a:pt x="862" y="676"/>
                    <a:pt x="880" y="695"/>
                  </a:cubicBezTo>
                  <a:cubicBezTo>
                    <a:pt x="840" y="736"/>
                    <a:pt x="798" y="779"/>
                    <a:pt x="756" y="8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64FF"/>
                </a:solidFill>
                <a:effectLst/>
                <a:uLnTx/>
                <a:uFillTx/>
                <a:latin typeface="Arial" panose="020B0604020202020204"/>
                <a:ea typeface="+mn-ea"/>
                <a:cs typeface="+mn-cs"/>
              </a:endParaRPr>
            </a:p>
          </p:txBody>
        </p:sp>
        <p:sp>
          <p:nvSpPr>
            <p:cNvPr id="37" name="Freeform 8"/>
            <p:cNvSpPr>
              <a:spLocks/>
            </p:cNvSpPr>
            <p:nvPr/>
          </p:nvSpPr>
          <p:spPr bwMode="auto">
            <a:xfrm>
              <a:off x="3024" y="3446"/>
              <a:ext cx="152" cy="252"/>
            </a:xfrm>
            <a:custGeom>
              <a:avLst/>
              <a:gdLst>
                <a:gd name="T0" fmla="*/ 170 w 925"/>
                <a:gd name="T1" fmla="*/ 849 h 1535"/>
                <a:gd name="T2" fmla="*/ 168 w 925"/>
                <a:gd name="T3" fmla="*/ 847 h 1535"/>
                <a:gd name="T4" fmla="*/ 113 w 925"/>
                <a:gd name="T5" fmla="*/ 786 h 1535"/>
                <a:gd name="T6" fmla="*/ 42 w 925"/>
                <a:gd name="T7" fmla="*/ 716 h 1535"/>
                <a:gd name="T8" fmla="*/ 99 w 925"/>
                <a:gd name="T9" fmla="*/ 661 h 1535"/>
                <a:gd name="T10" fmla="*/ 194 w 925"/>
                <a:gd name="T11" fmla="*/ 757 h 1535"/>
                <a:gd name="T12" fmla="*/ 228 w 925"/>
                <a:gd name="T13" fmla="*/ 771 h 1535"/>
                <a:gd name="T14" fmla="*/ 380 w 925"/>
                <a:gd name="T15" fmla="*/ 772 h 1535"/>
                <a:gd name="T16" fmla="*/ 414 w 925"/>
                <a:gd name="T17" fmla="*/ 757 h 1535"/>
                <a:gd name="T18" fmla="*/ 552 w 925"/>
                <a:gd name="T19" fmla="*/ 620 h 1535"/>
                <a:gd name="T20" fmla="*/ 566 w 925"/>
                <a:gd name="T21" fmla="*/ 586 h 1535"/>
                <a:gd name="T22" fmla="*/ 566 w 925"/>
                <a:gd name="T23" fmla="*/ 367 h 1535"/>
                <a:gd name="T24" fmla="*/ 365 w 925"/>
                <a:gd name="T25" fmla="*/ 117 h 1535"/>
                <a:gd name="T26" fmla="*/ 81 w 925"/>
                <a:gd name="T27" fmla="*/ 234 h 1535"/>
                <a:gd name="T28" fmla="*/ 67 w 925"/>
                <a:gd name="T29" fmla="*/ 255 h 1535"/>
                <a:gd name="T30" fmla="*/ 0 w 925"/>
                <a:gd name="T31" fmla="*/ 223 h 1535"/>
                <a:gd name="T32" fmla="*/ 231 w 925"/>
                <a:gd name="T33" fmla="*/ 41 h 1535"/>
                <a:gd name="T34" fmla="*/ 639 w 925"/>
                <a:gd name="T35" fmla="*/ 324 h 1535"/>
                <a:gd name="T36" fmla="*/ 642 w 925"/>
                <a:gd name="T37" fmla="*/ 470 h 1535"/>
                <a:gd name="T38" fmla="*/ 641 w 925"/>
                <a:gd name="T39" fmla="*/ 617 h 1535"/>
                <a:gd name="T40" fmla="*/ 626 w 925"/>
                <a:gd name="T41" fmla="*/ 653 h 1535"/>
                <a:gd name="T42" fmla="*/ 509 w 925"/>
                <a:gd name="T43" fmla="*/ 771 h 1535"/>
                <a:gd name="T44" fmla="*/ 542 w 925"/>
                <a:gd name="T45" fmla="*/ 772 h 1535"/>
                <a:gd name="T46" fmla="*/ 763 w 925"/>
                <a:gd name="T47" fmla="*/ 773 h 1535"/>
                <a:gd name="T48" fmla="*/ 800 w 925"/>
                <a:gd name="T49" fmla="*/ 788 h 1535"/>
                <a:gd name="T50" fmla="*/ 911 w 925"/>
                <a:gd name="T51" fmla="*/ 899 h 1535"/>
                <a:gd name="T52" fmla="*/ 924 w 925"/>
                <a:gd name="T53" fmla="*/ 926 h 1535"/>
                <a:gd name="T54" fmla="*/ 925 w 925"/>
                <a:gd name="T55" fmla="*/ 1525 h 1535"/>
                <a:gd name="T56" fmla="*/ 923 w 925"/>
                <a:gd name="T57" fmla="*/ 1535 h 1535"/>
                <a:gd name="T58" fmla="*/ 473 w 925"/>
                <a:gd name="T59" fmla="*/ 1535 h 1535"/>
                <a:gd name="T60" fmla="*/ 473 w 925"/>
                <a:gd name="T61" fmla="*/ 1461 h 1535"/>
                <a:gd name="T62" fmla="*/ 662 w 925"/>
                <a:gd name="T63" fmla="*/ 1461 h 1535"/>
                <a:gd name="T64" fmla="*/ 662 w 925"/>
                <a:gd name="T65" fmla="*/ 1182 h 1535"/>
                <a:gd name="T66" fmla="*/ 737 w 925"/>
                <a:gd name="T67" fmla="*/ 1182 h 1535"/>
                <a:gd name="T68" fmla="*/ 739 w 925"/>
                <a:gd name="T69" fmla="*/ 1209 h 1535"/>
                <a:gd name="T70" fmla="*/ 738 w 925"/>
                <a:gd name="T71" fmla="*/ 1435 h 1535"/>
                <a:gd name="T72" fmla="*/ 763 w 925"/>
                <a:gd name="T73" fmla="*/ 1461 h 1535"/>
                <a:gd name="T74" fmla="*/ 847 w 925"/>
                <a:gd name="T75" fmla="*/ 1461 h 1535"/>
                <a:gd name="T76" fmla="*/ 849 w 925"/>
                <a:gd name="T77" fmla="*/ 1433 h 1535"/>
                <a:gd name="T78" fmla="*/ 848 w 925"/>
                <a:gd name="T79" fmla="*/ 967 h 1535"/>
                <a:gd name="T80" fmla="*/ 832 w 925"/>
                <a:gd name="T81" fmla="*/ 928 h 1535"/>
                <a:gd name="T82" fmla="*/ 812 w 925"/>
                <a:gd name="T83" fmla="*/ 907 h 1535"/>
                <a:gd name="T84" fmla="*/ 670 w 925"/>
                <a:gd name="T85" fmla="*/ 848 h 1535"/>
                <a:gd name="T86" fmla="*/ 170 w 925"/>
                <a:gd name="T87" fmla="*/ 849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25" h="1535">
                  <a:moveTo>
                    <a:pt x="170" y="849"/>
                  </a:moveTo>
                  <a:cubicBezTo>
                    <a:pt x="170" y="849"/>
                    <a:pt x="168" y="847"/>
                    <a:pt x="168" y="847"/>
                  </a:cubicBezTo>
                  <a:cubicBezTo>
                    <a:pt x="150" y="827"/>
                    <a:pt x="132" y="806"/>
                    <a:pt x="113" y="786"/>
                  </a:cubicBezTo>
                  <a:cubicBezTo>
                    <a:pt x="90" y="763"/>
                    <a:pt x="66" y="741"/>
                    <a:pt x="42" y="716"/>
                  </a:cubicBezTo>
                  <a:cubicBezTo>
                    <a:pt x="61" y="698"/>
                    <a:pt x="79" y="681"/>
                    <a:pt x="99" y="661"/>
                  </a:cubicBezTo>
                  <a:cubicBezTo>
                    <a:pt x="131" y="693"/>
                    <a:pt x="161" y="726"/>
                    <a:pt x="194" y="757"/>
                  </a:cubicBezTo>
                  <a:cubicBezTo>
                    <a:pt x="202" y="765"/>
                    <a:pt x="216" y="771"/>
                    <a:pt x="228" y="771"/>
                  </a:cubicBezTo>
                  <a:cubicBezTo>
                    <a:pt x="279" y="773"/>
                    <a:pt x="329" y="773"/>
                    <a:pt x="380" y="772"/>
                  </a:cubicBezTo>
                  <a:cubicBezTo>
                    <a:pt x="392" y="771"/>
                    <a:pt x="406" y="766"/>
                    <a:pt x="414" y="757"/>
                  </a:cubicBezTo>
                  <a:cubicBezTo>
                    <a:pt x="461" y="713"/>
                    <a:pt x="507" y="667"/>
                    <a:pt x="552" y="620"/>
                  </a:cubicBezTo>
                  <a:cubicBezTo>
                    <a:pt x="560" y="612"/>
                    <a:pt x="565" y="597"/>
                    <a:pt x="566" y="586"/>
                  </a:cubicBezTo>
                  <a:cubicBezTo>
                    <a:pt x="567" y="513"/>
                    <a:pt x="567" y="440"/>
                    <a:pt x="566" y="367"/>
                  </a:cubicBezTo>
                  <a:cubicBezTo>
                    <a:pt x="566" y="250"/>
                    <a:pt x="486" y="151"/>
                    <a:pt x="365" y="117"/>
                  </a:cubicBezTo>
                  <a:cubicBezTo>
                    <a:pt x="260" y="87"/>
                    <a:pt x="140" y="137"/>
                    <a:pt x="81" y="234"/>
                  </a:cubicBezTo>
                  <a:cubicBezTo>
                    <a:pt x="77" y="240"/>
                    <a:pt x="72" y="247"/>
                    <a:pt x="67" y="255"/>
                  </a:cubicBezTo>
                  <a:cubicBezTo>
                    <a:pt x="45" y="244"/>
                    <a:pt x="23" y="234"/>
                    <a:pt x="0" y="223"/>
                  </a:cubicBezTo>
                  <a:cubicBezTo>
                    <a:pt x="50" y="126"/>
                    <a:pt x="126" y="63"/>
                    <a:pt x="231" y="41"/>
                  </a:cubicBezTo>
                  <a:cubicBezTo>
                    <a:pt x="428" y="0"/>
                    <a:pt x="608" y="124"/>
                    <a:pt x="639" y="324"/>
                  </a:cubicBezTo>
                  <a:cubicBezTo>
                    <a:pt x="646" y="372"/>
                    <a:pt x="641" y="421"/>
                    <a:pt x="642" y="470"/>
                  </a:cubicBezTo>
                  <a:cubicBezTo>
                    <a:pt x="642" y="519"/>
                    <a:pt x="643" y="568"/>
                    <a:pt x="641" y="617"/>
                  </a:cubicBezTo>
                  <a:cubicBezTo>
                    <a:pt x="641" y="629"/>
                    <a:pt x="635" y="644"/>
                    <a:pt x="626" y="653"/>
                  </a:cubicBezTo>
                  <a:cubicBezTo>
                    <a:pt x="590" y="692"/>
                    <a:pt x="551" y="728"/>
                    <a:pt x="509" y="771"/>
                  </a:cubicBezTo>
                  <a:cubicBezTo>
                    <a:pt x="524" y="771"/>
                    <a:pt x="533" y="772"/>
                    <a:pt x="542" y="772"/>
                  </a:cubicBezTo>
                  <a:cubicBezTo>
                    <a:pt x="616" y="773"/>
                    <a:pt x="690" y="772"/>
                    <a:pt x="763" y="773"/>
                  </a:cubicBezTo>
                  <a:cubicBezTo>
                    <a:pt x="776" y="773"/>
                    <a:pt x="791" y="780"/>
                    <a:pt x="800" y="788"/>
                  </a:cubicBezTo>
                  <a:cubicBezTo>
                    <a:pt x="838" y="824"/>
                    <a:pt x="875" y="862"/>
                    <a:pt x="911" y="899"/>
                  </a:cubicBezTo>
                  <a:cubicBezTo>
                    <a:pt x="918" y="906"/>
                    <a:pt x="924" y="917"/>
                    <a:pt x="924" y="926"/>
                  </a:cubicBezTo>
                  <a:cubicBezTo>
                    <a:pt x="925" y="1126"/>
                    <a:pt x="925" y="1326"/>
                    <a:pt x="925" y="1525"/>
                  </a:cubicBezTo>
                  <a:cubicBezTo>
                    <a:pt x="925" y="1528"/>
                    <a:pt x="924" y="1531"/>
                    <a:pt x="923" y="1535"/>
                  </a:cubicBezTo>
                  <a:cubicBezTo>
                    <a:pt x="774" y="1535"/>
                    <a:pt x="624" y="1535"/>
                    <a:pt x="473" y="1535"/>
                  </a:cubicBezTo>
                  <a:cubicBezTo>
                    <a:pt x="473" y="1511"/>
                    <a:pt x="473" y="1487"/>
                    <a:pt x="473" y="1461"/>
                  </a:cubicBezTo>
                  <a:cubicBezTo>
                    <a:pt x="536" y="1461"/>
                    <a:pt x="598" y="1461"/>
                    <a:pt x="662" y="1461"/>
                  </a:cubicBezTo>
                  <a:cubicBezTo>
                    <a:pt x="662" y="1367"/>
                    <a:pt x="662" y="1276"/>
                    <a:pt x="662" y="1182"/>
                  </a:cubicBezTo>
                  <a:cubicBezTo>
                    <a:pt x="687" y="1182"/>
                    <a:pt x="710" y="1182"/>
                    <a:pt x="737" y="1182"/>
                  </a:cubicBezTo>
                  <a:cubicBezTo>
                    <a:pt x="738" y="1191"/>
                    <a:pt x="739" y="1200"/>
                    <a:pt x="739" y="1209"/>
                  </a:cubicBezTo>
                  <a:cubicBezTo>
                    <a:pt x="739" y="1285"/>
                    <a:pt x="739" y="1360"/>
                    <a:pt x="738" y="1435"/>
                  </a:cubicBezTo>
                  <a:cubicBezTo>
                    <a:pt x="738" y="1455"/>
                    <a:pt x="743" y="1463"/>
                    <a:pt x="763" y="1461"/>
                  </a:cubicBezTo>
                  <a:cubicBezTo>
                    <a:pt x="790" y="1460"/>
                    <a:pt x="818" y="1461"/>
                    <a:pt x="847" y="1461"/>
                  </a:cubicBezTo>
                  <a:cubicBezTo>
                    <a:pt x="848" y="1450"/>
                    <a:pt x="849" y="1442"/>
                    <a:pt x="849" y="1433"/>
                  </a:cubicBezTo>
                  <a:cubicBezTo>
                    <a:pt x="849" y="1278"/>
                    <a:pt x="849" y="1122"/>
                    <a:pt x="848" y="967"/>
                  </a:cubicBezTo>
                  <a:cubicBezTo>
                    <a:pt x="848" y="954"/>
                    <a:pt x="839" y="940"/>
                    <a:pt x="832" y="928"/>
                  </a:cubicBezTo>
                  <a:cubicBezTo>
                    <a:pt x="828" y="920"/>
                    <a:pt x="818" y="915"/>
                    <a:pt x="812" y="907"/>
                  </a:cubicBezTo>
                  <a:cubicBezTo>
                    <a:pt x="778" y="856"/>
                    <a:pt x="729" y="847"/>
                    <a:pt x="670" y="848"/>
                  </a:cubicBezTo>
                  <a:cubicBezTo>
                    <a:pt x="503" y="852"/>
                    <a:pt x="337" y="849"/>
                    <a:pt x="170" y="8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64FF"/>
                </a:solidFill>
                <a:effectLst/>
                <a:uLnTx/>
                <a:uFillTx/>
                <a:latin typeface="Arial" panose="020B0604020202020204"/>
                <a:ea typeface="+mn-ea"/>
                <a:cs typeface="+mn-cs"/>
              </a:endParaRPr>
            </a:p>
          </p:txBody>
        </p:sp>
        <p:sp>
          <p:nvSpPr>
            <p:cNvPr id="38" name="Freeform 9"/>
            <p:cNvSpPr>
              <a:spLocks/>
            </p:cNvSpPr>
            <p:nvPr/>
          </p:nvSpPr>
          <p:spPr bwMode="auto">
            <a:xfrm>
              <a:off x="2910" y="3376"/>
              <a:ext cx="113" cy="82"/>
            </a:xfrm>
            <a:custGeom>
              <a:avLst/>
              <a:gdLst>
                <a:gd name="T0" fmla="*/ 132 w 684"/>
                <a:gd name="T1" fmla="*/ 461 h 498"/>
                <a:gd name="T2" fmla="*/ 70 w 684"/>
                <a:gd name="T3" fmla="*/ 497 h 498"/>
                <a:gd name="T4" fmla="*/ 126 w 684"/>
                <a:gd name="T5" fmla="*/ 108 h 498"/>
                <a:gd name="T6" fmla="*/ 544 w 684"/>
                <a:gd name="T7" fmla="*/ 105 h 498"/>
                <a:gd name="T8" fmla="*/ 604 w 684"/>
                <a:gd name="T9" fmla="*/ 498 h 498"/>
                <a:gd name="T10" fmla="*/ 541 w 684"/>
                <a:gd name="T11" fmla="*/ 461 h 498"/>
                <a:gd name="T12" fmla="*/ 555 w 684"/>
                <a:gd name="T13" fmla="*/ 250 h 498"/>
                <a:gd name="T14" fmla="*/ 464 w 684"/>
                <a:gd name="T15" fmla="*/ 142 h 498"/>
                <a:gd name="T16" fmla="*/ 179 w 684"/>
                <a:gd name="T17" fmla="*/ 165 h 498"/>
                <a:gd name="T18" fmla="*/ 132 w 684"/>
                <a:gd name="T19" fmla="*/ 461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4" h="498">
                  <a:moveTo>
                    <a:pt x="132" y="461"/>
                  </a:moveTo>
                  <a:cubicBezTo>
                    <a:pt x="110" y="474"/>
                    <a:pt x="90" y="486"/>
                    <a:pt x="70" y="497"/>
                  </a:cubicBezTo>
                  <a:cubicBezTo>
                    <a:pt x="0" y="393"/>
                    <a:pt x="6" y="216"/>
                    <a:pt x="126" y="108"/>
                  </a:cubicBezTo>
                  <a:cubicBezTo>
                    <a:pt x="246" y="1"/>
                    <a:pt x="425" y="0"/>
                    <a:pt x="544" y="105"/>
                  </a:cubicBezTo>
                  <a:cubicBezTo>
                    <a:pt x="656" y="205"/>
                    <a:pt x="684" y="382"/>
                    <a:pt x="604" y="498"/>
                  </a:cubicBezTo>
                  <a:cubicBezTo>
                    <a:pt x="584" y="486"/>
                    <a:pt x="563" y="474"/>
                    <a:pt x="541" y="461"/>
                  </a:cubicBezTo>
                  <a:cubicBezTo>
                    <a:pt x="577" y="392"/>
                    <a:pt x="583" y="322"/>
                    <a:pt x="555" y="250"/>
                  </a:cubicBezTo>
                  <a:cubicBezTo>
                    <a:pt x="537" y="204"/>
                    <a:pt x="506" y="168"/>
                    <a:pt x="464" y="142"/>
                  </a:cubicBezTo>
                  <a:cubicBezTo>
                    <a:pt x="374" y="83"/>
                    <a:pt x="262" y="92"/>
                    <a:pt x="179" y="165"/>
                  </a:cubicBezTo>
                  <a:cubicBezTo>
                    <a:pt x="113" y="222"/>
                    <a:pt x="67" y="337"/>
                    <a:pt x="132" y="4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uk-UA" sz="1350" b="0" i="0" u="none" strike="noStrike" kern="1200" cap="none" spc="0" normalizeH="0" baseline="0" noProof="0">
                <a:ln>
                  <a:noFill/>
                </a:ln>
                <a:solidFill>
                  <a:srgbClr val="0064FF"/>
                </a:solidFill>
                <a:effectLst/>
                <a:uLnTx/>
                <a:uFillTx/>
                <a:latin typeface="Arial" panose="020B0604020202020204"/>
                <a:ea typeface="+mn-ea"/>
                <a:cs typeface="+mn-cs"/>
              </a:endParaRPr>
            </a:p>
          </p:txBody>
        </p:sp>
      </p:grpSp>
      <p:pic>
        <p:nvPicPr>
          <p:cNvPr id="25" name="Picture 24">
            <a:extLst>
              <a:ext uri="{FF2B5EF4-FFF2-40B4-BE49-F238E27FC236}">
                <a16:creationId xmlns:a16="http://schemas.microsoft.com/office/drawing/2014/main" id="{38B2A0EC-0E11-4949-B827-A2F14336D888}"/>
              </a:ext>
            </a:extLst>
          </p:cNvPr>
          <p:cNvPicPr>
            <a:picLocks noChangeAspect="1"/>
          </p:cNvPicPr>
          <p:nvPr/>
        </p:nvPicPr>
        <p:blipFill rotWithShape="1">
          <a:blip r:embed="rId3"/>
          <a:srcRect r="52956"/>
          <a:stretch/>
        </p:blipFill>
        <p:spPr>
          <a:xfrm>
            <a:off x="2857053" y="4279381"/>
            <a:ext cx="2813403" cy="744275"/>
          </a:xfrm>
          <a:prstGeom prst="rect">
            <a:avLst/>
          </a:prstGeom>
        </p:spPr>
      </p:pic>
      <p:pic>
        <p:nvPicPr>
          <p:cNvPr id="26" name="Picture 25">
            <a:extLst>
              <a:ext uri="{FF2B5EF4-FFF2-40B4-BE49-F238E27FC236}">
                <a16:creationId xmlns:a16="http://schemas.microsoft.com/office/drawing/2014/main" id="{81A8D519-5079-4F4F-B35A-809C3158DC7F}"/>
              </a:ext>
            </a:extLst>
          </p:cNvPr>
          <p:cNvPicPr>
            <a:picLocks noChangeAspect="1"/>
          </p:cNvPicPr>
          <p:nvPr/>
        </p:nvPicPr>
        <p:blipFill rotWithShape="1">
          <a:blip r:embed="rId3"/>
          <a:srcRect l="73897" r="12834"/>
          <a:stretch/>
        </p:blipFill>
        <p:spPr>
          <a:xfrm>
            <a:off x="5689339" y="4279381"/>
            <a:ext cx="793506" cy="744275"/>
          </a:xfrm>
          <a:prstGeom prst="rect">
            <a:avLst/>
          </a:prstGeom>
        </p:spPr>
      </p:pic>
      <p:sp>
        <p:nvSpPr>
          <p:cNvPr id="3" name="Rectangle 2">
            <a:extLst>
              <a:ext uri="{FF2B5EF4-FFF2-40B4-BE49-F238E27FC236}">
                <a16:creationId xmlns:a16="http://schemas.microsoft.com/office/drawing/2014/main" id="{1C479AD4-EB29-4454-8BD5-9D6C9BEC3898}"/>
              </a:ext>
            </a:extLst>
          </p:cNvPr>
          <p:cNvSpPr/>
          <p:nvPr/>
        </p:nvSpPr>
        <p:spPr>
          <a:xfrm>
            <a:off x="7093" y="4651518"/>
            <a:ext cx="2227224" cy="489479"/>
          </a:xfrm>
          <a:prstGeom prst="rect">
            <a:avLst/>
          </a:prstGeom>
          <a:solidFill>
            <a:schemeClr val="tx2"/>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28" name="Rectangle 27">
            <a:extLst>
              <a:ext uri="{FF2B5EF4-FFF2-40B4-BE49-F238E27FC236}">
                <a16:creationId xmlns:a16="http://schemas.microsoft.com/office/drawing/2014/main" id="{463A1C51-3A17-4192-80C8-400CEF4F4406}"/>
              </a:ext>
            </a:extLst>
          </p:cNvPr>
          <p:cNvSpPr/>
          <p:nvPr/>
        </p:nvSpPr>
        <p:spPr>
          <a:xfrm>
            <a:off x="7451697" y="4600090"/>
            <a:ext cx="1580985" cy="540907"/>
          </a:xfrm>
          <a:prstGeom prst="rect">
            <a:avLst/>
          </a:prstGeom>
          <a:solidFill>
            <a:schemeClr val="tx2"/>
          </a:solidFill>
        </p:spPr>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Arial"/>
              <a:ea typeface="+mn-ea"/>
              <a:cs typeface="Arial"/>
            </a:endParaRPr>
          </a:p>
        </p:txBody>
      </p:sp>
      <p:sp>
        <p:nvSpPr>
          <p:cNvPr id="29" name="Footer Placeholder 2">
            <a:extLst>
              <a:ext uri="{FF2B5EF4-FFF2-40B4-BE49-F238E27FC236}">
                <a16:creationId xmlns:a16="http://schemas.microsoft.com/office/drawing/2014/main" id="{58DB881E-6914-4B80-A235-94F6AADCFCD1}"/>
              </a:ext>
            </a:extLst>
          </p:cNvPr>
          <p:cNvSpPr txBox="1">
            <a:spLocks/>
          </p:cNvSpPr>
          <p:nvPr/>
        </p:nvSpPr>
        <p:spPr>
          <a:xfrm>
            <a:off x="228666" y="4787900"/>
            <a:ext cx="4114735" cy="166687"/>
          </a:xfrm>
          <a:prstGeom prst="rect">
            <a:avLst/>
          </a:prstGeom>
        </p:spPr>
        <p:txBody>
          <a:bodyPr vert="horz" lIns="0" tIns="0" rIns="0" bIns="0" rtlCol="0" anchor="ctr"/>
          <a:lstStyle>
            <a:defPPr>
              <a:defRPr lang="en-US"/>
            </a:defPPr>
            <a:lvl1pPr marL="0" algn="r" defTabSz="685800" rtl="0" eaLnBrk="1" latinLnBrk="0" hangingPunct="1">
              <a:defRPr sz="600" kern="1200" baseline="0">
                <a:solidFill>
                  <a:schemeClr val="bg2"/>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599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panose="020B0503050203000203" pitchFamily="34" charset="0"/>
                <a:ea typeface="+mn-ea"/>
                <a:cs typeface="Arial" charset="0"/>
              </a:rPr>
              <a:t>IBM Maximo / © 2020 IBM Corporation</a:t>
            </a:r>
            <a:endParaRPr kumimoji="0" lang="en-US" sz="6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Arial" charset="0"/>
            </a:endParaRPr>
          </a:p>
        </p:txBody>
      </p:sp>
      <p:sp>
        <p:nvSpPr>
          <p:cNvPr id="4" name="TextBox 3">
            <a:extLst>
              <a:ext uri="{FF2B5EF4-FFF2-40B4-BE49-F238E27FC236}">
                <a16:creationId xmlns:a16="http://schemas.microsoft.com/office/drawing/2014/main" id="{56C7C15C-45B7-4058-80FB-045BC1EE2849}"/>
              </a:ext>
            </a:extLst>
          </p:cNvPr>
          <p:cNvSpPr txBox="1"/>
          <p:nvPr/>
        </p:nvSpPr>
        <p:spPr>
          <a:xfrm>
            <a:off x="7267408" y="2907781"/>
            <a:ext cx="1580985" cy="307777"/>
          </a:xfrm>
          <a:prstGeom prst="rect">
            <a:avLst/>
          </a:prstGeom>
          <a:noFill/>
        </p:spPr>
        <p:txBody>
          <a:bodyPr wrap="square" rtlCol="0">
            <a:spAutoFit/>
          </a:bodyPr>
          <a:lstStyle/>
          <a:p>
            <a:r>
              <a:rPr lang="en-US" sz="1400" dirty="0">
                <a:hlinkClick r:id="rId4"/>
              </a:rPr>
              <a:t>Learn more here</a:t>
            </a:r>
            <a:endParaRPr lang="en-US" sz="1400" dirty="0"/>
          </a:p>
        </p:txBody>
      </p:sp>
    </p:spTree>
    <p:extLst>
      <p:ext uri="{BB962C8B-B14F-4D97-AF65-F5344CB8AC3E}">
        <p14:creationId xmlns:p14="http://schemas.microsoft.com/office/powerpoint/2010/main" val="33526358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6142A245-9D99-964B-83FA-A185207B9110}"/>
              </a:ext>
            </a:extLst>
          </p:cNvPr>
          <p:cNvSpPr>
            <a:spLocks noGrp="1"/>
          </p:cNvSpPr>
          <p:nvPr>
            <p:ph type="title"/>
          </p:nvPr>
        </p:nvSpPr>
        <p:spPr>
          <a:xfrm>
            <a:off x="-90711" y="-7059"/>
            <a:ext cx="9144000" cy="459444"/>
          </a:xfrm>
          <a:noFill/>
        </p:spPr>
        <p:txBody>
          <a:bodyPr/>
          <a:lstStyle/>
          <a:p>
            <a:pPr>
              <a:lnSpc>
                <a:spcPct val="100000"/>
              </a:lnSpc>
            </a:pPr>
            <a:r>
              <a:rPr lang="en-US" sz="2400" b="1" dirty="0">
                <a:solidFill>
                  <a:schemeClr val="tx1"/>
                </a:solidFill>
                <a:latin typeface="IBM Plex Sans" panose="020B0503050203000203" pitchFamily="34" charset="0"/>
              </a:rPr>
              <a:t>Maximo Application Suite Benefits</a:t>
            </a:r>
            <a:br>
              <a:rPr lang="en-US" sz="2400" dirty="0">
                <a:solidFill>
                  <a:schemeClr val="tx1"/>
                </a:solidFill>
              </a:rPr>
            </a:br>
            <a:endParaRPr lang="en-US" sz="2000" dirty="0">
              <a:solidFill>
                <a:schemeClr val="tx1"/>
              </a:solidFill>
            </a:endParaRPr>
          </a:p>
        </p:txBody>
      </p:sp>
      <p:sp>
        <p:nvSpPr>
          <p:cNvPr id="21" name="Footer Placeholder 1">
            <a:extLst>
              <a:ext uri="{FF2B5EF4-FFF2-40B4-BE49-F238E27FC236}">
                <a16:creationId xmlns:a16="http://schemas.microsoft.com/office/drawing/2014/main" id="{E06FC0BA-C6A7-DF46-9173-854254F9C92B}"/>
              </a:ext>
            </a:extLst>
          </p:cNvPr>
          <p:cNvSpPr>
            <a:spLocks noGrp="1"/>
          </p:cNvSpPr>
          <p:nvPr>
            <p:ph type="ftr" sz="quarter" idx="4294967295"/>
          </p:nvPr>
        </p:nvSpPr>
        <p:spPr>
          <a:xfrm>
            <a:off x="228599" y="4944408"/>
            <a:ext cx="6400800" cy="137160"/>
          </a:xfrm>
          <a:prstGeom prst="rect">
            <a:avLst/>
          </a:prstGeom>
        </p:spPr>
        <p:txBody>
          <a:bodyPr vert="horz" lIns="0" tIns="0" rIns="0" bIns="0" rtlCol="0" anchor="ctr"/>
          <a:lstStyle/>
          <a:p>
            <a:pPr defTabSz="685783">
              <a:defRPr/>
            </a:pPr>
            <a:r>
              <a:rPr lang="en-US" dirty="0">
                <a:solidFill>
                  <a:srgbClr val="000000"/>
                </a:solidFill>
                <a:latin typeface="IBM Plex Sans"/>
              </a:rPr>
              <a:t>IBM Maximo / © 2020 IBM Corporation</a:t>
            </a:r>
          </a:p>
        </p:txBody>
      </p:sp>
      <p:sp>
        <p:nvSpPr>
          <p:cNvPr id="19" name="Slide Number Placeholder 4">
            <a:extLst>
              <a:ext uri="{FF2B5EF4-FFF2-40B4-BE49-F238E27FC236}">
                <a16:creationId xmlns:a16="http://schemas.microsoft.com/office/drawing/2014/main" id="{D3CCE936-3ECB-DD49-AAE7-174337219181}"/>
              </a:ext>
            </a:extLst>
          </p:cNvPr>
          <p:cNvSpPr txBox="1">
            <a:spLocks/>
          </p:cNvSpPr>
          <p:nvPr/>
        </p:nvSpPr>
        <p:spPr>
          <a:xfrm>
            <a:off x="6973599" y="4759452"/>
            <a:ext cx="2057400" cy="137160"/>
          </a:xfrm>
          <a:prstGeom prst="rect">
            <a:avLst/>
          </a:prstGeom>
        </p:spPr>
        <p:txBody>
          <a:bodyPr vert="horz" lIns="0" tIns="0" rIns="0" bIns="0" rtlCol="0" anchor="ctr"/>
          <a:lstStyle>
            <a:defPPr>
              <a:defRPr lang="en-US"/>
            </a:defPPr>
            <a:lvl1pPr marL="0" algn="r" defTabSz="685800" rtl="0" eaLnBrk="1" latinLnBrk="0" hangingPunct="1">
              <a:defRPr sz="600" kern="1200" baseline="0">
                <a:solidFill>
                  <a:schemeClr val="bg2"/>
                </a:solidFill>
                <a:latin typeface="+mn-lt"/>
                <a:ea typeface="Arial" charset="0"/>
                <a:cs typeface="Arial"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685783">
              <a:defRPr/>
            </a:pPr>
            <a:fld id="{D0BE6F14-FF48-0F4F-A8AA-2E3F25371E4A}" type="slidenum">
              <a:rPr lang="en-US">
                <a:solidFill>
                  <a:srgbClr val="000000"/>
                </a:solidFill>
                <a:latin typeface="IBM Plex Sans"/>
              </a:rPr>
              <a:pPr defTabSz="685783">
                <a:defRPr/>
              </a:pPr>
              <a:t>5</a:t>
            </a:fld>
            <a:endParaRPr lang="en-US" dirty="0">
              <a:solidFill>
                <a:srgbClr val="000000"/>
              </a:solidFill>
              <a:latin typeface="IBM Plex Sans"/>
            </a:endParaRPr>
          </a:p>
        </p:txBody>
      </p:sp>
      <p:grpSp>
        <p:nvGrpSpPr>
          <p:cNvPr id="2" name="Group 1">
            <a:extLst>
              <a:ext uri="{FF2B5EF4-FFF2-40B4-BE49-F238E27FC236}">
                <a16:creationId xmlns:a16="http://schemas.microsoft.com/office/drawing/2014/main" id="{EB0BF399-6F68-41AD-A9DF-BBA892EA29B8}"/>
              </a:ext>
            </a:extLst>
          </p:cNvPr>
          <p:cNvGrpSpPr/>
          <p:nvPr/>
        </p:nvGrpSpPr>
        <p:grpSpPr>
          <a:xfrm>
            <a:off x="4253043" y="645139"/>
            <a:ext cx="4738657" cy="4354365"/>
            <a:chOff x="3712516" y="592985"/>
            <a:chExt cx="4738657" cy="4354365"/>
          </a:xfrm>
        </p:grpSpPr>
        <p:grpSp>
          <p:nvGrpSpPr>
            <p:cNvPr id="58" name="Group 57">
              <a:extLst>
                <a:ext uri="{FF2B5EF4-FFF2-40B4-BE49-F238E27FC236}">
                  <a16:creationId xmlns:a16="http://schemas.microsoft.com/office/drawing/2014/main" id="{A023F2FB-69FD-1C4B-ADFE-A1A84261BC22}"/>
                </a:ext>
              </a:extLst>
            </p:cNvPr>
            <p:cNvGrpSpPr/>
            <p:nvPr/>
          </p:nvGrpSpPr>
          <p:grpSpPr>
            <a:xfrm>
              <a:off x="3712516" y="592985"/>
              <a:ext cx="4738657" cy="4354365"/>
              <a:chOff x="5008081" y="590043"/>
              <a:chExt cx="3685850" cy="4354365"/>
            </a:xfrm>
          </p:grpSpPr>
          <p:grpSp>
            <p:nvGrpSpPr>
              <p:cNvPr id="59" name="Group 58">
                <a:extLst>
                  <a:ext uri="{FF2B5EF4-FFF2-40B4-BE49-F238E27FC236}">
                    <a16:creationId xmlns:a16="http://schemas.microsoft.com/office/drawing/2014/main" id="{CFE113CB-A85C-AC4D-BF0B-2A751005BD46}"/>
                  </a:ext>
                </a:extLst>
              </p:cNvPr>
              <p:cNvGrpSpPr/>
              <p:nvPr/>
            </p:nvGrpSpPr>
            <p:grpSpPr>
              <a:xfrm>
                <a:off x="5008081" y="590043"/>
                <a:ext cx="3685850" cy="4354365"/>
                <a:chOff x="4671809" y="575733"/>
                <a:chExt cx="3685850" cy="4354365"/>
              </a:xfrm>
            </p:grpSpPr>
            <p:sp>
              <p:nvSpPr>
                <p:cNvPr id="62" name="Rectangle 61">
                  <a:extLst>
                    <a:ext uri="{FF2B5EF4-FFF2-40B4-BE49-F238E27FC236}">
                      <a16:creationId xmlns:a16="http://schemas.microsoft.com/office/drawing/2014/main" id="{B918C176-B140-8547-95E4-96C7D2A35E82}"/>
                    </a:ext>
                  </a:extLst>
                </p:cNvPr>
                <p:cNvSpPr/>
                <p:nvPr/>
              </p:nvSpPr>
              <p:spPr>
                <a:xfrm>
                  <a:off x="4671809" y="575733"/>
                  <a:ext cx="3666744" cy="4354365"/>
                </a:xfrm>
                <a:prstGeom prst="rect">
                  <a:avLst/>
                </a:prstGeom>
                <a:solidFill>
                  <a:schemeClr val="tx1"/>
                </a:solidFill>
                <a:ln w="28575">
                  <a:solidFill>
                    <a:srgbClr val="0064FF"/>
                  </a:solidFill>
                </a:ln>
              </p:spPr>
              <p:txBody>
                <a:bodyPr wrap="square" lIns="0" tIns="0" rIns="0" bIns="0" rtlCol="0" anchor="ctr">
                  <a:noAutofit/>
                </a:bodyPr>
                <a:lstStyle/>
                <a:p>
                  <a:pPr algn="ctr" defTabSz="685783"/>
                  <a:endParaRPr lang="en-US" sz="1200" dirty="0" err="1">
                    <a:solidFill>
                      <a:srgbClr val="FFFFFF"/>
                    </a:solidFill>
                    <a:latin typeface="Arial"/>
                    <a:cs typeface="Arial"/>
                  </a:endParaRPr>
                </a:p>
              </p:txBody>
            </p:sp>
            <p:sp>
              <p:nvSpPr>
                <p:cNvPr id="63" name="Rectangle 62">
                  <a:extLst>
                    <a:ext uri="{FF2B5EF4-FFF2-40B4-BE49-F238E27FC236}">
                      <a16:creationId xmlns:a16="http://schemas.microsoft.com/office/drawing/2014/main" id="{D688A4AB-4B46-C24D-9FC8-93539AF32C2B}"/>
                    </a:ext>
                  </a:extLst>
                </p:cNvPr>
                <p:cNvSpPr/>
                <p:nvPr/>
              </p:nvSpPr>
              <p:spPr>
                <a:xfrm>
                  <a:off x="4681817" y="3489011"/>
                  <a:ext cx="3666744" cy="230832"/>
                </a:xfrm>
                <a:prstGeom prst="rect">
                  <a:avLst/>
                </a:prstGeom>
                <a:solidFill>
                  <a:srgbClr val="3D3D3C"/>
                </a:solidFill>
              </p:spPr>
              <p:txBody>
                <a:bodyPr wrap="square" anchor="ctr">
                  <a:spAutoFit/>
                </a:bodyPr>
                <a:lstStyle/>
                <a:p>
                  <a:pPr algn="ctr" defTabSz="685783">
                    <a:spcBef>
                      <a:spcPts val="3000"/>
                    </a:spcBef>
                    <a:spcAft>
                      <a:spcPts val="3000"/>
                    </a:spcAft>
                  </a:pPr>
                  <a:r>
                    <a:rPr lang="en-US" sz="900" dirty="0">
                      <a:solidFill>
                        <a:srgbClr val="FFFFFF"/>
                      </a:solidFill>
                      <a:latin typeface="IBM Plex Sans"/>
                    </a:rPr>
                    <a:t>IBM Cloud Pak for Data | IBM Watson Studio | IBM Watson ML | DB2</a:t>
                  </a:r>
                </a:p>
              </p:txBody>
            </p:sp>
            <p:sp>
              <p:nvSpPr>
                <p:cNvPr id="64" name="Rectangle 63">
                  <a:extLst>
                    <a:ext uri="{FF2B5EF4-FFF2-40B4-BE49-F238E27FC236}">
                      <a16:creationId xmlns:a16="http://schemas.microsoft.com/office/drawing/2014/main" id="{614EFB5F-C862-3A4C-90A5-7826CFE10300}"/>
                    </a:ext>
                  </a:extLst>
                </p:cNvPr>
                <p:cNvSpPr/>
                <p:nvPr/>
              </p:nvSpPr>
              <p:spPr>
                <a:xfrm>
                  <a:off x="5142869" y="3824587"/>
                  <a:ext cx="3214790" cy="400110"/>
                </a:xfrm>
                <a:prstGeom prst="rect">
                  <a:avLst/>
                </a:prstGeom>
                <a:solidFill>
                  <a:srgbClr val="FF0000"/>
                </a:solidFill>
              </p:spPr>
              <p:txBody>
                <a:bodyPr wrap="square">
                  <a:spAutoFit/>
                </a:bodyPr>
                <a:lstStyle/>
                <a:p>
                  <a:pPr algn="ctr" defTabSz="685783"/>
                  <a:r>
                    <a:rPr lang="en-US" sz="1000" dirty="0">
                      <a:solidFill>
                        <a:srgbClr val="FFFFFF"/>
                      </a:solidFill>
                      <a:latin typeface="IBM Plex Sans"/>
                    </a:rPr>
                    <a:t>Infrastructure Independent</a:t>
                  </a:r>
                </a:p>
                <a:p>
                  <a:pPr algn="ctr" defTabSz="685783"/>
                  <a:r>
                    <a:rPr lang="en-US" sz="1000" dirty="0">
                      <a:solidFill>
                        <a:srgbClr val="FFFFFF"/>
                      </a:solidFill>
                      <a:latin typeface="IBM Plex Sans"/>
                    </a:rPr>
                    <a:t>Common Operating Environment</a:t>
                  </a:r>
                </a:p>
              </p:txBody>
            </p:sp>
            <p:pic>
              <p:nvPicPr>
                <p:cNvPr id="71" name="Picture 70">
                  <a:extLst>
                    <a:ext uri="{FF2B5EF4-FFF2-40B4-BE49-F238E27FC236}">
                      <a16:creationId xmlns:a16="http://schemas.microsoft.com/office/drawing/2014/main" id="{C78C9408-8FE3-4143-81CE-49E001D6B3B1}"/>
                    </a:ext>
                  </a:extLst>
                </p:cNvPr>
                <p:cNvPicPr>
                  <a:picLocks noChangeAspect="1"/>
                </p:cNvPicPr>
                <p:nvPr/>
              </p:nvPicPr>
              <p:blipFill>
                <a:blip r:embed="rId3"/>
                <a:stretch>
                  <a:fillRect/>
                </a:stretch>
              </p:blipFill>
              <p:spPr>
                <a:xfrm>
                  <a:off x="4779406" y="4398337"/>
                  <a:ext cx="3497973" cy="385239"/>
                </a:xfrm>
                <a:prstGeom prst="rect">
                  <a:avLst/>
                </a:prstGeom>
              </p:spPr>
            </p:pic>
            <p:sp>
              <p:nvSpPr>
                <p:cNvPr id="72" name="Rectangle 71">
                  <a:extLst>
                    <a:ext uri="{FF2B5EF4-FFF2-40B4-BE49-F238E27FC236}">
                      <a16:creationId xmlns:a16="http://schemas.microsoft.com/office/drawing/2014/main" id="{30390748-0B00-074B-B6E6-BBFE61E67292}"/>
                    </a:ext>
                  </a:extLst>
                </p:cNvPr>
                <p:cNvSpPr/>
                <p:nvPr/>
              </p:nvSpPr>
              <p:spPr>
                <a:xfrm>
                  <a:off x="4974141" y="790222"/>
                  <a:ext cx="3131281" cy="2503603"/>
                </a:xfrm>
                <a:prstGeom prst="rect">
                  <a:avLst/>
                </a:prstGeom>
                <a:solidFill>
                  <a:schemeClr val="tx1"/>
                </a:solidFill>
              </p:spPr>
              <p:txBody>
                <a:bodyPr wrap="square" lIns="0" tIns="0" rIns="0" bIns="0" rtlCol="0" anchor="ctr">
                  <a:noAutofit/>
                </a:bodyPr>
                <a:lstStyle/>
                <a:p>
                  <a:pPr algn="ctr" defTabSz="685783"/>
                  <a:endParaRPr lang="en-US" sz="1200" dirty="0" err="1">
                    <a:solidFill>
                      <a:srgbClr val="FFFFFF"/>
                    </a:solidFill>
                    <a:latin typeface="Arial"/>
                    <a:cs typeface="Arial"/>
                  </a:endParaRPr>
                </a:p>
              </p:txBody>
            </p:sp>
            <p:pic>
              <p:nvPicPr>
                <p:cNvPr id="73" name="Picture 72" descr="A close up of a sign&#10;&#10;Description automatically generated">
                  <a:extLst>
                    <a:ext uri="{FF2B5EF4-FFF2-40B4-BE49-F238E27FC236}">
                      <a16:creationId xmlns:a16="http://schemas.microsoft.com/office/drawing/2014/main" id="{EC39EB3C-CD07-ED4D-8389-BF5CFC305C3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05466" y="3824731"/>
                  <a:ext cx="987552" cy="401258"/>
                </a:xfrm>
                <a:prstGeom prst="rect">
                  <a:avLst/>
                </a:prstGeom>
              </p:spPr>
            </p:pic>
          </p:grpSp>
          <p:sp>
            <p:nvSpPr>
              <p:cNvPr id="60" name="TextBox 59">
                <a:extLst>
                  <a:ext uri="{FF2B5EF4-FFF2-40B4-BE49-F238E27FC236}">
                    <a16:creationId xmlns:a16="http://schemas.microsoft.com/office/drawing/2014/main" id="{B10FAC92-4426-B148-8645-C6985F066B8C}"/>
                  </a:ext>
                </a:extLst>
              </p:cNvPr>
              <p:cNvSpPr txBox="1"/>
              <p:nvPr/>
            </p:nvSpPr>
            <p:spPr>
              <a:xfrm>
                <a:off x="5050293" y="615486"/>
                <a:ext cx="3190623" cy="307777"/>
              </a:xfrm>
              <a:prstGeom prst="rect">
                <a:avLst/>
              </a:prstGeom>
              <a:noFill/>
            </p:spPr>
            <p:txBody>
              <a:bodyPr wrap="square" rtlCol="0">
                <a:spAutoFit/>
              </a:bodyPr>
              <a:lstStyle/>
              <a:p>
                <a:pPr defTabSz="685783"/>
                <a:r>
                  <a:rPr lang="en-US" sz="1400" dirty="0">
                    <a:solidFill>
                      <a:srgbClr val="FFFFFF"/>
                    </a:solidFill>
                    <a:latin typeface="IBM Plex Sans"/>
                  </a:rPr>
                  <a:t>Suite Applications</a:t>
                </a:r>
              </a:p>
            </p:txBody>
          </p:sp>
          <p:pic>
            <p:nvPicPr>
              <p:cNvPr id="61" name="Picture 60">
                <a:extLst>
                  <a:ext uri="{FF2B5EF4-FFF2-40B4-BE49-F238E27FC236}">
                    <a16:creationId xmlns:a16="http://schemas.microsoft.com/office/drawing/2014/main" id="{21FC4DDC-0DDC-5246-BC46-F9B0C1571F2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5109524" y="3846749"/>
                <a:ext cx="739233" cy="392258"/>
              </a:xfrm>
              <a:prstGeom prst="rect">
                <a:avLst/>
              </a:prstGeom>
            </p:spPr>
          </p:pic>
        </p:grpSp>
        <p:grpSp>
          <p:nvGrpSpPr>
            <p:cNvPr id="89" name="Group 88">
              <a:extLst>
                <a:ext uri="{FF2B5EF4-FFF2-40B4-BE49-F238E27FC236}">
                  <a16:creationId xmlns:a16="http://schemas.microsoft.com/office/drawing/2014/main" id="{675D1774-3F3A-674B-BC74-0BA8FFC7C83B}"/>
                </a:ext>
              </a:extLst>
            </p:cNvPr>
            <p:cNvGrpSpPr/>
            <p:nvPr/>
          </p:nvGrpSpPr>
          <p:grpSpPr>
            <a:xfrm>
              <a:off x="3985151" y="1145639"/>
              <a:ext cx="4034177" cy="2189170"/>
              <a:chOff x="1037374" y="1122961"/>
              <a:chExt cx="6675429" cy="3613427"/>
            </a:xfrm>
          </p:grpSpPr>
          <p:sp>
            <p:nvSpPr>
              <p:cNvPr id="90" name="TextBox 89">
                <a:extLst>
                  <a:ext uri="{FF2B5EF4-FFF2-40B4-BE49-F238E27FC236}">
                    <a16:creationId xmlns:a16="http://schemas.microsoft.com/office/drawing/2014/main" id="{F9C86D6D-CDE2-8044-B561-B244CFBFD27C}"/>
                  </a:ext>
                </a:extLst>
              </p:cNvPr>
              <p:cNvSpPr txBox="1"/>
              <p:nvPr/>
            </p:nvSpPr>
            <p:spPr>
              <a:xfrm>
                <a:off x="6573067" y="1855822"/>
                <a:ext cx="1139736" cy="965225"/>
              </a:xfrm>
              <a:prstGeom prst="rect">
                <a:avLst/>
              </a:prstGeom>
              <a:noFill/>
            </p:spPr>
            <p:txBody>
              <a:bodyPr wrap="square" rtlCol="0">
                <a:spAutoFit/>
              </a:bodyPr>
              <a:lstStyle/>
              <a:p>
                <a:pPr defTabSz="685966">
                  <a:defRPr/>
                </a:pPr>
                <a:r>
                  <a:rPr lang="en-US" sz="800" b="1" kern="0" dirty="0">
                    <a:solidFill>
                      <a:srgbClr val="408BFC"/>
                    </a:solidFill>
                    <a:latin typeface="IBM Plex Sans"/>
                    <a:ea typeface="IBM Plex Sans" charset="0"/>
                    <a:cs typeface="IBM Plex Sans" charset="0"/>
                  </a:rPr>
                  <a:t>Predict</a:t>
                </a:r>
                <a:endParaRPr lang="en-US" sz="800" b="1" kern="0" dirty="0">
                  <a:solidFill>
                    <a:srgbClr val="FFFFFF"/>
                  </a:solidFill>
                  <a:latin typeface="IBM Plex Sans"/>
                  <a:ea typeface="IBM Plex Sans" charset="0"/>
                  <a:cs typeface="IBM Plex Sans" charset="0"/>
                </a:endParaRPr>
              </a:p>
              <a:p>
                <a:pPr defTabSz="309540" hangingPunct="0">
                  <a:defRPr/>
                </a:pPr>
                <a:r>
                  <a:rPr lang="en-US" sz="800" kern="0" dirty="0">
                    <a:solidFill>
                      <a:srgbClr val="FFFFFF"/>
                    </a:solidFill>
                    <a:latin typeface="IBM Plex Sans"/>
                  </a:rPr>
                  <a:t>Predict failures earlier</a:t>
                </a:r>
              </a:p>
            </p:txBody>
          </p:sp>
          <p:grpSp>
            <p:nvGrpSpPr>
              <p:cNvPr id="91" name="Group 90">
                <a:extLst>
                  <a:ext uri="{FF2B5EF4-FFF2-40B4-BE49-F238E27FC236}">
                    <a16:creationId xmlns:a16="http://schemas.microsoft.com/office/drawing/2014/main" id="{AB400B65-CB21-E042-AC78-7DA50B7BBB49}"/>
                  </a:ext>
                </a:extLst>
              </p:cNvPr>
              <p:cNvGrpSpPr/>
              <p:nvPr/>
            </p:nvGrpSpPr>
            <p:grpSpPr>
              <a:xfrm>
                <a:off x="1037374" y="1122961"/>
                <a:ext cx="6487396" cy="3613427"/>
                <a:chOff x="1037374" y="1122961"/>
                <a:chExt cx="6487396" cy="3613427"/>
              </a:xfrm>
            </p:grpSpPr>
            <p:pic>
              <p:nvPicPr>
                <p:cNvPr id="92" name="Graphic 91">
                  <a:extLst>
                    <a:ext uri="{FF2B5EF4-FFF2-40B4-BE49-F238E27FC236}">
                      <a16:creationId xmlns:a16="http://schemas.microsoft.com/office/drawing/2014/main" id="{5498CAE8-F99F-D448-8999-F4A5AD4697E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37374" y="1122961"/>
                  <a:ext cx="1651001" cy="825501"/>
                </a:xfrm>
                <a:prstGeom prst="rect">
                  <a:avLst/>
                </a:prstGeom>
              </p:spPr>
            </p:pic>
            <p:pic>
              <p:nvPicPr>
                <p:cNvPr id="93" name="Graphic 92">
                  <a:extLst>
                    <a:ext uri="{FF2B5EF4-FFF2-40B4-BE49-F238E27FC236}">
                      <a16:creationId xmlns:a16="http://schemas.microsoft.com/office/drawing/2014/main" id="{50AE3D65-61CB-4B42-940D-5804EEEC8BDA}"/>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68359" y="1122961"/>
                  <a:ext cx="1651001" cy="825501"/>
                </a:xfrm>
                <a:prstGeom prst="rect">
                  <a:avLst/>
                </a:prstGeom>
              </p:spPr>
            </p:pic>
            <p:pic>
              <p:nvPicPr>
                <p:cNvPr id="94" name="Graphic 93">
                  <a:extLst>
                    <a:ext uri="{FF2B5EF4-FFF2-40B4-BE49-F238E27FC236}">
                      <a16:creationId xmlns:a16="http://schemas.microsoft.com/office/drawing/2014/main" id="{E1EDAB2A-CBA6-1749-8B9C-DA692A18721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82032" y="3108193"/>
                  <a:ext cx="668545" cy="668546"/>
                </a:xfrm>
                <a:prstGeom prst="rect">
                  <a:avLst/>
                </a:prstGeom>
              </p:spPr>
            </p:pic>
            <p:pic>
              <p:nvPicPr>
                <p:cNvPr id="95" name="Graphic 94">
                  <a:extLst>
                    <a:ext uri="{FF2B5EF4-FFF2-40B4-BE49-F238E27FC236}">
                      <a16:creationId xmlns:a16="http://schemas.microsoft.com/office/drawing/2014/main" id="{221FDC37-5577-AF4B-90FE-2C95A929D16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825125" y="1192812"/>
                  <a:ext cx="685799" cy="685800"/>
                </a:xfrm>
                <a:prstGeom prst="rect">
                  <a:avLst/>
                </a:prstGeom>
              </p:spPr>
            </p:pic>
            <p:sp>
              <p:nvSpPr>
                <p:cNvPr id="96" name="TextBox 95">
                  <a:extLst>
                    <a:ext uri="{FF2B5EF4-FFF2-40B4-BE49-F238E27FC236}">
                      <a16:creationId xmlns:a16="http://schemas.microsoft.com/office/drawing/2014/main" id="{0ED0A77F-ABEA-9744-8FCA-3A65B3F58BDA}"/>
                    </a:ext>
                  </a:extLst>
                </p:cNvPr>
                <p:cNvSpPr txBox="1"/>
                <p:nvPr/>
              </p:nvSpPr>
              <p:spPr>
                <a:xfrm>
                  <a:off x="1258558" y="1855822"/>
                  <a:ext cx="1395165" cy="965225"/>
                </a:xfrm>
                <a:prstGeom prst="rect">
                  <a:avLst/>
                </a:prstGeom>
                <a:noFill/>
              </p:spPr>
              <p:txBody>
                <a:bodyPr wrap="square" rtlCol="0">
                  <a:spAutoFit/>
                </a:bodyPr>
                <a:lstStyle/>
                <a:p>
                  <a:pPr defTabSz="685966">
                    <a:defRPr/>
                  </a:pPr>
                  <a:r>
                    <a:rPr lang="en-US" sz="800" b="1" kern="0" dirty="0">
                      <a:solidFill>
                        <a:srgbClr val="408BFC"/>
                      </a:solidFill>
                      <a:latin typeface="IBM Plex Sans"/>
                      <a:ea typeface="IBM Plex Sans" charset="0"/>
                      <a:cs typeface="IBM Plex Sans" charset="0"/>
                    </a:rPr>
                    <a:t>Manage</a:t>
                  </a:r>
                </a:p>
                <a:p>
                  <a:pPr defTabSz="309540" hangingPunct="0">
                    <a:defRPr/>
                  </a:pPr>
                  <a:r>
                    <a:rPr lang="en-US" sz="800" kern="0" dirty="0">
                      <a:solidFill>
                        <a:srgbClr val="FFFFFF"/>
                      </a:solidFill>
                      <a:latin typeface="IBM Plex Sans"/>
                    </a:rPr>
                    <a:t>Intelligent asset management</a:t>
                  </a:r>
                </a:p>
              </p:txBody>
            </p:sp>
            <p:sp>
              <p:nvSpPr>
                <p:cNvPr id="97" name="TextBox 96">
                  <a:extLst>
                    <a:ext uri="{FF2B5EF4-FFF2-40B4-BE49-F238E27FC236}">
                      <a16:creationId xmlns:a16="http://schemas.microsoft.com/office/drawing/2014/main" id="{9E00A25B-AEBA-8D46-ABB3-08B2F4156176}"/>
                    </a:ext>
                  </a:extLst>
                </p:cNvPr>
                <p:cNvSpPr txBox="1"/>
                <p:nvPr/>
              </p:nvSpPr>
              <p:spPr>
                <a:xfrm>
                  <a:off x="4008880" y="1855822"/>
                  <a:ext cx="1503916" cy="965225"/>
                </a:xfrm>
                <a:prstGeom prst="rect">
                  <a:avLst/>
                </a:prstGeom>
                <a:noFill/>
              </p:spPr>
              <p:txBody>
                <a:bodyPr wrap="square" rtlCol="0">
                  <a:spAutoFit/>
                </a:bodyPr>
                <a:lstStyle/>
                <a:p>
                  <a:pPr defTabSz="685966">
                    <a:defRPr/>
                  </a:pPr>
                  <a:r>
                    <a:rPr lang="en-US" sz="800" b="1" kern="0" dirty="0">
                      <a:solidFill>
                        <a:srgbClr val="408BFC"/>
                      </a:solidFill>
                      <a:latin typeface="IBM Plex Sans"/>
                      <a:ea typeface="IBM Plex Sans" charset="0"/>
                      <a:cs typeface="IBM Plex Sans" charset="0"/>
                    </a:rPr>
                    <a:t>Monitor</a:t>
                  </a:r>
                </a:p>
                <a:p>
                  <a:pPr defTabSz="309540" hangingPunct="0">
                    <a:defRPr/>
                  </a:pPr>
                  <a:r>
                    <a:rPr lang="en-US" sz="800" kern="0" dirty="0">
                      <a:solidFill>
                        <a:srgbClr val="FFFFFF"/>
                      </a:solidFill>
                      <a:latin typeface="IBM Plex Sans"/>
                    </a:rPr>
                    <a:t>Monitor and </a:t>
                  </a:r>
                  <a:br>
                    <a:rPr lang="en-US" sz="800" kern="0" dirty="0">
                      <a:solidFill>
                        <a:srgbClr val="FFFFFF"/>
                      </a:solidFill>
                      <a:latin typeface="IBM Plex Sans"/>
                    </a:rPr>
                  </a:br>
                  <a:r>
                    <a:rPr lang="en-US" sz="800" kern="0" dirty="0">
                      <a:solidFill>
                        <a:srgbClr val="FFFFFF"/>
                      </a:solidFill>
                      <a:latin typeface="IBM Plex Sans"/>
                    </a:rPr>
                    <a:t>detect anomalies</a:t>
                  </a:r>
                </a:p>
              </p:txBody>
            </p:sp>
            <p:pic>
              <p:nvPicPr>
                <p:cNvPr id="98" name="Graphic 97">
                  <a:extLst>
                    <a:ext uri="{FF2B5EF4-FFF2-40B4-BE49-F238E27FC236}">
                      <a16:creationId xmlns:a16="http://schemas.microsoft.com/office/drawing/2014/main" id="{AD16BBA6-CDAC-6C4E-8BBF-8FF454F98E5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490763" y="1192812"/>
                  <a:ext cx="685799" cy="685800"/>
                </a:xfrm>
                <a:prstGeom prst="rect">
                  <a:avLst/>
                </a:prstGeom>
              </p:spPr>
            </p:pic>
            <p:pic>
              <p:nvPicPr>
                <p:cNvPr id="99" name="Graphic 98">
                  <a:extLst>
                    <a:ext uri="{FF2B5EF4-FFF2-40B4-BE49-F238E27FC236}">
                      <a16:creationId xmlns:a16="http://schemas.microsoft.com/office/drawing/2014/main" id="{79EA5889-15BF-CF4A-BA41-48185EAE4B4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674378" y="1223985"/>
                  <a:ext cx="623455" cy="623453"/>
                </a:xfrm>
                <a:prstGeom prst="rect">
                  <a:avLst/>
                </a:prstGeom>
              </p:spPr>
            </p:pic>
            <p:sp>
              <p:nvSpPr>
                <p:cNvPr id="100" name="TextBox 99">
                  <a:extLst>
                    <a:ext uri="{FF2B5EF4-FFF2-40B4-BE49-F238E27FC236}">
                      <a16:creationId xmlns:a16="http://schemas.microsoft.com/office/drawing/2014/main" id="{2B272681-870A-E745-AD3A-D6386225C45B}"/>
                    </a:ext>
                  </a:extLst>
                </p:cNvPr>
                <p:cNvSpPr txBox="1"/>
                <p:nvPr/>
              </p:nvSpPr>
              <p:spPr>
                <a:xfrm>
                  <a:off x="5370082" y="1855822"/>
                  <a:ext cx="1202982" cy="965225"/>
                </a:xfrm>
                <a:prstGeom prst="rect">
                  <a:avLst/>
                </a:prstGeom>
                <a:noFill/>
              </p:spPr>
              <p:txBody>
                <a:bodyPr wrap="square" rtlCol="0">
                  <a:spAutoFit/>
                </a:bodyPr>
                <a:lstStyle/>
                <a:p>
                  <a:pPr defTabSz="685966">
                    <a:defRPr/>
                  </a:pPr>
                  <a:r>
                    <a:rPr lang="en-US" sz="800" b="1" kern="0" dirty="0">
                      <a:solidFill>
                        <a:srgbClr val="408BFC"/>
                      </a:solidFill>
                      <a:latin typeface="IBM Plex Sans"/>
                      <a:ea typeface="IBM Plex Sans" charset="0"/>
                      <a:cs typeface="IBM Plex Sans" charset="0"/>
                    </a:rPr>
                    <a:t>Health</a:t>
                  </a:r>
                </a:p>
                <a:p>
                  <a:pPr defTabSz="685766">
                    <a:defRPr/>
                  </a:pPr>
                  <a:r>
                    <a:rPr lang="en-US" sz="800" kern="0" dirty="0">
                      <a:solidFill>
                        <a:srgbClr val="FFFFFF"/>
                      </a:solidFill>
                      <a:latin typeface="IBM Plex Sans"/>
                    </a:rPr>
                    <a:t>360-degree view of assets</a:t>
                  </a:r>
                  <a:endParaRPr lang="en-US" sz="800" b="1" kern="0" dirty="0">
                    <a:solidFill>
                      <a:srgbClr val="FFFFFF"/>
                    </a:solidFill>
                    <a:latin typeface="IBM Plex Sans"/>
                    <a:sym typeface="Helvetica"/>
                  </a:endParaRPr>
                </a:p>
              </p:txBody>
            </p:sp>
            <p:sp>
              <p:nvSpPr>
                <p:cNvPr id="101" name="TextBox 100">
                  <a:extLst>
                    <a:ext uri="{FF2B5EF4-FFF2-40B4-BE49-F238E27FC236}">
                      <a16:creationId xmlns:a16="http://schemas.microsoft.com/office/drawing/2014/main" id="{596B34C4-0E02-8141-97F4-736E70E4EA60}"/>
                    </a:ext>
                  </a:extLst>
                </p:cNvPr>
                <p:cNvSpPr txBox="1"/>
                <p:nvPr/>
              </p:nvSpPr>
              <p:spPr>
                <a:xfrm>
                  <a:off x="5993409" y="3771163"/>
                  <a:ext cx="1531361" cy="965225"/>
                </a:xfrm>
                <a:prstGeom prst="rect">
                  <a:avLst/>
                </a:prstGeom>
                <a:noFill/>
              </p:spPr>
              <p:txBody>
                <a:bodyPr wrap="square" rtlCol="0">
                  <a:spAutoFit/>
                </a:bodyPr>
                <a:lstStyle/>
                <a:p>
                  <a:pPr defTabSz="685966">
                    <a:defRPr/>
                  </a:pPr>
                  <a:r>
                    <a:rPr lang="en-US" sz="800" b="1" kern="0" dirty="0">
                      <a:solidFill>
                        <a:srgbClr val="408BFC"/>
                      </a:solidFill>
                      <a:latin typeface="IBM Plex Sans"/>
                      <a:ea typeface="IBM Plex Sans" charset="0"/>
                      <a:cs typeface="IBM Plex Sans" charset="0"/>
                    </a:rPr>
                    <a:t>Visual Inspection</a:t>
                  </a:r>
                </a:p>
                <a:p>
                  <a:pPr defTabSz="309540" hangingPunct="0">
                    <a:defRPr/>
                  </a:pPr>
                  <a:r>
                    <a:rPr lang="en-US" sz="800" kern="0" dirty="0">
                      <a:solidFill>
                        <a:srgbClr val="FFFFFF"/>
                      </a:solidFill>
                      <a:latin typeface="IBM Plex Sans"/>
                    </a:rPr>
                    <a:t>Visual anomaly detection</a:t>
                  </a:r>
                  <a:endParaRPr lang="en-US" sz="800" b="1" kern="0" dirty="0">
                    <a:solidFill>
                      <a:srgbClr val="FFFFFF"/>
                    </a:solidFill>
                    <a:latin typeface="IBM Plex Sans"/>
                    <a:sym typeface="Helvetica"/>
                  </a:endParaRPr>
                </a:p>
              </p:txBody>
            </p:sp>
            <p:sp>
              <p:nvSpPr>
                <p:cNvPr id="102" name="TextBox 101">
                  <a:extLst>
                    <a:ext uri="{FF2B5EF4-FFF2-40B4-BE49-F238E27FC236}">
                      <a16:creationId xmlns:a16="http://schemas.microsoft.com/office/drawing/2014/main" id="{ABF39CA7-04BD-264A-8CD4-2BCBF9DF3897}"/>
                    </a:ext>
                  </a:extLst>
                </p:cNvPr>
                <p:cNvSpPr txBox="1"/>
                <p:nvPr/>
              </p:nvSpPr>
              <p:spPr>
                <a:xfrm>
                  <a:off x="2683801" y="1855822"/>
                  <a:ext cx="1269002" cy="965225"/>
                </a:xfrm>
                <a:prstGeom prst="rect">
                  <a:avLst/>
                </a:prstGeom>
                <a:noFill/>
              </p:spPr>
              <p:txBody>
                <a:bodyPr wrap="square" rtlCol="0">
                  <a:spAutoFit/>
                </a:bodyPr>
                <a:lstStyle/>
                <a:p>
                  <a:pPr defTabSz="685966">
                    <a:defRPr/>
                  </a:pPr>
                  <a:r>
                    <a:rPr lang="en-US" sz="800" b="1" kern="0" dirty="0">
                      <a:solidFill>
                        <a:srgbClr val="408BFC"/>
                      </a:solidFill>
                      <a:latin typeface="IBM Plex Sans"/>
                      <a:ea typeface="IBM Plex Sans" charset="0"/>
                      <a:cs typeface="IBM Plex Sans" charset="0"/>
                    </a:rPr>
                    <a:t>Scheduler</a:t>
                  </a:r>
                </a:p>
                <a:p>
                  <a:pPr defTabSz="309540" hangingPunct="0">
                    <a:defRPr/>
                  </a:pPr>
                  <a:r>
                    <a:rPr lang="en-US" sz="800" kern="0" dirty="0">
                      <a:solidFill>
                        <a:srgbClr val="FFFFFF"/>
                      </a:solidFill>
                      <a:latin typeface="IBM Plex Sans"/>
                      <a:sym typeface="Helvetica"/>
                    </a:rPr>
                    <a:t>Schedule work and resources</a:t>
                  </a:r>
                </a:p>
              </p:txBody>
            </p:sp>
            <p:pic>
              <p:nvPicPr>
                <p:cNvPr id="103" name="Graphic 102">
                  <a:extLst>
                    <a:ext uri="{FF2B5EF4-FFF2-40B4-BE49-F238E27FC236}">
                      <a16:creationId xmlns:a16="http://schemas.microsoft.com/office/drawing/2014/main" id="{8EAC07CF-E36B-0949-B3C5-5CC2D6319B0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047381" y="3094838"/>
                  <a:ext cx="685799" cy="685800"/>
                </a:xfrm>
                <a:prstGeom prst="rect">
                  <a:avLst/>
                </a:prstGeom>
              </p:spPr>
            </p:pic>
            <p:sp>
              <p:nvSpPr>
                <p:cNvPr id="104" name="TextBox 103">
                  <a:extLst>
                    <a:ext uri="{FF2B5EF4-FFF2-40B4-BE49-F238E27FC236}">
                      <a16:creationId xmlns:a16="http://schemas.microsoft.com/office/drawing/2014/main" id="{0EBCBABD-E4E8-EE46-A637-D8D5C62E552F}"/>
                    </a:ext>
                  </a:extLst>
                </p:cNvPr>
                <p:cNvSpPr txBox="1"/>
                <p:nvPr/>
              </p:nvSpPr>
              <p:spPr>
                <a:xfrm>
                  <a:off x="1972691" y="3771163"/>
                  <a:ext cx="1222175" cy="965225"/>
                </a:xfrm>
                <a:prstGeom prst="rect">
                  <a:avLst/>
                </a:prstGeom>
                <a:noFill/>
              </p:spPr>
              <p:txBody>
                <a:bodyPr wrap="square" rtlCol="0">
                  <a:spAutoFit/>
                </a:bodyPr>
                <a:lstStyle/>
                <a:p>
                  <a:pPr defTabSz="685966">
                    <a:defRPr/>
                  </a:pPr>
                  <a:r>
                    <a:rPr lang="en-US" sz="800" b="1" kern="0" dirty="0">
                      <a:solidFill>
                        <a:srgbClr val="408BFC"/>
                      </a:solidFill>
                      <a:latin typeface="IBM Plex Sans"/>
                      <a:ea typeface="IBM Plex Sans" charset="0"/>
                      <a:cs typeface="IBM Plex Sans" charset="0"/>
                    </a:rPr>
                    <a:t>Mobile</a:t>
                  </a:r>
                </a:p>
                <a:p>
                  <a:pPr defTabSz="309540" hangingPunct="0">
                    <a:defRPr/>
                  </a:pPr>
                  <a:r>
                    <a:rPr lang="en-US" sz="800" kern="0" dirty="0">
                      <a:solidFill>
                        <a:srgbClr val="FFFFFF"/>
                      </a:solidFill>
                      <a:latin typeface="IBM Plex Sans"/>
                    </a:rPr>
                    <a:t>Technician work execution</a:t>
                  </a:r>
                  <a:endParaRPr lang="en-US" sz="800" b="1" kern="0" dirty="0">
                    <a:solidFill>
                      <a:srgbClr val="FFFFFF"/>
                    </a:solidFill>
                    <a:latin typeface="IBM Plex Sans"/>
                    <a:sym typeface="Helvetica"/>
                  </a:endParaRPr>
                </a:p>
              </p:txBody>
            </p:sp>
            <p:sp>
              <p:nvSpPr>
                <p:cNvPr id="105" name="TextBox 104">
                  <a:extLst>
                    <a:ext uri="{FF2B5EF4-FFF2-40B4-BE49-F238E27FC236}">
                      <a16:creationId xmlns:a16="http://schemas.microsoft.com/office/drawing/2014/main" id="{4223A2F6-F253-2A44-80B3-DC074D7E0704}"/>
                    </a:ext>
                  </a:extLst>
                </p:cNvPr>
                <p:cNvSpPr txBox="1"/>
                <p:nvPr/>
              </p:nvSpPr>
              <p:spPr>
                <a:xfrm>
                  <a:off x="3348703" y="3771163"/>
                  <a:ext cx="1222175" cy="762021"/>
                </a:xfrm>
                <a:prstGeom prst="rect">
                  <a:avLst/>
                </a:prstGeom>
                <a:noFill/>
              </p:spPr>
              <p:txBody>
                <a:bodyPr wrap="square" rtlCol="0">
                  <a:spAutoFit/>
                </a:bodyPr>
                <a:lstStyle/>
                <a:p>
                  <a:pPr defTabSz="685966">
                    <a:defRPr/>
                  </a:pPr>
                  <a:r>
                    <a:rPr lang="en-US" sz="800" b="1" kern="0" dirty="0">
                      <a:solidFill>
                        <a:srgbClr val="408BFC"/>
                      </a:solidFill>
                      <a:latin typeface="IBM Plex Sans"/>
                      <a:ea typeface="IBM Plex Sans" charset="0"/>
                      <a:cs typeface="IBM Plex Sans" charset="0"/>
                    </a:rPr>
                    <a:t>Assist</a:t>
                  </a:r>
                  <a:r>
                    <a:rPr lang="en-US" sz="800" kern="0" dirty="0">
                      <a:solidFill>
                        <a:srgbClr val="FFFFFF"/>
                      </a:solidFill>
                      <a:latin typeface="IBM Plex Sans"/>
                    </a:rPr>
                    <a:t> Prescriptive assistance</a:t>
                  </a:r>
                  <a:endParaRPr lang="en-US" sz="800" b="1" kern="0" dirty="0">
                    <a:solidFill>
                      <a:srgbClr val="408BFC"/>
                    </a:solidFill>
                    <a:latin typeface="IBM Plex Sans"/>
                    <a:ea typeface="IBM Plex Sans" charset="0"/>
                    <a:cs typeface="IBM Plex Sans" charset="0"/>
                  </a:endParaRPr>
                </a:p>
              </p:txBody>
            </p:sp>
            <p:pic>
              <p:nvPicPr>
                <p:cNvPr id="106" name="Graphic 105">
                  <a:extLst>
                    <a:ext uri="{FF2B5EF4-FFF2-40B4-BE49-F238E27FC236}">
                      <a16:creationId xmlns:a16="http://schemas.microsoft.com/office/drawing/2014/main" id="{4C583DF3-0D1C-7F46-9EC9-C1C5678EDF84}"/>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470574" y="3116984"/>
                  <a:ext cx="628648" cy="628650"/>
                </a:xfrm>
                <a:prstGeom prst="rect">
                  <a:avLst/>
                </a:prstGeom>
              </p:spPr>
            </p:pic>
            <p:sp>
              <p:nvSpPr>
                <p:cNvPr id="107" name="TextBox 106">
                  <a:extLst>
                    <a:ext uri="{FF2B5EF4-FFF2-40B4-BE49-F238E27FC236}">
                      <a16:creationId xmlns:a16="http://schemas.microsoft.com/office/drawing/2014/main" id="{BC1F78DA-8DCC-4D4D-A804-D54C21311E2F}"/>
                    </a:ext>
                  </a:extLst>
                </p:cNvPr>
                <p:cNvSpPr txBox="1"/>
                <p:nvPr/>
              </p:nvSpPr>
              <p:spPr>
                <a:xfrm>
                  <a:off x="4635964" y="3771163"/>
                  <a:ext cx="1202982" cy="965225"/>
                </a:xfrm>
                <a:prstGeom prst="rect">
                  <a:avLst/>
                </a:prstGeom>
                <a:noFill/>
              </p:spPr>
              <p:txBody>
                <a:bodyPr wrap="square" rtlCol="0">
                  <a:spAutoFit/>
                </a:bodyPr>
                <a:lstStyle/>
                <a:p>
                  <a:pPr defTabSz="685966">
                    <a:defRPr/>
                  </a:pPr>
                  <a:r>
                    <a:rPr lang="en-US" sz="800" b="1" kern="0" dirty="0">
                      <a:solidFill>
                        <a:srgbClr val="408BFC"/>
                      </a:solidFill>
                      <a:latin typeface="IBM Plex Sans"/>
                      <a:ea typeface="IBM Plex Sans" charset="0"/>
                      <a:cs typeface="IBM Plex Sans" charset="0"/>
                    </a:rPr>
                    <a:t>Safety</a:t>
                  </a:r>
                </a:p>
                <a:p>
                  <a:pPr defTabSz="309540" hangingPunct="0">
                    <a:defRPr/>
                  </a:pPr>
                  <a:r>
                    <a:rPr lang="en-US" sz="800" kern="0" dirty="0">
                      <a:solidFill>
                        <a:srgbClr val="FFFFFF"/>
                      </a:solidFill>
                      <a:latin typeface="IBM Plex Sans"/>
                      <a:sym typeface="Helvetica"/>
                    </a:rPr>
                    <a:t>Actionable insights for safety</a:t>
                  </a:r>
                </a:p>
              </p:txBody>
            </p:sp>
            <p:pic>
              <p:nvPicPr>
                <p:cNvPr id="108" name="Graphic 107" descr="Life jacket">
                  <a:extLst>
                    <a:ext uri="{FF2B5EF4-FFF2-40B4-BE49-F238E27FC236}">
                      <a16:creationId xmlns:a16="http://schemas.microsoft.com/office/drawing/2014/main" id="{79626193-AD22-3346-8738-72D71C5837E8}"/>
                    </a:ext>
                  </a:extLst>
                </p:cNvPr>
                <p:cNvPicPr>
                  <a:picLocks noChangeAspect="1"/>
                </p:cNvPicPr>
                <p:nvPr/>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4836615" y="3139641"/>
                  <a:ext cx="508022" cy="508023"/>
                </a:xfrm>
                <a:prstGeom prst="rect">
                  <a:avLst/>
                </a:prstGeom>
              </p:spPr>
            </p:pic>
          </p:grpSp>
        </p:grpSp>
      </p:grpSp>
      <p:sp>
        <p:nvSpPr>
          <p:cNvPr id="47" name="Rectangle 46">
            <a:extLst>
              <a:ext uri="{FF2B5EF4-FFF2-40B4-BE49-F238E27FC236}">
                <a16:creationId xmlns:a16="http://schemas.microsoft.com/office/drawing/2014/main" id="{51D387E9-A3EC-0847-AEBC-E92590F3B725}"/>
              </a:ext>
            </a:extLst>
          </p:cNvPr>
          <p:cNvSpPr/>
          <p:nvPr/>
        </p:nvSpPr>
        <p:spPr>
          <a:xfrm>
            <a:off x="110385" y="1153552"/>
            <a:ext cx="3941693" cy="2862322"/>
          </a:xfrm>
          <a:prstGeom prst="rect">
            <a:avLst/>
          </a:prstGeom>
        </p:spPr>
        <p:txBody>
          <a:bodyPr wrap="square">
            <a:spAutoFit/>
          </a:bodyPr>
          <a:lstStyle/>
          <a:p>
            <a:pPr defTabSz="685783">
              <a:defRPr/>
            </a:pPr>
            <a:r>
              <a:rPr lang="en-US" sz="1800" dirty="0">
                <a:solidFill>
                  <a:srgbClr val="0064FF"/>
                </a:solidFill>
                <a:latin typeface="IBM Plex Sans"/>
              </a:rPr>
              <a:t>Single license</a:t>
            </a:r>
          </a:p>
          <a:p>
            <a:pPr defTabSz="685783">
              <a:defRPr/>
            </a:pPr>
            <a:r>
              <a:rPr lang="en-US" sz="1800" dirty="0">
                <a:solidFill>
                  <a:srgbClr val="000000"/>
                </a:solidFill>
                <a:latin typeface="IBM Plex Sans"/>
              </a:rPr>
              <a:t>- One entitlement to entire Suite</a:t>
            </a:r>
          </a:p>
          <a:p>
            <a:pPr defTabSz="685783">
              <a:defRPr/>
            </a:pPr>
            <a:endParaRPr lang="en-US" sz="1800" dirty="0">
              <a:solidFill>
                <a:srgbClr val="0064FF"/>
              </a:solidFill>
            </a:endParaRPr>
          </a:p>
          <a:p>
            <a:pPr defTabSz="685783">
              <a:defRPr/>
            </a:pPr>
            <a:r>
              <a:rPr lang="en-US" sz="1800" dirty="0">
                <a:solidFill>
                  <a:srgbClr val="0064FF"/>
                </a:solidFill>
              </a:rPr>
              <a:t>Flexible consumption </a:t>
            </a:r>
          </a:p>
          <a:p>
            <a:pPr marL="173038" indent="-173038" defTabSz="685783">
              <a:buFontTx/>
              <a:buChar char="-"/>
              <a:defRPr/>
            </a:pPr>
            <a:r>
              <a:rPr lang="en-US" sz="1800" dirty="0">
                <a:solidFill>
                  <a:srgbClr val="000000"/>
                </a:solidFill>
              </a:rPr>
              <a:t>Sharing of license through concurrent users</a:t>
            </a:r>
          </a:p>
          <a:p>
            <a:pPr defTabSz="685783">
              <a:defRPr/>
            </a:pPr>
            <a:endParaRPr lang="en-US" sz="1800" dirty="0">
              <a:solidFill>
                <a:srgbClr val="0064FF"/>
              </a:solidFill>
            </a:endParaRPr>
          </a:p>
          <a:p>
            <a:pPr defTabSz="685783">
              <a:defRPr/>
            </a:pPr>
            <a:r>
              <a:rPr lang="en-US" sz="1800" dirty="0">
                <a:solidFill>
                  <a:srgbClr val="0064FF"/>
                </a:solidFill>
              </a:rPr>
              <a:t>Simplified usage</a:t>
            </a:r>
          </a:p>
          <a:p>
            <a:pPr defTabSz="685783">
              <a:defRPr/>
            </a:pPr>
            <a:r>
              <a:rPr lang="en-US" sz="1800" dirty="0">
                <a:solidFill>
                  <a:srgbClr val="000000"/>
                </a:solidFill>
              </a:rPr>
              <a:t>- Expanded access to all capabilities</a:t>
            </a:r>
            <a:endParaRPr lang="en-US" sz="1800" i="1" dirty="0">
              <a:solidFill>
                <a:srgbClr val="000000"/>
              </a:solidFill>
            </a:endParaRPr>
          </a:p>
          <a:p>
            <a:pPr defTabSz="685783">
              <a:defRPr/>
            </a:pPr>
            <a:endParaRPr lang="en-US" sz="1800" dirty="0">
              <a:solidFill>
                <a:srgbClr val="0064FF"/>
              </a:solidFill>
              <a:latin typeface="IBM Plex Sans"/>
            </a:endParaRPr>
          </a:p>
        </p:txBody>
      </p:sp>
      <p:sp>
        <p:nvSpPr>
          <p:cNvPr id="48" name="Rectangle 47">
            <a:extLst>
              <a:ext uri="{FF2B5EF4-FFF2-40B4-BE49-F238E27FC236}">
                <a16:creationId xmlns:a16="http://schemas.microsoft.com/office/drawing/2014/main" id="{96015727-8F72-2445-9E31-E6AA250FEA42}"/>
              </a:ext>
            </a:extLst>
          </p:cNvPr>
          <p:cNvSpPr/>
          <p:nvPr/>
        </p:nvSpPr>
        <p:spPr>
          <a:xfrm>
            <a:off x="2010034" y="340453"/>
            <a:ext cx="4043933" cy="400110"/>
          </a:xfrm>
          <a:prstGeom prst="rect">
            <a:avLst/>
          </a:prstGeom>
        </p:spPr>
        <p:txBody>
          <a:bodyPr wrap="square">
            <a:spAutoFit/>
          </a:bodyPr>
          <a:lstStyle/>
          <a:p>
            <a:pPr defTabSz="685783">
              <a:defRPr/>
            </a:pPr>
            <a:endParaRPr lang="en-US" sz="2000" dirty="0">
              <a:solidFill>
                <a:srgbClr val="000000"/>
              </a:solidFill>
              <a:latin typeface="IBM Plex Sans"/>
            </a:endParaRPr>
          </a:p>
        </p:txBody>
      </p:sp>
      <p:grpSp>
        <p:nvGrpSpPr>
          <p:cNvPr id="40" name="Group 39">
            <a:extLst>
              <a:ext uri="{FF2B5EF4-FFF2-40B4-BE49-F238E27FC236}">
                <a16:creationId xmlns:a16="http://schemas.microsoft.com/office/drawing/2014/main" id="{B1BBDE4D-FAA6-194F-91DD-4289FDD7D1FE}"/>
              </a:ext>
            </a:extLst>
          </p:cNvPr>
          <p:cNvGrpSpPr/>
          <p:nvPr/>
        </p:nvGrpSpPr>
        <p:grpSpPr>
          <a:xfrm>
            <a:off x="184230" y="1513456"/>
            <a:ext cx="6060974" cy="1431653"/>
            <a:chOff x="2021936" y="2247094"/>
            <a:chExt cx="3739532" cy="1431653"/>
          </a:xfrm>
        </p:grpSpPr>
        <p:sp>
          <p:nvSpPr>
            <p:cNvPr id="44" name="Rectangle 43">
              <a:extLst>
                <a:ext uri="{FF2B5EF4-FFF2-40B4-BE49-F238E27FC236}">
                  <a16:creationId xmlns:a16="http://schemas.microsoft.com/office/drawing/2014/main" id="{C8566702-E593-BA4B-B5BA-A80EB6E1B49B}"/>
                </a:ext>
              </a:extLst>
            </p:cNvPr>
            <p:cNvSpPr/>
            <p:nvPr/>
          </p:nvSpPr>
          <p:spPr>
            <a:xfrm>
              <a:off x="2021936" y="3032416"/>
              <a:ext cx="2273332" cy="646331"/>
            </a:xfrm>
            <a:prstGeom prst="rect">
              <a:avLst/>
            </a:prstGeom>
          </p:spPr>
          <p:txBody>
            <a:bodyPr wrap="square">
              <a:spAutoFit/>
            </a:bodyPr>
            <a:lstStyle/>
            <a:p>
              <a:pPr marL="285750" indent="-285750" defTabSz="685783">
                <a:buFontTx/>
                <a:buChar char="-"/>
                <a:defRPr/>
              </a:pPr>
              <a:endParaRPr lang="en-US" sz="1800" dirty="0">
                <a:solidFill>
                  <a:srgbClr val="000000"/>
                </a:solidFill>
                <a:latin typeface="IBM Plex Sans"/>
              </a:endParaRPr>
            </a:p>
            <a:p>
              <a:pPr defTabSz="685783">
                <a:defRPr/>
              </a:pPr>
              <a:endParaRPr lang="en-US" sz="1800" dirty="0">
                <a:solidFill>
                  <a:srgbClr val="0064FF"/>
                </a:solidFill>
                <a:latin typeface="IBM Plex Sans"/>
              </a:endParaRPr>
            </a:p>
          </p:txBody>
        </p:sp>
        <p:sp>
          <p:nvSpPr>
            <p:cNvPr id="45" name="Rectangle 44">
              <a:extLst>
                <a:ext uri="{FF2B5EF4-FFF2-40B4-BE49-F238E27FC236}">
                  <a16:creationId xmlns:a16="http://schemas.microsoft.com/office/drawing/2014/main" id="{605098C6-988C-5F48-9C83-1C32AB916EC1}"/>
                </a:ext>
              </a:extLst>
            </p:cNvPr>
            <p:cNvSpPr/>
            <p:nvPr/>
          </p:nvSpPr>
          <p:spPr>
            <a:xfrm>
              <a:off x="3206553" y="2247094"/>
              <a:ext cx="2554915" cy="400110"/>
            </a:xfrm>
            <a:prstGeom prst="rect">
              <a:avLst/>
            </a:prstGeom>
          </p:spPr>
          <p:txBody>
            <a:bodyPr wrap="square">
              <a:spAutoFit/>
            </a:bodyPr>
            <a:lstStyle/>
            <a:p>
              <a:pPr defTabSz="685783">
                <a:defRPr/>
              </a:pPr>
              <a:endParaRPr lang="en-US" sz="2000" dirty="0">
                <a:solidFill>
                  <a:srgbClr val="000000"/>
                </a:solidFill>
                <a:latin typeface="IBM Plex Sans"/>
              </a:endParaRPr>
            </a:p>
          </p:txBody>
        </p:sp>
      </p:grpSp>
      <p:grpSp>
        <p:nvGrpSpPr>
          <p:cNvPr id="41" name="Group 40">
            <a:extLst>
              <a:ext uri="{FF2B5EF4-FFF2-40B4-BE49-F238E27FC236}">
                <a16:creationId xmlns:a16="http://schemas.microsoft.com/office/drawing/2014/main" id="{816B87AA-62CF-5E4D-85A7-14E4AE511356}"/>
              </a:ext>
            </a:extLst>
          </p:cNvPr>
          <p:cNvGrpSpPr/>
          <p:nvPr/>
        </p:nvGrpSpPr>
        <p:grpSpPr>
          <a:xfrm>
            <a:off x="110385" y="2637656"/>
            <a:ext cx="5725139" cy="400110"/>
            <a:chOff x="1976375" y="2247094"/>
            <a:chExt cx="3785093" cy="400110"/>
          </a:xfrm>
        </p:grpSpPr>
        <p:sp>
          <p:nvSpPr>
            <p:cNvPr id="42" name="Rectangle 41">
              <a:extLst>
                <a:ext uri="{FF2B5EF4-FFF2-40B4-BE49-F238E27FC236}">
                  <a16:creationId xmlns:a16="http://schemas.microsoft.com/office/drawing/2014/main" id="{95C41A86-ABEC-0D44-AAAA-5724A2CA647A}"/>
                </a:ext>
              </a:extLst>
            </p:cNvPr>
            <p:cNvSpPr/>
            <p:nvPr/>
          </p:nvSpPr>
          <p:spPr>
            <a:xfrm>
              <a:off x="1976375" y="2247094"/>
              <a:ext cx="2204804" cy="369332"/>
            </a:xfrm>
            <a:prstGeom prst="rect">
              <a:avLst/>
            </a:prstGeom>
          </p:spPr>
          <p:txBody>
            <a:bodyPr wrap="square">
              <a:spAutoFit/>
            </a:bodyPr>
            <a:lstStyle/>
            <a:p>
              <a:pPr defTabSz="685783">
                <a:defRPr/>
              </a:pPr>
              <a:endParaRPr lang="en-US" sz="1800" dirty="0">
                <a:solidFill>
                  <a:srgbClr val="0064FF"/>
                </a:solidFill>
                <a:latin typeface="IBM Plex Sans"/>
              </a:endParaRPr>
            </a:p>
          </p:txBody>
        </p:sp>
        <p:sp>
          <p:nvSpPr>
            <p:cNvPr id="43" name="Rectangle 42">
              <a:extLst>
                <a:ext uri="{FF2B5EF4-FFF2-40B4-BE49-F238E27FC236}">
                  <a16:creationId xmlns:a16="http://schemas.microsoft.com/office/drawing/2014/main" id="{D5CD25E4-B84F-3447-9C3A-7F4274427E63}"/>
                </a:ext>
              </a:extLst>
            </p:cNvPr>
            <p:cNvSpPr/>
            <p:nvPr/>
          </p:nvSpPr>
          <p:spPr>
            <a:xfrm>
              <a:off x="3206553" y="2247094"/>
              <a:ext cx="2554915" cy="400110"/>
            </a:xfrm>
            <a:prstGeom prst="rect">
              <a:avLst/>
            </a:prstGeom>
          </p:spPr>
          <p:txBody>
            <a:bodyPr wrap="square">
              <a:spAutoFit/>
            </a:bodyPr>
            <a:lstStyle/>
            <a:p>
              <a:pPr defTabSz="685783">
                <a:defRPr/>
              </a:pPr>
              <a:endParaRPr lang="en-US" sz="2000" i="1" dirty="0">
                <a:solidFill>
                  <a:srgbClr val="000000"/>
                </a:solidFill>
                <a:latin typeface="IBM Plex Sans"/>
              </a:endParaRPr>
            </a:p>
          </p:txBody>
        </p:sp>
      </p:grpSp>
    </p:spTree>
    <p:extLst>
      <p:ext uri="{BB962C8B-B14F-4D97-AF65-F5344CB8AC3E}">
        <p14:creationId xmlns:p14="http://schemas.microsoft.com/office/powerpoint/2010/main" val="29699945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CCD0AD6-4A7E-4647-B18B-AE1BD98E3A95}"/>
              </a:ext>
            </a:extLst>
          </p:cNvPr>
          <p:cNvSpPr txBox="1"/>
          <p:nvPr/>
        </p:nvSpPr>
        <p:spPr>
          <a:xfrm>
            <a:off x="323081" y="345751"/>
            <a:ext cx="3827879" cy="1430593"/>
          </a:xfrm>
          <a:prstGeom prst="rect">
            <a:avLst/>
          </a:prstGeom>
        </p:spPr>
        <p:txBody>
          <a:bodyPr vert="horz" lIns="68580" tIns="34290" rIns="68580" bIns="34290" rtlCol="0" anchor="ctr">
            <a:normAutofit/>
          </a:bodyPr>
          <a:lstStyle/>
          <a:p>
            <a:pPr>
              <a:lnSpc>
                <a:spcPct val="90000"/>
              </a:lnSpc>
              <a:spcBef>
                <a:spcPct val="0"/>
              </a:spcBef>
              <a:spcAft>
                <a:spcPts val="450"/>
              </a:spcAft>
            </a:pPr>
            <a:endParaRPr lang="en-US" sz="3300" dirty="0">
              <a:solidFill>
                <a:schemeClr val="bg1"/>
              </a:solidFill>
              <a:latin typeface="+mj-lt"/>
              <a:ea typeface="+mj-ea"/>
              <a:cs typeface="+mj-cs"/>
            </a:endParaRPr>
          </a:p>
        </p:txBody>
      </p:sp>
      <p:pic>
        <p:nvPicPr>
          <p:cNvPr id="3" name="Picture 2" descr="A person standing in front of a mountain&#10;&#10;Description automatically generated">
            <a:extLst>
              <a:ext uri="{FF2B5EF4-FFF2-40B4-BE49-F238E27FC236}">
                <a16:creationId xmlns:a16="http://schemas.microsoft.com/office/drawing/2014/main" id="{15412A38-078B-E544-8ACD-73FF1F4A360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
          <a:stretch/>
        </p:blipFill>
        <p:spPr>
          <a:xfrm>
            <a:off x="4496307" y="9"/>
            <a:ext cx="4647695" cy="5143493"/>
          </a:xfrm>
          <a:prstGeom prst="rect">
            <a:avLst/>
          </a:prstGeom>
        </p:spPr>
      </p:pic>
      <p:sp>
        <p:nvSpPr>
          <p:cNvPr id="5" name="Text Placeholder 4">
            <a:extLst>
              <a:ext uri="{FF2B5EF4-FFF2-40B4-BE49-F238E27FC236}">
                <a16:creationId xmlns:a16="http://schemas.microsoft.com/office/drawing/2014/main" id="{CBB978F3-608E-4ECC-9640-B80D7866E69E}"/>
              </a:ext>
            </a:extLst>
          </p:cNvPr>
          <p:cNvSpPr>
            <a:spLocks noGrp="1"/>
          </p:cNvSpPr>
          <p:nvPr>
            <p:ph type="body" sz="quarter" idx="13"/>
          </p:nvPr>
        </p:nvSpPr>
        <p:spPr/>
        <p:txBody>
          <a:bodyPr/>
          <a:lstStyle/>
          <a:p>
            <a:r>
              <a:rPr lang="en-US" sz="2000" dirty="0">
                <a:solidFill>
                  <a:schemeClr val="accent2"/>
                </a:solidFill>
                <a:latin typeface="+mj-lt"/>
              </a:rPr>
              <a:t>Keep Connected</a:t>
            </a:r>
          </a:p>
        </p:txBody>
      </p:sp>
      <p:sp>
        <p:nvSpPr>
          <p:cNvPr id="10" name="Text Placeholder 9">
            <a:extLst>
              <a:ext uri="{FF2B5EF4-FFF2-40B4-BE49-F238E27FC236}">
                <a16:creationId xmlns:a16="http://schemas.microsoft.com/office/drawing/2014/main" id="{B09C9DD1-97DE-46FF-B467-9192FDD6C4B1}"/>
              </a:ext>
            </a:extLst>
          </p:cNvPr>
          <p:cNvSpPr>
            <a:spLocks noGrp="1"/>
          </p:cNvSpPr>
          <p:nvPr>
            <p:ph type="body" sz="quarter" idx="14"/>
          </p:nvPr>
        </p:nvSpPr>
        <p:spPr/>
        <p:txBody>
          <a:bodyPr/>
          <a:lstStyle/>
          <a:p>
            <a:pPr marL="172800" indent="-172800" defTabSz="685483" fontAlgn="base">
              <a:lnSpc>
                <a:spcPct val="90000"/>
              </a:lnSpc>
              <a:spcBef>
                <a:spcPts val="675"/>
              </a:spcBef>
              <a:spcAft>
                <a:spcPct val="0"/>
              </a:spcAft>
              <a:buClr>
                <a:schemeClr val="tx1"/>
              </a:buClr>
              <a:buSzPct val="100000"/>
              <a:buFont typeface="Arial" panose="020B0604020202020204" pitchFamily="34" charset="0"/>
              <a:buChar char="•"/>
              <a:defRPr/>
            </a:pPr>
            <a:r>
              <a:rPr lang="en-US" b="1" dirty="0">
                <a:solidFill>
                  <a:schemeClr val="tx1">
                    <a:lumMod val="75000"/>
                    <a:lumOff val="25000"/>
                  </a:schemeClr>
                </a:solidFill>
                <a:latin typeface="IBM Plex Sans" panose="020B0503050203000203" pitchFamily="34" charset="0"/>
              </a:rPr>
              <a:t>NEW</a:t>
            </a:r>
            <a:r>
              <a:rPr lang="en-US" dirty="0">
                <a:solidFill>
                  <a:schemeClr val="tx1">
                    <a:lumMod val="75000"/>
                    <a:lumOff val="25000"/>
                  </a:schemeClr>
                </a:solidFill>
                <a:latin typeface="IBM Plex Sans" panose="020B0503050203000203" pitchFamily="34" charset="0"/>
              </a:rPr>
              <a:t> Maximo IoT Community</a:t>
            </a:r>
          </a:p>
          <a:p>
            <a:pPr marL="172800" indent="-172800" defTabSz="685483" fontAlgn="base">
              <a:lnSpc>
                <a:spcPct val="90000"/>
              </a:lnSpc>
              <a:spcBef>
                <a:spcPts val="675"/>
              </a:spcBef>
              <a:spcAft>
                <a:spcPct val="0"/>
              </a:spcAft>
              <a:buClr>
                <a:schemeClr val="tx1"/>
              </a:buClr>
              <a:buSzPct val="100000"/>
              <a:defRPr/>
            </a:pPr>
            <a:r>
              <a:rPr lang="en-US" dirty="0">
                <a:solidFill>
                  <a:schemeClr val="tx1">
                    <a:lumMod val="75000"/>
                    <a:lumOff val="25000"/>
                  </a:schemeClr>
                </a:solidFill>
                <a:latin typeface="IBM Plex Sans" panose="020B0503050203000203" pitchFamily="34" charset="0"/>
              </a:rPr>
              <a:t>https://ibm.co/2MMI9NZ</a:t>
            </a:r>
          </a:p>
          <a:p>
            <a:pPr marL="172800" indent="-172800" defTabSz="685483" fontAlgn="base">
              <a:lnSpc>
                <a:spcPct val="90000"/>
              </a:lnSpc>
              <a:spcBef>
                <a:spcPts val="675"/>
              </a:spcBef>
              <a:spcAft>
                <a:spcPct val="0"/>
              </a:spcAft>
              <a:buClr>
                <a:schemeClr val="tx1"/>
              </a:buClr>
              <a:buSzPct val="100000"/>
              <a:defRPr/>
            </a:pPr>
            <a:endParaRPr lang="en-US" dirty="0">
              <a:solidFill>
                <a:schemeClr val="tx1">
                  <a:lumMod val="75000"/>
                  <a:lumOff val="25000"/>
                </a:schemeClr>
              </a:solidFill>
              <a:latin typeface="IBM Plex Sans" panose="020B0503050203000203" pitchFamily="34" charset="0"/>
            </a:endParaRPr>
          </a:p>
          <a:p>
            <a:pPr marL="172800" indent="-172800" defTabSz="685483" fontAlgn="base">
              <a:lnSpc>
                <a:spcPct val="90000"/>
              </a:lnSpc>
              <a:spcBef>
                <a:spcPts val="675"/>
              </a:spcBef>
              <a:spcAft>
                <a:spcPct val="0"/>
              </a:spcAft>
              <a:buClr>
                <a:schemeClr val="tx1"/>
              </a:buClr>
              <a:buSzPct val="100000"/>
              <a:buFont typeface="Arial" panose="020B0604020202020204" pitchFamily="34" charset="0"/>
              <a:buChar char="•"/>
              <a:defRPr/>
            </a:pPr>
            <a:r>
              <a:rPr lang="en-US" dirty="0">
                <a:solidFill>
                  <a:schemeClr val="tx1">
                    <a:lumMod val="75000"/>
                    <a:lumOff val="25000"/>
                  </a:schemeClr>
                </a:solidFill>
                <a:latin typeface="IBM Plex Sans" panose="020B0503050203000203" pitchFamily="34" charset="0"/>
              </a:rPr>
              <a:t>Linked In Maximo groups</a:t>
            </a:r>
          </a:p>
          <a:p>
            <a:pPr marL="172800" indent="-172800" defTabSz="685483" fontAlgn="base">
              <a:lnSpc>
                <a:spcPct val="90000"/>
              </a:lnSpc>
              <a:spcBef>
                <a:spcPts val="675"/>
              </a:spcBef>
              <a:spcAft>
                <a:spcPct val="0"/>
              </a:spcAft>
              <a:buClr>
                <a:schemeClr val="tx1"/>
              </a:buClr>
              <a:buSzPct val="100000"/>
              <a:defRPr/>
            </a:pPr>
            <a:r>
              <a:rPr lang="en-US" dirty="0">
                <a:solidFill>
                  <a:schemeClr val="tx1">
                    <a:lumMod val="75000"/>
                    <a:lumOff val="25000"/>
                  </a:schemeClr>
                </a:solidFill>
                <a:latin typeface="IBM Plex Sans" panose="020B0503050203000203" pitchFamily="34" charset="0"/>
              </a:rPr>
              <a:t>https://www.linkedin.com/groups/2179193</a:t>
            </a:r>
          </a:p>
          <a:p>
            <a:pPr marL="172800" indent="-172800" defTabSz="685483" fontAlgn="base">
              <a:lnSpc>
                <a:spcPct val="90000"/>
              </a:lnSpc>
              <a:spcBef>
                <a:spcPts val="675"/>
              </a:spcBef>
              <a:spcAft>
                <a:spcPct val="0"/>
              </a:spcAft>
              <a:buClr>
                <a:schemeClr val="tx1"/>
              </a:buClr>
              <a:buSzPct val="100000"/>
              <a:defRPr/>
            </a:pPr>
            <a:endParaRPr lang="en-US" dirty="0">
              <a:solidFill>
                <a:schemeClr val="tx1">
                  <a:lumMod val="75000"/>
                  <a:lumOff val="25000"/>
                </a:schemeClr>
              </a:solidFill>
              <a:latin typeface="IBM Plex Sans" panose="020B0503050203000203" pitchFamily="34" charset="0"/>
            </a:endParaRPr>
          </a:p>
          <a:p>
            <a:pPr marL="172800" indent="-172800" defTabSz="685483" fontAlgn="base">
              <a:lnSpc>
                <a:spcPct val="90000"/>
              </a:lnSpc>
              <a:spcBef>
                <a:spcPts val="675"/>
              </a:spcBef>
              <a:spcAft>
                <a:spcPct val="0"/>
              </a:spcAft>
              <a:buClr>
                <a:schemeClr val="tx1"/>
              </a:buClr>
              <a:buSzPct val="100000"/>
              <a:buFont typeface="Arial" panose="020B0604020202020204" pitchFamily="34" charset="0"/>
              <a:buChar char="•"/>
              <a:defRPr/>
            </a:pPr>
            <a:r>
              <a:rPr lang="en-US" dirty="0">
                <a:solidFill>
                  <a:schemeClr val="tx1">
                    <a:lumMod val="75000"/>
                    <a:lumOff val="25000"/>
                  </a:schemeClr>
                </a:solidFill>
                <a:latin typeface="IBM Plex Sans" panose="020B0503050203000203" pitchFamily="34" charset="0"/>
              </a:rPr>
              <a:t>IBM Maximo Support</a:t>
            </a:r>
          </a:p>
          <a:p>
            <a:pPr marL="172800" indent="-172800" defTabSz="685483" fontAlgn="base">
              <a:lnSpc>
                <a:spcPct val="90000"/>
              </a:lnSpc>
              <a:spcBef>
                <a:spcPts val="675"/>
              </a:spcBef>
              <a:spcAft>
                <a:spcPct val="0"/>
              </a:spcAft>
              <a:buClr>
                <a:schemeClr val="tx1"/>
              </a:buClr>
              <a:buSzPct val="100000"/>
              <a:defRPr/>
            </a:pPr>
            <a:r>
              <a:rPr lang="en-US" dirty="0">
                <a:solidFill>
                  <a:schemeClr val="tx1">
                    <a:lumMod val="75000"/>
                    <a:lumOff val="25000"/>
                  </a:schemeClr>
                </a:solidFill>
                <a:latin typeface="IBM Plex Sans" panose="020B0503050203000203" pitchFamily="34" charset="0"/>
              </a:rPr>
              <a:t>https://ibm.co/2TuROwk</a:t>
            </a:r>
          </a:p>
          <a:p>
            <a:endParaRPr lang="en-US" sz="1400" dirty="0"/>
          </a:p>
        </p:txBody>
      </p:sp>
    </p:spTree>
    <p:extLst>
      <p:ext uri="{BB962C8B-B14F-4D97-AF65-F5344CB8AC3E}">
        <p14:creationId xmlns:p14="http://schemas.microsoft.com/office/powerpoint/2010/main" val="38461892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743085B-C6ED-C644-AEE2-C70E39DB245A}"/>
              </a:ext>
            </a:extLst>
          </p:cNvPr>
          <p:cNvSpPr>
            <a:spLocks noChangeArrowheads="1"/>
          </p:cNvSpPr>
          <p:nvPr/>
        </p:nvSpPr>
        <p:spPr bwMode="auto">
          <a:xfrm>
            <a:off x="440675" y="3646997"/>
            <a:ext cx="5788409" cy="914400"/>
          </a:xfrm>
          <a:prstGeom prst="rect">
            <a:avLst/>
          </a:prstGeom>
        </p:spPr>
        <p:txBody>
          <a:bodyPr vert="horz" lIns="0" tIns="0" rIns="0" bIns="0" rtlCol="0">
            <a:normAutofit/>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marL="172800" marR="0" lvl="0" indent="-172800" algn="l" defTabSz="685483" rtl="0" eaLnBrk="1" fontAlgn="base" latinLnBrk="0" hangingPunct="1">
              <a:lnSpc>
                <a:spcPct val="100000"/>
              </a:lnSpc>
              <a:spcBef>
                <a:spcPts val="675"/>
              </a:spcBef>
              <a:spcAft>
                <a:spcPct val="0"/>
              </a:spcAft>
              <a:buClr>
                <a:srgbClr val="000000"/>
              </a:buClr>
              <a:buSzPct val="100000"/>
              <a:buFontTx/>
              <a:buNone/>
              <a:tabLst/>
              <a:defRPr/>
            </a:pPr>
            <a:endParaRPr kumimoji="0" lang="en-US" sz="1800" b="0" i="0" u="none" strike="noStrike" kern="1200" cap="none" spc="0" normalizeH="0" baseline="0" noProof="0" dirty="0">
              <a:ln>
                <a:noFill/>
              </a:ln>
              <a:solidFill>
                <a:srgbClr val="000000">
                  <a:lumMod val="75000"/>
                  <a:lumOff val="25000"/>
                </a:srgbClr>
              </a:solidFill>
              <a:effectLst/>
              <a:uLnTx/>
              <a:uFillTx/>
              <a:latin typeface="IBM Plex Sans" panose="020B0503050203000203" pitchFamily="34" charset="0"/>
              <a:ea typeface="Arial" charset="0"/>
              <a:cs typeface="Arial" charset="0"/>
            </a:endParaRPr>
          </a:p>
          <a:p>
            <a:pPr marL="172800" marR="0" lvl="0" indent="-172800" algn="l" defTabSz="685483" rtl="0" eaLnBrk="1" fontAlgn="base" latinLnBrk="0" hangingPunct="1">
              <a:lnSpc>
                <a:spcPct val="100000"/>
              </a:lnSpc>
              <a:spcBef>
                <a:spcPts val="675"/>
              </a:spcBef>
              <a:spcAft>
                <a:spcPct val="0"/>
              </a:spcAft>
              <a:buClr>
                <a:srgbClr val="000000"/>
              </a:buClr>
              <a:buSzPct val="100000"/>
              <a:buFontTx/>
              <a:buNone/>
              <a:tabLst/>
              <a:defRPr/>
            </a:pPr>
            <a:r>
              <a:rPr kumimoji="0" lang="en-US" sz="1800" b="0" i="0" u="none" strike="noStrike" kern="1200" cap="none" spc="0" normalizeH="0" baseline="0" noProof="0" dirty="0">
                <a:ln>
                  <a:noFill/>
                </a:ln>
                <a:solidFill>
                  <a:srgbClr val="000000">
                    <a:lumMod val="75000"/>
                    <a:lumOff val="25000"/>
                  </a:srgbClr>
                </a:solidFill>
                <a:effectLst/>
                <a:uLnTx/>
                <a:uFillTx/>
                <a:latin typeface="IBM Plex Sans" panose="020B0503050203000203" pitchFamily="34" charset="0"/>
                <a:ea typeface="Arial" charset="0"/>
                <a:cs typeface="Arial" charset="0"/>
                <a:hlinkClick r:id="rId3"/>
              </a:rPr>
              <a:t>https://</a:t>
            </a:r>
            <a:r>
              <a:rPr kumimoji="0" lang="en-US" sz="1800" b="0" i="0" u="none" strike="noStrike" kern="1200" cap="none" spc="0" normalizeH="0" baseline="0" noProof="0" dirty="0" err="1">
                <a:ln>
                  <a:noFill/>
                </a:ln>
                <a:solidFill>
                  <a:srgbClr val="000000">
                    <a:lumMod val="75000"/>
                    <a:lumOff val="25000"/>
                  </a:srgbClr>
                </a:solidFill>
                <a:effectLst/>
                <a:uLnTx/>
                <a:uFillTx/>
                <a:latin typeface="IBM Plex Sans" panose="020B0503050203000203" pitchFamily="34" charset="0"/>
                <a:ea typeface="Arial" charset="0"/>
                <a:cs typeface="Arial" charset="0"/>
                <a:hlinkClick r:id="rId3"/>
              </a:rPr>
              <a:t>www.ibm.com</a:t>
            </a:r>
            <a:r>
              <a:rPr kumimoji="0" lang="en-US" sz="1800" b="0" i="0" u="none" strike="noStrike" kern="1200" cap="none" spc="0" normalizeH="0" baseline="0" noProof="0" dirty="0">
                <a:ln>
                  <a:noFill/>
                </a:ln>
                <a:solidFill>
                  <a:srgbClr val="000000">
                    <a:lumMod val="75000"/>
                    <a:lumOff val="25000"/>
                  </a:srgbClr>
                </a:solidFill>
                <a:effectLst/>
                <a:uLnTx/>
                <a:uFillTx/>
                <a:latin typeface="IBM Plex Sans" panose="020B0503050203000203" pitchFamily="34" charset="0"/>
                <a:ea typeface="Arial" charset="0"/>
                <a:cs typeface="Arial" charset="0"/>
                <a:hlinkClick r:id="rId3"/>
              </a:rPr>
              <a:t>/services/learning</a:t>
            </a:r>
            <a:endParaRPr kumimoji="0" lang="en-US" sz="1800" b="0" i="0" u="none" strike="noStrike" kern="1200" cap="none" spc="0" normalizeH="0" baseline="0" noProof="0" dirty="0">
              <a:ln>
                <a:noFill/>
              </a:ln>
              <a:solidFill>
                <a:srgbClr val="000000">
                  <a:lumMod val="75000"/>
                  <a:lumOff val="25000"/>
                </a:srgbClr>
              </a:solidFill>
              <a:effectLst/>
              <a:uLnTx/>
              <a:uFillTx/>
              <a:latin typeface="IBM Plex Sans" panose="020B0503050203000203" pitchFamily="34" charset="0"/>
              <a:ea typeface="Arial" charset="0"/>
              <a:cs typeface="Arial" charset="0"/>
            </a:endParaRPr>
          </a:p>
        </p:txBody>
      </p:sp>
      <p:pic>
        <p:nvPicPr>
          <p:cNvPr id="3" name="Picture 2">
            <a:extLst>
              <a:ext uri="{FF2B5EF4-FFF2-40B4-BE49-F238E27FC236}">
                <a16:creationId xmlns:a16="http://schemas.microsoft.com/office/drawing/2014/main" id="{15412A38-078B-E544-8ACD-73FF1F4A360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3"/>
          <a:stretch/>
        </p:blipFill>
        <p:spPr>
          <a:xfrm>
            <a:off x="182880" y="925830"/>
            <a:ext cx="4565390" cy="2861493"/>
          </a:xfrm>
          <a:prstGeom prst="rect">
            <a:avLst/>
          </a:prstGeom>
        </p:spPr>
      </p:pic>
      <p:sp>
        <p:nvSpPr>
          <p:cNvPr id="9" name="Footer Placeholder 4">
            <a:extLst>
              <a:ext uri="{FF2B5EF4-FFF2-40B4-BE49-F238E27FC236}">
                <a16:creationId xmlns:a16="http://schemas.microsoft.com/office/drawing/2014/main" id="{46BA6B68-3E54-4ADF-BD13-07543B84C4E6}"/>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600"/>
              </a:spcAft>
              <a:buClrTx/>
              <a:buSzTx/>
              <a:buFontTx/>
              <a:buNone/>
              <a:tabLst/>
              <a:defRPr/>
            </a:pPr>
            <a:r>
              <a:rPr kumimoji="0" lang="en-US" sz="600" b="0" i="0" u="none" strike="noStrike" kern="1200" cap="none" spc="0" normalizeH="0" baseline="0" noProof="0">
                <a:ln>
                  <a:noFill/>
                </a:ln>
                <a:solidFill>
                  <a:srgbClr val="000000"/>
                </a:solidFill>
                <a:effectLst/>
                <a:uLnTx/>
                <a:uFillTx/>
                <a:latin typeface="IBM Plex Sans"/>
                <a:cs typeface="Arial" charset="0"/>
              </a:rPr>
              <a:t>© 2019 IBM Corporation | IoT Exchange</a:t>
            </a:r>
            <a:endParaRPr kumimoji="0" lang="en-US" sz="600" b="1" i="0" u="none" strike="noStrike" kern="1200" cap="none" spc="0" normalizeH="0" baseline="0" noProof="0">
              <a:ln>
                <a:noFill/>
              </a:ln>
              <a:solidFill>
                <a:srgbClr val="000000"/>
              </a:solidFill>
              <a:effectLst/>
              <a:uLnTx/>
              <a:uFillTx/>
              <a:latin typeface="IBM Plex Sans"/>
              <a:cs typeface="Arial" charset="0"/>
            </a:endParaRPr>
          </a:p>
        </p:txBody>
      </p:sp>
      <p:sp>
        <p:nvSpPr>
          <p:cNvPr id="5" name="Title 4">
            <a:extLst>
              <a:ext uri="{FF2B5EF4-FFF2-40B4-BE49-F238E27FC236}">
                <a16:creationId xmlns:a16="http://schemas.microsoft.com/office/drawing/2014/main" id="{697B240C-1EF1-4D4F-9889-5B4DEC7B1D4C}"/>
              </a:ext>
            </a:extLst>
          </p:cNvPr>
          <p:cNvSpPr>
            <a:spLocks noGrp="1"/>
          </p:cNvSpPr>
          <p:nvPr>
            <p:ph type="title"/>
          </p:nvPr>
        </p:nvSpPr>
        <p:spPr>
          <a:xfrm>
            <a:off x="228602" y="286083"/>
            <a:ext cx="8468591" cy="914400"/>
          </a:xfrm>
        </p:spPr>
        <p:txBody>
          <a:bodyPr/>
          <a:lstStyle/>
          <a:p>
            <a:r>
              <a:rPr lang="en-US" sz="2000" dirty="0">
                <a:solidFill>
                  <a:schemeClr val="accent2"/>
                </a:solidFill>
              </a:rPr>
              <a:t>New Maximo IoT Skills Gateway</a:t>
            </a:r>
            <a:br>
              <a:rPr lang="en-US" dirty="0">
                <a:solidFill>
                  <a:schemeClr val="tx1">
                    <a:lumMod val="75000"/>
                    <a:lumOff val="25000"/>
                  </a:schemeClr>
                </a:solidFill>
              </a:rPr>
            </a:br>
            <a:endParaRPr lang="en-US" dirty="0"/>
          </a:p>
        </p:txBody>
      </p:sp>
      <p:pic>
        <p:nvPicPr>
          <p:cNvPr id="6" name="Picture 5" descr="A screenshot of a social media post&#10;&#10;Description automatically generated">
            <a:extLst>
              <a:ext uri="{FF2B5EF4-FFF2-40B4-BE49-F238E27FC236}">
                <a16:creationId xmlns:a16="http://schemas.microsoft.com/office/drawing/2014/main" id="{FA758757-D4BE-B741-9F0F-AE779D78946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13232" y="782037"/>
            <a:ext cx="4747294" cy="3149078"/>
          </a:xfrm>
          <a:prstGeom prst="rect">
            <a:avLst/>
          </a:prstGeom>
        </p:spPr>
      </p:pic>
    </p:spTree>
    <p:extLst>
      <p:ext uri="{BB962C8B-B14F-4D97-AF65-F5344CB8AC3E}">
        <p14:creationId xmlns:p14="http://schemas.microsoft.com/office/powerpoint/2010/main" val="1624829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ACFE63-A8BC-425C-A752-0376DEC67041}"/>
              </a:ext>
            </a:extLst>
          </p:cNvPr>
          <p:cNvSpPr>
            <a:spLocks noGrp="1"/>
          </p:cNvSpPr>
          <p:nvPr>
            <p:ph type="sldNum" sz="quarter" idx="11"/>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FD999D4-B456-9943-89B7-30D56181CE18}" type="slidenum">
              <a:rPr kumimoji="0" lang="en-US" sz="600" b="0" i="0" u="none" strike="noStrike" kern="1200" cap="none" spc="0" normalizeH="0" baseline="0" noProof="0" smtClean="0">
                <a:ln>
                  <a:noFill/>
                </a:ln>
                <a:solidFill>
                  <a:srgbClr val="000000"/>
                </a:solidFill>
                <a:effectLst/>
                <a:uLnTx/>
                <a:uFillTx/>
                <a:latin typeface="IBM Plex Sans" panose="020B0503050203000203" pitchFamily="34"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US" sz="600" b="0" i="0" u="none" strike="noStrike" kern="1200" cap="none" spc="0" normalizeH="0" baseline="0" noProof="0">
              <a:ln>
                <a:noFill/>
              </a:ln>
              <a:solidFill>
                <a:srgbClr val="000000"/>
              </a:solidFill>
              <a:effectLst/>
              <a:uLnTx/>
              <a:uFillTx/>
              <a:latin typeface="IBM Plex Sans" panose="020B0503050203000203" pitchFamily="34" charset="0"/>
              <a:ea typeface="+mn-ea"/>
              <a:cs typeface="+mn-cs"/>
            </a:endParaRPr>
          </a:p>
        </p:txBody>
      </p:sp>
    </p:spTree>
    <p:extLst>
      <p:ext uri="{BB962C8B-B14F-4D97-AF65-F5344CB8AC3E}">
        <p14:creationId xmlns:p14="http://schemas.microsoft.com/office/powerpoint/2010/main" val="30046295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77B802-C0B7-4E4B-8B36-60416C650E30}"/>
              </a:ext>
            </a:extLst>
          </p:cNvPr>
          <p:cNvSpPr>
            <a:spLocks noGrp="1"/>
          </p:cNvSpPr>
          <p:nvPr>
            <p:ph type="title"/>
          </p:nvPr>
        </p:nvSpPr>
        <p:spPr/>
        <p:txBody>
          <a:bodyPr/>
          <a:lstStyle/>
          <a:p>
            <a:r>
              <a:rPr lang="en-US" dirty="0"/>
              <a:t>Backup</a:t>
            </a:r>
          </a:p>
        </p:txBody>
      </p:sp>
      <p:sp>
        <p:nvSpPr>
          <p:cNvPr id="3" name="Content Placeholder 2">
            <a:extLst>
              <a:ext uri="{FF2B5EF4-FFF2-40B4-BE49-F238E27FC236}">
                <a16:creationId xmlns:a16="http://schemas.microsoft.com/office/drawing/2014/main" id="{9398479B-1770-4D84-800F-D87D5892F853}"/>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3BC42DE7-D79C-4F0C-944E-FF05D448C238}"/>
              </a:ext>
            </a:extLst>
          </p:cNvPr>
          <p:cNvSpPr>
            <a:spLocks noGrp="1"/>
          </p:cNvSpPr>
          <p:nvPr>
            <p:ph type="sldNum" sz="quarter" idx="12"/>
          </p:nvPr>
        </p:nvSpPr>
        <p:spPr/>
        <p:txBody>
          <a:bodyPr/>
          <a:lstStyle/>
          <a:p>
            <a:pPr>
              <a:defRPr/>
            </a:pPr>
            <a:fld id="{330EA680-D336-4FF7-8B7A-9848BB0A1C32}" type="slidenum">
              <a:rPr lang="en-US" smtClean="0">
                <a:solidFill>
                  <a:srgbClr val="000000"/>
                </a:solidFill>
              </a:rPr>
              <a:pPr>
                <a:defRPr/>
              </a:pPr>
              <a:t>9</a:t>
            </a:fld>
            <a:endParaRPr lang="en-US">
              <a:solidFill>
                <a:srgbClr val="000000"/>
              </a:solidFill>
            </a:endParaRPr>
          </a:p>
        </p:txBody>
      </p:sp>
    </p:spTree>
    <p:extLst>
      <p:ext uri="{BB962C8B-B14F-4D97-AF65-F5344CB8AC3E}">
        <p14:creationId xmlns:p14="http://schemas.microsoft.com/office/powerpoint/2010/main" val="32695469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A2sqolRE413BRiw2l.zvg"/>
</p:tagLst>
</file>

<file path=ppt/theme/theme1.xml><?xml version="1.0" encoding="utf-8"?>
<a:theme xmlns:a="http://schemas.openxmlformats.org/drawingml/2006/main" name="4_gry_background_2017">
  <a:themeElements>
    <a:clrScheme name="Custom 4">
      <a:dk1>
        <a:srgbClr val="000000"/>
      </a:dk1>
      <a:lt1>
        <a:srgbClr val="000E5E"/>
      </a:lt1>
      <a:dk2>
        <a:srgbClr val="EAEAEA"/>
      </a:dk2>
      <a:lt2>
        <a:srgbClr val="FFFFFF"/>
      </a:lt2>
      <a:accent1>
        <a:srgbClr val="69A6FF"/>
      </a:accent1>
      <a:accent2>
        <a:srgbClr val="0064FF"/>
      </a:accent2>
      <a:accent3>
        <a:srgbClr val="003BC9"/>
      </a:accent3>
      <a:accent4>
        <a:srgbClr val="BB8EFF"/>
      </a:accent4>
      <a:accent5>
        <a:srgbClr val="6E177D"/>
      </a:accent5>
      <a:accent6>
        <a:srgbClr val="20D5D2"/>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atson IoT Presentation Template_09.17.18" id="{0CD30C33-7C70-364C-A0E9-CF1C7C8ECE4F}" vid="{2B3669BB-3B2D-9C4E-953A-9D5400543D6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IBM 2020 Master template (light gray background)">
  <a:themeElements>
    <a:clrScheme name="Custom 5">
      <a:dk1>
        <a:srgbClr val="FFFFFF"/>
      </a:dk1>
      <a:lt1>
        <a:srgbClr val="000000"/>
      </a:lt1>
      <a:dk2>
        <a:srgbClr val="565656"/>
      </a:dk2>
      <a:lt2>
        <a:srgbClr val="F3F3F3"/>
      </a:lt2>
      <a:accent1>
        <a:srgbClr val="6F6F6F"/>
      </a:accent1>
      <a:accent2>
        <a:srgbClr val="0062FF"/>
      </a:accent2>
      <a:accent3>
        <a:srgbClr val="D12765"/>
      </a:accent3>
      <a:accent4>
        <a:srgbClr val="8A3FFC"/>
      </a:accent4>
      <a:accent5>
        <a:srgbClr val="007D79"/>
      </a:accent5>
      <a:accent6>
        <a:srgbClr val="697077"/>
      </a:accent6>
      <a:hlink>
        <a:srgbClr val="0062FF"/>
      </a:hlink>
      <a:folHlink>
        <a:srgbClr val="6EA6F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smtClean="0">
            <a:ln>
              <a:noFill/>
            </a:ln>
            <a:solidFill>
              <a:schemeClr val="bg1"/>
            </a:solidFill>
            <a:effectLst/>
            <a:latin typeface="IBM Plex Sans" panose="020B0503050203000203"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IBM Plex Sans" charset="0"/>
            <a:ea typeface="IBM Plex Sans" charset="0"/>
            <a:cs typeface="IBM Plex Sans" charset="0"/>
          </a:defRPr>
        </a:defPPr>
      </a:lstStyle>
    </a:txDef>
  </a:objectDefaults>
  <a:extraClrSchemeLst/>
  <a:custClrLst>
    <a:custClr name="Magenta 100">
      <a:srgbClr val="2A0A16"/>
    </a:custClr>
    <a:custClr name="Magenta 90">
      <a:srgbClr val="57002B"/>
    </a:custClr>
    <a:custClr name="Magenta 80">
      <a:srgbClr val="760A3A"/>
    </a:custClr>
    <a:custClr name="Magenta 70">
      <a:srgbClr val="A11950"/>
    </a:custClr>
    <a:custClr name="Magenta 60">
      <a:srgbClr val="D12765"/>
    </a:custClr>
    <a:custClr name="Magenta 50">
      <a:srgbClr val="EE538B"/>
    </a:custClr>
    <a:custClr name="Magenta 40">
      <a:srgbClr val="FA75A6"/>
    </a:custClr>
    <a:custClr name="Magenta 30">
      <a:srgbClr val="FFA0C2"/>
    </a:custClr>
    <a:custClr name="Magenta 20">
      <a:srgbClr val="FFCFE1"/>
    </a:custClr>
    <a:custClr name="Magenta 10">
      <a:srgbClr val="FFF0F6"/>
    </a:custClr>
    <a:custClr name="Purple 100">
      <a:srgbClr val="1E1033"/>
    </a:custClr>
    <a:custClr name="Purple 90">
      <a:srgbClr val="38146B"/>
    </a:custClr>
    <a:custClr name="Purple 80">
      <a:srgbClr val="4F2196"/>
    </a:custClr>
    <a:custClr name="Purple 70">
      <a:srgbClr val="6E32C9"/>
    </a:custClr>
    <a:custClr name="Purple 60">
      <a:srgbClr val="8A3FFC"/>
    </a:custClr>
    <a:custClr name="Purple 50">
      <a:srgbClr val="A66EFA"/>
    </a:custClr>
    <a:custClr name="Purple 40">
      <a:srgbClr val="BB8EFF"/>
    </a:custClr>
    <a:custClr name="Purple 30">
      <a:srgbClr val="D0B0FF"/>
    </a:custClr>
    <a:custClr name="Purple 20">
      <a:srgbClr val="E6D6FF"/>
    </a:custClr>
    <a:custClr name="Purple 10">
      <a:srgbClr val="F7F1FF"/>
    </a:custClr>
    <a:custClr name="Blue 100">
      <a:srgbClr val="051243"/>
    </a:custClr>
    <a:custClr name="Blue 90">
      <a:srgbClr val="061F80"/>
    </a:custClr>
    <a:custClr name="Blue 80">
      <a:srgbClr val="0530AD"/>
    </a:custClr>
    <a:custClr name="Blue 70">
      <a:srgbClr val="054ADA"/>
    </a:custClr>
    <a:custClr name="Blue 60">
      <a:srgbClr val="0062FF"/>
    </a:custClr>
    <a:custClr name="Blue 50">
      <a:srgbClr val="408BFC"/>
    </a:custClr>
    <a:custClr name="Blue 40">
      <a:srgbClr val="6EA6FF"/>
    </a:custClr>
    <a:custClr name="Blue 30">
      <a:srgbClr val="97C1FF"/>
    </a:custClr>
    <a:custClr name="Blue 20">
      <a:srgbClr val="C9DEFF"/>
    </a:custClr>
    <a:custClr name="Blue 10">
      <a:srgbClr val="EDF4FF"/>
    </a:custClr>
    <a:custClr name="Teal 100">
      <a:srgbClr val="081A1C"/>
    </a:custClr>
    <a:custClr name="Teal 90">
      <a:srgbClr val="003137"/>
    </a:custClr>
    <a:custClr name="Teal 80">
      <a:srgbClr val="004548"/>
    </a:custClr>
    <a:custClr name="Teal 70">
      <a:srgbClr val="006161"/>
    </a:custClr>
    <a:custClr name="Teal 60">
      <a:srgbClr val="007D79"/>
    </a:custClr>
    <a:custClr name="Teal 50">
      <a:srgbClr val="009C98"/>
    </a:custClr>
    <a:custClr name="Teal 40">
      <a:srgbClr val="00BAB6"/>
    </a:custClr>
    <a:custClr name="Teal 30">
      <a:srgbClr val="20D5D2"/>
    </a:custClr>
    <a:custClr name="Teal 20">
      <a:srgbClr val="92EEEE"/>
    </a:custClr>
    <a:custClr name="Teal 10">
      <a:srgbClr val="DBFBFB"/>
    </a:custClr>
    <a:custClr name="Gray 100">
      <a:srgbClr val="171717"/>
    </a:custClr>
    <a:custClr name="Gray 90">
      <a:srgbClr val="282828"/>
    </a:custClr>
    <a:custClr name="Gray 80">
      <a:srgbClr val="3D3D3D"/>
    </a:custClr>
    <a:custClr name="Gray 70">
      <a:srgbClr val="565656"/>
    </a:custClr>
    <a:custClr name="Gray 60">
      <a:srgbClr val="6F6F6F"/>
    </a:custClr>
    <a:custClr name="Gray 50">
      <a:srgbClr val="8C8C8C"/>
    </a:custClr>
    <a:custClr name="Gray 40">
      <a:srgbClr val="A4A4A4"/>
    </a:custClr>
    <a:custClr name="Gray 30">
      <a:srgbClr val="BEBEBE"/>
    </a:custClr>
    <a:custClr name="Gray 20">
      <a:srgbClr val="DCDCDC"/>
    </a:custClr>
    <a:custClr name="Gray 10">
      <a:srgbClr val="F3F3F3"/>
    </a:custClr>
  </a:custClrLst>
  <a:extLst>
    <a:ext uri="{05A4C25C-085E-4340-85A3-A5531E510DB2}">
      <thm15:themeFamily xmlns:thm15="http://schemas.microsoft.com/office/thememl/2012/main" name="Presentation28" id="{E7F5186F-CD1A-5646-8F0C-29D90816D0A5}" vid="{57021E71-15AB-3A48-9890-7A8DDE815D7C}"/>
    </a:ext>
  </a:extLst>
</a:theme>
</file>

<file path=ppt/theme/theme3.xml><?xml version="1.0" encoding="utf-8"?>
<a:theme xmlns:a="http://schemas.openxmlformats.org/drawingml/2006/main" name="wht_background_2017">
  <a:themeElements>
    <a:clrScheme name="Custom 5">
      <a:dk1>
        <a:srgbClr val="000000"/>
      </a:dk1>
      <a:lt1>
        <a:srgbClr val="000E5E"/>
      </a:lt1>
      <a:dk2>
        <a:srgbClr val="EAEAEA"/>
      </a:dk2>
      <a:lt2>
        <a:srgbClr val="FFFFFF"/>
      </a:lt2>
      <a:accent1>
        <a:srgbClr val="69A6FF"/>
      </a:accent1>
      <a:accent2>
        <a:srgbClr val="0064FF"/>
      </a:accent2>
      <a:accent3>
        <a:srgbClr val="003BC9"/>
      </a:accent3>
      <a:accent4>
        <a:srgbClr val="BB8EFF"/>
      </a:accent4>
      <a:accent5>
        <a:srgbClr val="6E177D"/>
      </a:accent5>
      <a:accent6>
        <a:srgbClr val="20D5D2"/>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atson IoT Presentation Template_09.17.18" id="{0CD30C33-7C70-364C-A0E9-CF1C7C8ECE4F}" vid="{CE67059A-0DE6-D046-85DB-1D57CD4E7868}"/>
    </a:ext>
  </a:extLst>
</a:theme>
</file>

<file path=ppt/theme/theme4.xml><?xml version="1.0" encoding="utf-8"?>
<a:theme xmlns:a="http://schemas.openxmlformats.org/drawingml/2006/main" name="5_Light Background">
  <a:themeElements>
    <a:clrScheme name="IBM Watson IoT Platform">
      <a:dk1>
        <a:srgbClr val="172934"/>
      </a:dk1>
      <a:lt1>
        <a:sysClr val="window" lastClr="FFFFFF"/>
      </a:lt1>
      <a:dk2>
        <a:srgbClr val="172934"/>
      </a:dk2>
      <a:lt2>
        <a:srgbClr val="EEECE1"/>
      </a:lt2>
      <a:accent1>
        <a:srgbClr val="27828C"/>
      </a:accent1>
      <a:accent2>
        <a:srgbClr val="2BA4B2"/>
      </a:accent2>
      <a:accent3>
        <a:srgbClr val="52B5C7"/>
      </a:accent3>
      <a:accent4>
        <a:srgbClr val="172934"/>
      </a:accent4>
      <a:accent5>
        <a:srgbClr val="6D7878"/>
      </a:accent5>
      <a:accent6>
        <a:srgbClr val="FFFFFF"/>
      </a:accent6>
      <a:hlink>
        <a:srgbClr val="172934"/>
      </a:hlink>
      <a:folHlink>
        <a:srgbClr val="1729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tailEnd type="triangle"/>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blk_background_2017">
  <a:themeElements>
    <a:clrScheme name="Custom 2">
      <a:dk1>
        <a:srgbClr val="000000"/>
      </a:dk1>
      <a:lt1>
        <a:srgbClr val="000E5E"/>
      </a:lt1>
      <a:dk2>
        <a:srgbClr val="EAEAEA"/>
      </a:dk2>
      <a:lt2>
        <a:srgbClr val="FFFFFF"/>
      </a:lt2>
      <a:accent1>
        <a:srgbClr val="69A6FF"/>
      </a:accent1>
      <a:accent2>
        <a:srgbClr val="0064FF"/>
      </a:accent2>
      <a:accent3>
        <a:srgbClr val="003BC9"/>
      </a:accent3>
      <a:accent4>
        <a:srgbClr val="BB8EFF"/>
      </a:accent4>
      <a:accent5>
        <a:srgbClr val="6E177D"/>
      </a:accent5>
      <a:accent6>
        <a:srgbClr val="20D5D2"/>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atson IoT Presentation Template_09.17.18" id="{0CD30C33-7C70-364C-A0E9-CF1C7C8ECE4F}" vid="{98E60596-1646-FE4C-8336-B35FC72DA94A}"/>
    </a:ext>
  </a:extLst>
</a:theme>
</file>

<file path=ppt/theme/theme6.xml><?xml version="1.0" encoding="utf-8"?>
<a:theme xmlns:a="http://schemas.openxmlformats.org/drawingml/2006/main" name="5_gry_background_2017">
  <a:themeElements>
    <a:clrScheme name="Custom 4">
      <a:dk1>
        <a:srgbClr val="000000"/>
      </a:dk1>
      <a:lt1>
        <a:srgbClr val="000E5E"/>
      </a:lt1>
      <a:dk2>
        <a:srgbClr val="EAEAEA"/>
      </a:dk2>
      <a:lt2>
        <a:srgbClr val="FFFFFF"/>
      </a:lt2>
      <a:accent1>
        <a:srgbClr val="69A6FF"/>
      </a:accent1>
      <a:accent2>
        <a:srgbClr val="0064FF"/>
      </a:accent2>
      <a:accent3>
        <a:srgbClr val="003BC9"/>
      </a:accent3>
      <a:accent4>
        <a:srgbClr val="BB8EFF"/>
      </a:accent4>
      <a:accent5>
        <a:srgbClr val="6E177D"/>
      </a:accent5>
      <a:accent6>
        <a:srgbClr val="20D5D2"/>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atson IoT Presentation Template_09.17.18" id="{0CD30C33-7C70-364C-A0E9-CF1C7C8ECE4F}" vid="{2B3669BB-3B2D-9C4E-953A-9D5400543D6E}"/>
    </a:ext>
  </a:extLst>
</a:theme>
</file>

<file path=ppt/theme/theme7.xml><?xml version="1.0" encoding="utf-8"?>
<a:theme xmlns:a="http://schemas.openxmlformats.org/drawingml/2006/main" name="9_gry_background_2017">
  <a:themeElements>
    <a:clrScheme name="Custom 4">
      <a:dk1>
        <a:srgbClr val="000000"/>
      </a:dk1>
      <a:lt1>
        <a:srgbClr val="000E5E"/>
      </a:lt1>
      <a:dk2>
        <a:srgbClr val="EAEAEA"/>
      </a:dk2>
      <a:lt2>
        <a:srgbClr val="FFFFFF"/>
      </a:lt2>
      <a:accent1>
        <a:srgbClr val="69A6FF"/>
      </a:accent1>
      <a:accent2>
        <a:srgbClr val="0064FF"/>
      </a:accent2>
      <a:accent3>
        <a:srgbClr val="003BC9"/>
      </a:accent3>
      <a:accent4>
        <a:srgbClr val="BB8EFF"/>
      </a:accent4>
      <a:accent5>
        <a:srgbClr val="6E177D"/>
      </a:accent5>
      <a:accent6>
        <a:srgbClr val="20D5D2"/>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atson IoT Presentation Template_09.17.18" id="{0CD30C33-7C70-364C-A0E9-CF1C7C8ECE4F}" vid="{2B3669BB-3B2D-9C4E-953A-9D5400543D6E}"/>
    </a:ext>
  </a:extLst>
</a:theme>
</file>

<file path=ppt/theme/theme8.xml><?xml version="1.0" encoding="utf-8"?>
<a:theme xmlns:a="http://schemas.openxmlformats.org/drawingml/2006/main" name="10_gry_background_2017">
  <a:themeElements>
    <a:clrScheme name="Custom 4">
      <a:dk1>
        <a:srgbClr val="000000"/>
      </a:dk1>
      <a:lt1>
        <a:srgbClr val="000E5E"/>
      </a:lt1>
      <a:dk2>
        <a:srgbClr val="EAEAEA"/>
      </a:dk2>
      <a:lt2>
        <a:srgbClr val="FFFFFF"/>
      </a:lt2>
      <a:accent1>
        <a:srgbClr val="69A6FF"/>
      </a:accent1>
      <a:accent2>
        <a:srgbClr val="0064FF"/>
      </a:accent2>
      <a:accent3>
        <a:srgbClr val="003BC9"/>
      </a:accent3>
      <a:accent4>
        <a:srgbClr val="BB8EFF"/>
      </a:accent4>
      <a:accent5>
        <a:srgbClr val="6E177D"/>
      </a:accent5>
      <a:accent6>
        <a:srgbClr val="20D5D2"/>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atson IoT Presentation Template_09.17.18" id="{0CD30C33-7C70-364C-A0E9-CF1C7C8ECE4F}" vid="{2B3669BB-3B2D-9C4E-953A-9D5400543D6E}"/>
    </a:ext>
  </a:extLst>
</a:theme>
</file>

<file path=ppt/theme/theme9.xml><?xml version="1.0" encoding="utf-8"?>
<a:theme xmlns:a="http://schemas.openxmlformats.org/drawingml/2006/main" name="7_blk_background_2017">
  <a:themeElements>
    <a:clrScheme name="Custom 2">
      <a:dk1>
        <a:srgbClr val="000000"/>
      </a:dk1>
      <a:lt1>
        <a:srgbClr val="000E5E"/>
      </a:lt1>
      <a:dk2>
        <a:srgbClr val="EAEAEA"/>
      </a:dk2>
      <a:lt2>
        <a:srgbClr val="FFFFFF"/>
      </a:lt2>
      <a:accent1>
        <a:srgbClr val="69A6FF"/>
      </a:accent1>
      <a:accent2>
        <a:srgbClr val="0064FF"/>
      </a:accent2>
      <a:accent3>
        <a:srgbClr val="003BC9"/>
      </a:accent3>
      <a:accent4>
        <a:srgbClr val="BB8EFF"/>
      </a:accent4>
      <a:accent5>
        <a:srgbClr val="6E177D"/>
      </a:accent5>
      <a:accent6>
        <a:srgbClr val="20D5D2"/>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Watson IoT Presentation Template_09.17.18" id="{0CD30C33-7C70-364C-A0E9-CF1C7C8ECE4F}" vid="{98E60596-1646-FE4C-8336-B35FC72DA94A}"/>
    </a:ext>
  </a:extLst>
</a:theme>
</file>

<file path=docProps/app.xml><?xml version="1.0" encoding="utf-8"?>
<Properties xmlns="http://schemas.openxmlformats.org/officeDocument/2006/extended-properties" xmlns:vt="http://schemas.openxmlformats.org/officeDocument/2006/docPropsVTypes">
  <Template>blk_background_2017</Template>
  <TotalTime>84821</TotalTime>
  <Words>2976</Words>
  <Application>Microsoft Office PowerPoint</Application>
  <PresentationFormat>On-screen Show (16:9)</PresentationFormat>
  <Paragraphs>610</Paragraphs>
  <Slides>38</Slides>
  <Notes>26</Notes>
  <HiddenSlides>0</HiddenSlides>
  <MMClips>0</MMClips>
  <ScaleCrop>false</ScaleCrop>
  <HeadingPairs>
    <vt:vector size="8" baseType="variant">
      <vt:variant>
        <vt:lpstr>Fonts Used</vt:lpstr>
      </vt:variant>
      <vt:variant>
        <vt:i4>17</vt:i4>
      </vt:variant>
      <vt:variant>
        <vt:lpstr>Theme</vt:lpstr>
      </vt:variant>
      <vt:variant>
        <vt:i4>9</vt:i4>
      </vt:variant>
      <vt:variant>
        <vt:lpstr>Embedded OLE Servers</vt:lpstr>
      </vt:variant>
      <vt:variant>
        <vt:i4>1</vt:i4>
      </vt:variant>
      <vt:variant>
        <vt:lpstr>Slide Titles</vt:lpstr>
      </vt:variant>
      <vt:variant>
        <vt:i4>38</vt:i4>
      </vt:variant>
    </vt:vector>
  </HeadingPairs>
  <TitlesOfParts>
    <vt:vector size="65" baseType="lpstr">
      <vt:lpstr>.AppleSystemUIFont</vt:lpstr>
      <vt:lpstr>Arial</vt:lpstr>
      <vt:lpstr>Arial Regular</vt:lpstr>
      <vt:lpstr>ArialMT</vt:lpstr>
      <vt:lpstr>Avenir Book</vt:lpstr>
      <vt:lpstr>Calibri</vt:lpstr>
      <vt:lpstr>Calibri Light</vt:lpstr>
      <vt:lpstr>Default Sans Serif,Verdana,Arial,Helvetica,sans-serif</vt:lpstr>
      <vt:lpstr>HelvNeue Light for IBM</vt:lpstr>
      <vt:lpstr>IBM Plex Sans</vt:lpstr>
      <vt:lpstr>IBM Plex Sans Condensed</vt:lpstr>
      <vt:lpstr>IBM Plex Sans Medium</vt:lpstr>
      <vt:lpstr>IBM Plex Sans Regular</vt:lpstr>
      <vt:lpstr>Lucida Grande</vt:lpstr>
      <vt:lpstr>System Font Regular</vt:lpstr>
      <vt:lpstr>Times New Roman</vt:lpstr>
      <vt:lpstr>Wingdings</vt:lpstr>
      <vt:lpstr>4_gry_background_2017</vt:lpstr>
      <vt:lpstr>IBM 2020 Master template (light gray background)</vt:lpstr>
      <vt:lpstr>wht_background_2017</vt:lpstr>
      <vt:lpstr>5_Light Background</vt:lpstr>
      <vt:lpstr>2_blk_background_2017</vt:lpstr>
      <vt:lpstr>5_gry_background_2017</vt:lpstr>
      <vt:lpstr>9_gry_background_2017</vt:lpstr>
      <vt:lpstr>10_gry_background_2017</vt:lpstr>
      <vt:lpstr>7_blk_background_2017</vt:lpstr>
      <vt:lpstr>think-cell Slide</vt:lpstr>
      <vt:lpstr>Maximo Roadmap – A look to the future</vt:lpstr>
      <vt:lpstr>A Roadmap for Maximo EAM –  What's new in the latest 7.6 release and journey toward Maximo 8 </vt:lpstr>
      <vt:lpstr>Investment in EAM Capabilities – 2H 2020 deliverables</vt:lpstr>
      <vt:lpstr>Maximo Application Suite: A New Model for Software</vt:lpstr>
      <vt:lpstr>Maximo Application Suite Benefits </vt:lpstr>
      <vt:lpstr>PowerPoint Presentation</vt:lpstr>
      <vt:lpstr>New Maximo IoT Skills Gateway </vt:lpstr>
      <vt:lpstr>PowerPoint Presentation</vt:lpstr>
      <vt:lpstr>Backup</vt:lpstr>
      <vt:lpstr> Maximo Asset Management 7.6.x Feature Packs</vt:lpstr>
      <vt:lpstr>Maximo EAM with OpenShift</vt:lpstr>
      <vt:lpstr>Maximo Health Asset Health Visibility and Analysis</vt:lpstr>
      <vt:lpstr>Maximo Predict Predict Failures in Advance</vt:lpstr>
      <vt:lpstr>Maximo Assist: Peer Guidance</vt:lpstr>
      <vt:lpstr>Maximo Assist: AI Guidance</vt:lpstr>
      <vt:lpstr>PowerPoint Presentation</vt:lpstr>
      <vt:lpstr>Maximo Worker Insights combines latest sensor technologies with analytics to provide insights and monitor potential risks  </vt:lpstr>
      <vt:lpstr>Maximo Worker Insights  Prescriptive and just in time analytics to assist employers  in improving workplace safety</vt:lpstr>
      <vt:lpstr>PowerPoint Presentation</vt:lpstr>
      <vt:lpstr>PowerPoint Presentation</vt:lpstr>
      <vt:lpstr>PowerPoint Presentation</vt:lpstr>
      <vt:lpstr>Maximo Anywhere 7.6.4 details </vt:lpstr>
      <vt:lpstr>Architecture...simplified</vt:lpstr>
      <vt:lpstr>Install: Product...simplified</vt:lpstr>
      <vt:lpstr>Install: App...streamlined</vt:lpstr>
      <vt:lpstr>Administration...enhanced</vt:lpstr>
      <vt:lpstr>Administration: Push notification application...new</vt:lpstr>
      <vt:lpstr>User Experience: Same for ease of upgrade</vt:lpstr>
      <vt:lpstr>Inspections – Manage Forms  </vt:lpstr>
      <vt:lpstr>Inspections – Conduct an Inspection</vt:lpstr>
      <vt:lpstr>PowerPoint Presentation</vt:lpstr>
      <vt:lpstr>Manage Inventory – Perform actions in context </vt:lpstr>
      <vt:lpstr>Manage Inventory: Improved summary information </vt:lpstr>
      <vt:lpstr>Service Requests in 7.6.1.1   </vt:lpstr>
      <vt:lpstr>Service Requests in 7.6.1.1 - Improved code scanning   </vt:lpstr>
      <vt:lpstr>Service Request processing page Enhancements</vt:lpstr>
      <vt:lpstr>PowerPoint Presentation</vt:lpstr>
      <vt:lpstr>MRO Inventory Optimiz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presentation  template three line maximum gradient cover v.1  — First Lastname Job Title</dc:title>
  <dc:creator>ANGELA HUANG</dc:creator>
  <cp:lastModifiedBy>Kim Woodbury</cp:lastModifiedBy>
  <cp:revision>340</cp:revision>
  <cp:lastPrinted>2020-05-15T16:46:24Z</cp:lastPrinted>
  <dcterms:created xsi:type="dcterms:W3CDTF">2018-09-17T20:29:23Z</dcterms:created>
  <dcterms:modified xsi:type="dcterms:W3CDTF">2020-06-25T14:52:54Z</dcterms:modified>
</cp:coreProperties>
</file>